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14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5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708" r:id="rId3"/>
  </p:sldMasterIdLst>
  <p:notesMasterIdLst>
    <p:notesMasterId r:id="rId5"/>
  </p:notesMasterIdLst>
  <p:handoutMasterIdLst>
    <p:handoutMasterId r:id="rId33"/>
  </p:handoutMasterIdLst>
  <p:sldIdLst>
    <p:sldId id="338" r:id="rId4"/>
    <p:sldId id="352" r:id="rId6"/>
    <p:sldId id="518" r:id="rId7"/>
    <p:sldId id="525" r:id="rId8"/>
    <p:sldId id="372" r:id="rId9"/>
    <p:sldId id="392" r:id="rId10"/>
    <p:sldId id="523" r:id="rId11"/>
    <p:sldId id="407" r:id="rId12"/>
    <p:sldId id="473" r:id="rId13"/>
    <p:sldId id="474" r:id="rId14"/>
    <p:sldId id="393" r:id="rId15"/>
    <p:sldId id="425" r:id="rId16"/>
    <p:sldId id="467" r:id="rId17"/>
    <p:sldId id="442" r:id="rId18"/>
    <p:sldId id="395" r:id="rId19"/>
    <p:sldId id="401" r:id="rId20"/>
    <p:sldId id="402" r:id="rId21"/>
    <p:sldId id="494" r:id="rId22"/>
    <p:sldId id="397" r:id="rId23"/>
    <p:sldId id="404" r:id="rId24"/>
    <p:sldId id="524" r:id="rId25"/>
    <p:sldId id="519" r:id="rId26"/>
    <p:sldId id="396" r:id="rId27"/>
    <p:sldId id="508" r:id="rId28"/>
    <p:sldId id="493" r:id="rId29"/>
    <p:sldId id="398" r:id="rId30"/>
    <p:sldId id="510" r:id="rId31"/>
    <p:sldId id="261" r:id="rId32"/>
  </p:sldIdLst>
  <p:sldSz cx="24120475" cy="1367917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页" id="{60E068C9-7994-4BC4-BDE0-32E17E76EFA5}">
          <p14:sldIdLst>
            <p14:sldId id="338"/>
          </p14:sldIdLst>
        </p14:section>
        <p14:section name="目录" id="{AB29B05E-1A5A-4074-9AA5-BC6D72CCA989}">
          <p14:sldIdLst>
            <p14:sldId id="352"/>
          </p14:sldIdLst>
        </p14:section>
        <p14:section name="引言" id="{840fd7ac-dbab-425f-931d-abdaeea49dd5}">
          <p14:sldIdLst>
            <p14:sldId id="518"/>
            <p14:sldId id="525"/>
          </p14:sldIdLst>
        </p14:section>
        <p14:section name="内容" id="{4CBAA761-C36A-442F-8326-41B86742F08C}">
          <p14:sldIdLst>
            <p14:sldId id="393"/>
            <p14:sldId id="395"/>
            <p14:sldId id="396"/>
            <p14:sldId id="508"/>
            <p14:sldId id="493"/>
            <p14:sldId id="372"/>
            <p14:sldId id="523"/>
            <p14:sldId id="474"/>
            <p14:sldId id="510"/>
            <p14:sldId id="398"/>
            <p14:sldId id="442"/>
            <p14:sldId id="467"/>
            <p14:sldId id="401"/>
            <p14:sldId id="397"/>
            <p14:sldId id="404"/>
            <p14:sldId id="425"/>
            <p14:sldId id="494"/>
            <p14:sldId id="402"/>
            <p14:sldId id="524"/>
            <p14:sldId id="519"/>
            <p14:sldId id="473"/>
            <p14:sldId id="392"/>
            <p14:sldId id="407"/>
          </p14:sldIdLst>
        </p14:section>
        <p14:section name="结束页" id="{4F718B6A-AAEE-481C-A4B7-98490339A9A7}">
          <p14:sldIdLst>
            <p14:sldId id="26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D08D"/>
    <a:srgbClr val="FE0000"/>
    <a:srgbClr val="404040"/>
    <a:srgbClr val="1A6CBA"/>
    <a:srgbClr val="0069BF"/>
    <a:srgbClr val="1A6295"/>
    <a:srgbClr val="19C1FB"/>
    <a:srgbClr val="1978C5"/>
    <a:srgbClr val="F5F5F5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34" autoAdjust="0"/>
    <p:restoredTop sz="96182" autoAdjust="0"/>
  </p:normalViewPr>
  <p:slideViewPr>
    <p:cSldViewPr snapToGrid="0" showGuides="1">
      <p:cViewPr>
        <p:scale>
          <a:sx n="25" d="100"/>
          <a:sy n="25" d="100"/>
        </p:scale>
        <p:origin x="2004" y="1692"/>
      </p:cViewPr>
      <p:guideLst>
        <p:guide orient="horz" pos="4082"/>
        <p:guide orient="horz" pos="372"/>
        <p:guide orient="horz" pos="8165"/>
        <p:guide pos="76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9" Type="http://schemas.openxmlformats.org/officeDocument/2006/relationships/tags" Target="tags/tag145.xml"/><Relationship Id="rId38" Type="http://schemas.openxmlformats.org/officeDocument/2006/relationships/customXml" Target="../customXml/item1.xml"/><Relationship Id="rId37" Type="http://schemas.openxmlformats.org/officeDocument/2006/relationships/customXmlProps" Target="../customXml/itemProps144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handoutMaster" Target="handoutMasters/handoutMaster1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08359" y="1143000"/>
            <a:ext cx="5441281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43000"/>
            <a:ext cx="544195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43000"/>
            <a:ext cx="544195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 altLang="zh-CN"/>
              <a:t>ss</a:t>
            </a:r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tags" Target="../tags/tag62.xml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tags" Target="../tags/tag63.xml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64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tags" Target="../tags/tag65.xml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tags" Target="../tags/tag66.xml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87.xml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-两标题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平行四边形 4"/>
          <p:cNvSpPr/>
          <p:nvPr userDrawn="1"/>
        </p:nvSpPr>
        <p:spPr>
          <a:xfrm>
            <a:off x="-6759" y="2715895"/>
            <a:ext cx="19502551" cy="10963593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6" name="平行四边形 5"/>
          <p:cNvSpPr/>
          <p:nvPr userDrawn="1"/>
        </p:nvSpPr>
        <p:spPr>
          <a:xfrm>
            <a:off x="532602" y="2908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916543" y="5896115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sp>
        <p:nvSpPr>
          <p:cNvPr id="9" name="文本框 8"/>
          <p:cNvSpPr txBox="1"/>
          <p:nvPr userDrawn="1"/>
        </p:nvSpPr>
        <p:spPr>
          <a:xfrm>
            <a:off x="1275941" y="962610"/>
            <a:ext cx="5848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/>
              <a:t>目录</a:t>
            </a:r>
            <a:endParaRPr lang="zh-CN" altLang="en-US" sz="8000" dirty="0"/>
          </a:p>
        </p:txBody>
      </p:sp>
      <p:sp>
        <p:nvSpPr>
          <p:cNvPr id="10" name="文本框 9"/>
          <p:cNvSpPr txBox="1"/>
          <p:nvPr userDrawn="1"/>
        </p:nvSpPr>
        <p:spPr>
          <a:xfrm>
            <a:off x="1897658" y="2879843"/>
            <a:ext cx="1448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3"/>
                </a:solidFill>
              </a:rPr>
              <a:t>CO</a:t>
            </a:r>
            <a:endParaRPr lang="zh-CN" altLang="en-US" sz="6000" b="1" dirty="0">
              <a:solidFill>
                <a:schemeClr val="accent3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3174591" y="2879843"/>
            <a:ext cx="37972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</a:rPr>
              <a:t>NTENTS</a:t>
            </a:r>
            <a:endParaRPr lang="zh-CN" altLang="en-US" sz="6000" b="1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5342721" y="5848888"/>
            <a:ext cx="1524498" cy="1027906"/>
            <a:chOff x="3980952" y="5140960"/>
            <a:chExt cx="1524498" cy="1027906"/>
          </a:xfrm>
        </p:grpSpPr>
        <p:sp>
          <p:nvSpPr>
            <p:cNvPr id="12" name="平行四边形 11"/>
            <p:cNvSpPr/>
            <p:nvPr userDrawn="1"/>
          </p:nvSpPr>
          <p:spPr>
            <a:xfrm>
              <a:off x="3980952" y="5140960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4248150" y="5150017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1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4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093993" y="8615003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4519829" y="8568957"/>
            <a:ext cx="1524498" cy="1027906"/>
            <a:chOff x="3520352" y="6624669"/>
            <a:chExt cx="1524498" cy="1027906"/>
          </a:xfrm>
        </p:grpSpPr>
        <p:sp>
          <p:nvSpPr>
            <p:cNvPr id="15" name="平行四边形 14"/>
            <p:cNvSpPr/>
            <p:nvPr userDrawn="1"/>
          </p:nvSpPr>
          <p:spPr>
            <a:xfrm>
              <a:off x="3520352" y="662466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6" name="文本框 15"/>
            <p:cNvSpPr txBox="1"/>
            <p:nvPr userDrawn="1"/>
          </p:nvSpPr>
          <p:spPr>
            <a:xfrm>
              <a:off x="3749450" y="663372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2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7" name="平行四边形 26"/>
          <p:cNvSpPr/>
          <p:nvPr userDrawn="1"/>
        </p:nvSpPr>
        <p:spPr>
          <a:xfrm>
            <a:off x="19418729" y="8605472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 userDrawn="1"/>
        </p:nvSpPr>
        <p:spPr>
          <a:xfrm>
            <a:off x="22485077" y="5524499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图片+文案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martArt 占位符 4"/>
          <p:cNvSpPr>
            <a:spLocks noGrp="1"/>
          </p:cNvSpPr>
          <p:nvPr>
            <p:ph type="pic" sz="quarter" idx="38" hasCustomPrompt="1"/>
          </p:nvPr>
        </p:nvSpPr>
        <p:spPr>
          <a:xfrm>
            <a:off x="1187450" y="4231126"/>
            <a:ext cx="5019539" cy="937871"/>
          </a:xfrm>
          <a:solidFill>
            <a:schemeClr val="accent3">
              <a:alpha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2" name="图片占位符 6"/>
          <p:cNvSpPr>
            <a:spLocks noGrp="1"/>
          </p:cNvSpPr>
          <p:nvPr>
            <p:ph type="pic" sz="quarter" idx="28"/>
          </p:nvPr>
        </p:nvSpPr>
        <p:spPr>
          <a:xfrm>
            <a:off x="12124015" y="5981700"/>
            <a:ext cx="11996459" cy="76977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1187450" y="8143248"/>
            <a:ext cx="10404783" cy="55362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203325" y="5413388"/>
            <a:ext cx="10388908" cy="23442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图片说明文字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954775"/>
            <a:ext cx="21729700" cy="641181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809919"/>
            <a:ext cx="21701125" cy="1047582"/>
          </a:xfrm>
        </p:spPr>
        <p:txBody>
          <a:bodyPr>
            <a:normAutofit/>
          </a:bodyPr>
          <a:lstStyle>
            <a:lvl1pPr marL="0" indent="0" algn="l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18" hasCustomPrompt="1"/>
          </p:nvPr>
        </p:nvSpPr>
        <p:spPr>
          <a:xfrm>
            <a:off x="1382613" y="4396089"/>
            <a:ext cx="4698711" cy="856035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图片标题</a:t>
            </a:r>
            <a:endParaRPr lang="zh-CN" altLang="en-US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7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18" name="SmartArt 占位符 4"/>
          <p:cNvSpPr>
            <a:spLocks noGrp="1"/>
          </p:cNvSpPr>
          <p:nvPr>
            <p:ph type="pic" sz="quarter" idx="36" hasCustomPrompt="1"/>
          </p:nvPr>
        </p:nvSpPr>
        <p:spPr>
          <a:xfrm>
            <a:off x="18211800" y="4797813"/>
            <a:ext cx="5908675" cy="3345435"/>
          </a:xfrm>
          <a:solidFill>
            <a:schemeClr val="accent3">
              <a:alpha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9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8642264" y="6316937"/>
            <a:ext cx="5017836" cy="15596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</a:t>
            </a:r>
            <a:endParaRPr lang="en-US" altLang="zh-CN" dirty="0"/>
          </a:p>
        </p:txBody>
      </p:sp>
      <p:sp>
        <p:nvSpPr>
          <p:cNvPr id="20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8642264" y="5114775"/>
            <a:ext cx="3573846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图片+文案-样式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1187450" y="3028952"/>
            <a:ext cx="15709900" cy="91630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8" name="平行四边形 7"/>
          <p:cNvSpPr/>
          <p:nvPr userDrawn="1"/>
        </p:nvSpPr>
        <p:spPr>
          <a:xfrm>
            <a:off x="11220450" y="4887180"/>
            <a:ext cx="12900025" cy="6304246"/>
          </a:xfrm>
          <a:prstGeom prst="parallelogram">
            <a:avLst>
              <a:gd name="adj" fmla="val 0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33425" y="6839743"/>
            <a:ext cx="9499600" cy="3747329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说明文字</a:t>
            </a:r>
            <a:endParaRPr lang="zh-CN" altLang="en-US" dirty="0"/>
          </a:p>
        </p:txBody>
      </p:sp>
      <p:sp>
        <p:nvSpPr>
          <p:cNvPr id="10" name="平行四边形 9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3" name="文本占位符 8"/>
          <p:cNvSpPr>
            <a:spLocks noGrp="1"/>
          </p:cNvSpPr>
          <p:nvPr>
            <p:ph type="body" sz="quarter" idx="18" hasCustomPrompt="1"/>
          </p:nvPr>
        </p:nvSpPr>
        <p:spPr>
          <a:xfrm>
            <a:off x="13433425" y="5640994"/>
            <a:ext cx="8601210" cy="856035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图片标题</a:t>
            </a:r>
            <a:endParaRPr lang="zh-CN" altLang="en-US" dirty="0"/>
          </a:p>
        </p:txBody>
      </p:sp>
      <p:sp>
        <p:nvSpPr>
          <p:cNvPr id="14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5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图+文字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265645" y="11460077"/>
            <a:ext cx="11560175" cy="1047582"/>
          </a:xfrm>
        </p:spPr>
        <p:txBody>
          <a:bodyPr>
            <a:normAutofit/>
          </a:bodyPr>
          <a:lstStyle>
            <a:lvl1pPr marL="0" indent="0" algn="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32"/>
          </p:nvPr>
        </p:nvSpPr>
        <p:spPr>
          <a:xfrm>
            <a:off x="0" y="2723987"/>
            <a:ext cx="12060238" cy="8401214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SmartArt 占位符 4"/>
          <p:cNvSpPr>
            <a:spLocks noGrp="1"/>
          </p:cNvSpPr>
          <p:nvPr>
            <p:ph type="pic" sz="quarter" idx="35" hasCustomPrompt="1"/>
          </p:nvPr>
        </p:nvSpPr>
        <p:spPr>
          <a:xfrm>
            <a:off x="12060237" y="0"/>
            <a:ext cx="12060238" cy="13679488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3" name="SmartArt 占位符 4"/>
          <p:cNvSpPr>
            <a:spLocks noGrp="1"/>
          </p:cNvSpPr>
          <p:nvPr>
            <p:ph type="pic" sz="quarter" idx="37" hasCustomPrompt="1"/>
          </p:nvPr>
        </p:nvSpPr>
        <p:spPr>
          <a:xfrm>
            <a:off x="12104155" y="2712798"/>
            <a:ext cx="4012145" cy="8401214"/>
          </a:xfrm>
          <a:solidFill>
            <a:schemeClr val="bg1">
              <a:alpha val="1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2753181" y="8338151"/>
            <a:ext cx="8593292" cy="356250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798204" y="6809329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14" name="图片占位符 2"/>
          <p:cNvSpPr>
            <a:spLocks noGrp="1"/>
          </p:cNvSpPr>
          <p:nvPr>
            <p:ph type="pic" sz="quarter" idx="38" hasCustomPrompt="1"/>
          </p:nvPr>
        </p:nvSpPr>
        <p:spPr>
          <a:xfrm>
            <a:off x="12753181" y="4106445"/>
            <a:ext cx="2029619" cy="1916238"/>
          </a:xfrm>
        </p:spPr>
        <p:txBody>
          <a:bodyPr/>
          <a:lstStyle/>
          <a:p>
            <a:r>
              <a:rPr lang="zh-CN" altLang="en-US" dirty="0"/>
              <a:t>图标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图+3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martArt 占位符 4"/>
          <p:cNvSpPr>
            <a:spLocks noGrp="1"/>
          </p:cNvSpPr>
          <p:nvPr>
            <p:ph type="pic" sz="quarter" idx="39" hasCustomPrompt="1"/>
          </p:nvPr>
        </p:nvSpPr>
        <p:spPr>
          <a:xfrm>
            <a:off x="15613" y="1833"/>
            <a:ext cx="12060238" cy="13679488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bg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32"/>
          </p:nvPr>
        </p:nvSpPr>
        <p:spPr>
          <a:xfrm>
            <a:off x="12075851" y="0"/>
            <a:ext cx="12060238" cy="1367948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SmartArt 占位符 3"/>
          <p:cNvSpPr>
            <a:spLocks noGrp="1"/>
          </p:cNvSpPr>
          <p:nvPr>
            <p:ph type="pic" sz="quarter" idx="40" hasCustomPrompt="1"/>
          </p:nvPr>
        </p:nvSpPr>
        <p:spPr>
          <a:xfrm>
            <a:off x="1166191" y="3775544"/>
            <a:ext cx="1568405" cy="156659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4" name="图片占位符 2"/>
          <p:cNvSpPr>
            <a:spLocks noGrp="1"/>
          </p:cNvSpPr>
          <p:nvPr>
            <p:ph type="pic" sz="quarter" idx="38" hasCustomPrompt="1"/>
          </p:nvPr>
        </p:nvSpPr>
        <p:spPr>
          <a:xfrm>
            <a:off x="1365574" y="4172071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18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2991369" y="4641518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19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3013856" y="3747835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20" name="SmartArt 占位符 3"/>
          <p:cNvSpPr>
            <a:spLocks noGrp="1"/>
          </p:cNvSpPr>
          <p:nvPr>
            <p:ph type="pic" sz="quarter" idx="41" hasCustomPrompt="1"/>
          </p:nvPr>
        </p:nvSpPr>
        <p:spPr>
          <a:xfrm>
            <a:off x="1166191" y="6746047"/>
            <a:ext cx="1568405" cy="156659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1" name="图片占位符 2"/>
          <p:cNvSpPr>
            <a:spLocks noGrp="1"/>
          </p:cNvSpPr>
          <p:nvPr>
            <p:ph type="pic" sz="quarter" idx="42" hasCustomPrompt="1"/>
          </p:nvPr>
        </p:nvSpPr>
        <p:spPr>
          <a:xfrm>
            <a:off x="1365574" y="7142574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22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2991369" y="7612021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23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3013856" y="6718338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24" name="SmartArt 占位符 3"/>
          <p:cNvSpPr>
            <a:spLocks noGrp="1"/>
          </p:cNvSpPr>
          <p:nvPr>
            <p:ph type="pic" sz="quarter" idx="45" hasCustomPrompt="1"/>
          </p:nvPr>
        </p:nvSpPr>
        <p:spPr>
          <a:xfrm>
            <a:off x="1134609" y="9834850"/>
            <a:ext cx="1568405" cy="156659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5" name="图片占位符 2"/>
          <p:cNvSpPr>
            <a:spLocks noGrp="1"/>
          </p:cNvSpPr>
          <p:nvPr>
            <p:ph type="pic" sz="quarter" idx="46" hasCustomPrompt="1"/>
          </p:nvPr>
        </p:nvSpPr>
        <p:spPr>
          <a:xfrm>
            <a:off x="1333992" y="10231377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26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2959787" y="10700824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27" name="文本占位符 8"/>
          <p:cNvSpPr>
            <a:spLocks noGrp="1"/>
          </p:cNvSpPr>
          <p:nvPr>
            <p:ph type="body" sz="quarter" idx="48" hasCustomPrompt="1"/>
          </p:nvPr>
        </p:nvSpPr>
        <p:spPr>
          <a:xfrm>
            <a:off x="2982274" y="9807141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图片+2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1541414" y="3329354"/>
            <a:ext cx="10261600" cy="65956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89" y="10058400"/>
            <a:ext cx="10261600" cy="2133600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修改文字</a:t>
            </a:r>
            <a:endParaRPr lang="zh-CN" altLang="en-US" dirty="0"/>
          </a:p>
        </p:txBody>
      </p:sp>
      <p:sp>
        <p:nvSpPr>
          <p:cNvPr id="8" name="图片占位符 6"/>
          <p:cNvSpPr>
            <a:spLocks noGrp="1"/>
          </p:cNvSpPr>
          <p:nvPr>
            <p:ph type="pic" sz="quarter" idx="15"/>
          </p:nvPr>
        </p:nvSpPr>
        <p:spPr>
          <a:xfrm>
            <a:off x="12415789" y="3329354"/>
            <a:ext cx="10261600" cy="65956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0" name="文本占位符 8"/>
          <p:cNvSpPr>
            <a:spLocks noGrp="1"/>
          </p:cNvSpPr>
          <p:nvPr>
            <p:ph type="body" sz="quarter" idx="16" hasCustomPrompt="1"/>
          </p:nvPr>
        </p:nvSpPr>
        <p:spPr>
          <a:xfrm>
            <a:off x="12407949" y="10058400"/>
            <a:ext cx="10261600" cy="2133600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修改文字</a:t>
            </a:r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4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5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张图片+文字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32"/>
          </p:nvPr>
        </p:nvSpPr>
        <p:spPr>
          <a:xfrm>
            <a:off x="9149392" y="2743201"/>
            <a:ext cx="6866626" cy="6142007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1" name="图片占位符 2"/>
          <p:cNvSpPr>
            <a:spLocks noGrp="1"/>
          </p:cNvSpPr>
          <p:nvPr>
            <p:ph type="pic" sz="quarter" idx="33"/>
          </p:nvPr>
        </p:nvSpPr>
        <p:spPr>
          <a:xfrm>
            <a:off x="16050524" y="2743201"/>
            <a:ext cx="6866626" cy="6142007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2" name="图片占位符 2"/>
          <p:cNvSpPr>
            <a:spLocks noGrp="1"/>
          </p:cNvSpPr>
          <p:nvPr>
            <p:ph type="pic" sz="quarter" idx="34"/>
          </p:nvPr>
        </p:nvSpPr>
        <p:spPr>
          <a:xfrm>
            <a:off x="9116857" y="8919715"/>
            <a:ext cx="13800293" cy="375196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SmartArt 占位符 4"/>
          <p:cNvSpPr>
            <a:spLocks noGrp="1"/>
          </p:cNvSpPr>
          <p:nvPr>
            <p:ph type="pic" sz="quarter" idx="35" hasCustomPrompt="1"/>
          </p:nvPr>
        </p:nvSpPr>
        <p:spPr>
          <a:xfrm>
            <a:off x="1216025" y="2743200"/>
            <a:ext cx="7920038" cy="9928225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953991" y="6094101"/>
            <a:ext cx="6424900" cy="588976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953992" y="5151979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图+文字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5" name="图片占位符 2"/>
          <p:cNvSpPr>
            <a:spLocks noGrp="1"/>
          </p:cNvSpPr>
          <p:nvPr>
            <p:ph type="pic" sz="quarter" idx="33"/>
          </p:nvPr>
        </p:nvSpPr>
        <p:spPr>
          <a:xfrm>
            <a:off x="1203324" y="2789780"/>
            <a:ext cx="10856913" cy="474486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6" name="图片占位符 2"/>
          <p:cNvSpPr>
            <a:spLocks noGrp="1"/>
          </p:cNvSpPr>
          <p:nvPr>
            <p:ph type="pic" sz="quarter" idx="34"/>
          </p:nvPr>
        </p:nvSpPr>
        <p:spPr>
          <a:xfrm>
            <a:off x="7048500" y="7549887"/>
            <a:ext cx="5011738" cy="445155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0" name="图片占位符 2"/>
          <p:cNvSpPr>
            <a:spLocks noGrp="1"/>
          </p:cNvSpPr>
          <p:nvPr>
            <p:ph type="pic" sz="quarter" idx="35"/>
          </p:nvPr>
        </p:nvSpPr>
        <p:spPr>
          <a:xfrm>
            <a:off x="12067858" y="7549887"/>
            <a:ext cx="6380162" cy="598328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1" name="SmartArt 占位符 4"/>
          <p:cNvSpPr>
            <a:spLocks noGrp="1"/>
          </p:cNvSpPr>
          <p:nvPr>
            <p:ph type="pic" sz="quarter" idx="36" hasCustomPrompt="1"/>
          </p:nvPr>
        </p:nvSpPr>
        <p:spPr>
          <a:xfrm>
            <a:off x="17189291" y="7696200"/>
            <a:ext cx="4950619" cy="5607402"/>
          </a:xfrm>
          <a:solidFill>
            <a:schemeClr val="accent3">
              <a:alpha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2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7615788" y="9892971"/>
            <a:ext cx="4097625" cy="263238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</a:t>
            </a:r>
            <a:endParaRPr lang="en-US" altLang="zh-CN" dirty="0"/>
          </a:p>
        </p:txBody>
      </p:sp>
      <p:sp>
        <p:nvSpPr>
          <p:cNvPr id="2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7877677" y="8500310"/>
            <a:ext cx="3573846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24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480384" y="4814375"/>
            <a:ext cx="9144153" cy="202536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  <p:sp>
        <p:nvSpPr>
          <p:cNvPr id="25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2486734" y="3485766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27" name="文本占位符 8"/>
          <p:cNvSpPr>
            <a:spLocks noGrp="1"/>
          </p:cNvSpPr>
          <p:nvPr>
            <p:ph type="body" sz="quarter" idx="40" hasCustomPrompt="1"/>
          </p:nvPr>
        </p:nvSpPr>
        <p:spPr>
          <a:xfrm>
            <a:off x="1203324" y="8059111"/>
            <a:ext cx="5504158" cy="919218"/>
          </a:xfrm>
        </p:spPr>
        <p:txBody>
          <a:bodyPr>
            <a:noAutofit/>
          </a:bodyPr>
          <a:lstStyle>
            <a:lvl1pPr marL="0" indent="0" algn="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28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203324" y="9401272"/>
            <a:ext cx="5575263" cy="26001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1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0" name="图片占位符 4"/>
          <p:cNvSpPr>
            <a:spLocks noGrp="1"/>
          </p:cNvSpPr>
          <p:nvPr>
            <p:ph type="pic" sz="quarter" idx="36"/>
          </p:nvPr>
        </p:nvSpPr>
        <p:spPr>
          <a:xfrm>
            <a:off x="4756882" y="4196270"/>
            <a:ext cx="4141520" cy="7827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2" name="图片占位符 4"/>
          <p:cNvSpPr>
            <a:spLocks noGrp="1"/>
          </p:cNvSpPr>
          <p:nvPr>
            <p:ph type="pic" sz="quarter" idx="37"/>
          </p:nvPr>
        </p:nvSpPr>
        <p:spPr>
          <a:xfrm>
            <a:off x="290902" y="4196270"/>
            <a:ext cx="4141520" cy="7827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4" name="图片占位符 4"/>
          <p:cNvSpPr>
            <a:spLocks noGrp="1"/>
          </p:cNvSpPr>
          <p:nvPr>
            <p:ph type="pic" sz="quarter" idx="38"/>
          </p:nvPr>
        </p:nvSpPr>
        <p:spPr>
          <a:xfrm>
            <a:off x="9222862" y="4196270"/>
            <a:ext cx="4141520" cy="7827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3688842" y="5481645"/>
            <a:ext cx="9144153" cy="60114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       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       </a:t>
            </a: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3688842" y="4212959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4" name="quotation-mark_32371"/>
          <p:cNvSpPr>
            <a:spLocks noChangeAspect="1"/>
          </p:cNvSpPr>
          <p:nvPr userDrawn="1"/>
        </p:nvSpPr>
        <p:spPr bwMode="auto">
          <a:xfrm>
            <a:off x="13630477" y="5314741"/>
            <a:ext cx="876299" cy="813412"/>
          </a:xfrm>
          <a:custGeom>
            <a:avLst/>
            <a:gdLst>
              <a:gd name="T0" fmla="*/ 2004 w 4654"/>
              <a:gd name="T1" fmla="*/ 191 h 4326"/>
              <a:gd name="T2" fmla="*/ 2004 w 4654"/>
              <a:gd name="T3" fmla="*/ 968 h 4326"/>
              <a:gd name="T4" fmla="*/ 1813 w 4654"/>
              <a:gd name="T5" fmla="*/ 1158 h 4326"/>
              <a:gd name="T6" fmla="*/ 1205 w 4654"/>
              <a:gd name="T7" fmla="*/ 2305 h 4326"/>
              <a:gd name="T8" fmla="*/ 1813 w 4654"/>
              <a:gd name="T9" fmla="*/ 2305 h 4326"/>
              <a:gd name="T10" fmla="*/ 2004 w 4654"/>
              <a:gd name="T11" fmla="*/ 2495 h 4326"/>
              <a:gd name="T12" fmla="*/ 2004 w 4654"/>
              <a:gd name="T13" fmla="*/ 4135 h 4326"/>
              <a:gd name="T14" fmla="*/ 1813 w 4654"/>
              <a:gd name="T15" fmla="*/ 4326 h 4326"/>
              <a:gd name="T16" fmla="*/ 191 w 4654"/>
              <a:gd name="T17" fmla="*/ 4326 h 4326"/>
              <a:gd name="T18" fmla="*/ 0 w 4654"/>
              <a:gd name="T19" fmla="*/ 4135 h 4326"/>
              <a:gd name="T20" fmla="*/ 0 w 4654"/>
              <a:gd name="T21" fmla="*/ 2495 h 4326"/>
              <a:gd name="T22" fmla="*/ 109 w 4654"/>
              <a:gd name="T23" fmla="*/ 1501 h 4326"/>
              <a:gd name="T24" fmla="*/ 448 w 4654"/>
              <a:gd name="T25" fmla="*/ 713 h 4326"/>
              <a:gd name="T26" fmla="*/ 1023 w 4654"/>
              <a:gd name="T27" fmla="*/ 187 h 4326"/>
              <a:gd name="T28" fmla="*/ 1813 w 4654"/>
              <a:gd name="T29" fmla="*/ 0 h 4326"/>
              <a:gd name="T30" fmla="*/ 2004 w 4654"/>
              <a:gd name="T31" fmla="*/ 191 h 4326"/>
              <a:gd name="T32" fmla="*/ 4464 w 4654"/>
              <a:gd name="T33" fmla="*/ 1158 h 4326"/>
              <a:gd name="T34" fmla="*/ 4654 w 4654"/>
              <a:gd name="T35" fmla="*/ 968 h 4326"/>
              <a:gd name="T36" fmla="*/ 4654 w 4654"/>
              <a:gd name="T37" fmla="*/ 191 h 4326"/>
              <a:gd name="T38" fmla="*/ 4464 w 4654"/>
              <a:gd name="T39" fmla="*/ 0 h 4326"/>
              <a:gd name="T40" fmla="*/ 3674 w 4654"/>
              <a:gd name="T41" fmla="*/ 187 h 4326"/>
              <a:gd name="T42" fmla="*/ 3098 w 4654"/>
              <a:gd name="T43" fmla="*/ 713 h 4326"/>
              <a:gd name="T44" fmla="*/ 2759 w 4654"/>
              <a:gd name="T45" fmla="*/ 1501 h 4326"/>
              <a:gd name="T46" fmla="*/ 2650 w 4654"/>
              <a:gd name="T47" fmla="*/ 2495 h 4326"/>
              <a:gd name="T48" fmla="*/ 2650 w 4654"/>
              <a:gd name="T49" fmla="*/ 4135 h 4326"/>
              <a:gd name="T50" fmla="*/ 2841 w 4654"/>
              <a:gd name="T51" fmla="*/ 4326 h 4326"/>
              <a:gd name="T52" fmla="*/ 4464 w 4654"/>
              <a:gd name="T53" fmla="*/ 4326 h 4326"/>
              <a:gd name="T54" fmla="*/ 4654 w 4654"/>
              <a:gd name="T55" fmla="*/ 4135 h 4326"/>
              <a:gd name="T56" fmla="*/ 4654 w 4654"/>
              <a:gd name="T57" fmla="*/ 2495 h 4326"/>
              <a:gd name="T58" fmla="*/ 4464 w 4654"/>
              <a:gd name="T59" fmla="*/ 2305 h 4326"/>
              <a:gd name="T60" fmla="*/ 3864 w 4654"/>
              <a:gd name="T61" fmla="*/ 2305 h 4326"/>
              <a:gd name="T62" fmla="*/ 4464 w 4654"/>
              <a:gd name="T63" fmla="*/ 1158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4" h="4326">
                <a:moveTo>
                  <a:pt x="2004" y="191"/>
                </a:moveTo>
                <a:lnTo>
                  <a:pt x="2004" y="968"/>
                </a:lnTo>
                <a:cubicBezTo>
                  <a:pt x="2004" y="1073"/>
                  <a:pt x="1919" y="1158"/>
                  <a:pt x="1813" y="1158"/>
                </a:cubicBezTo>
                <a:cubicBezTo>
                  <a:pt x="1437" y="1158"/>
                  <a:pt x="1233" y="1544"/>
                  <a:pt x="1205" y="2305"/>
                </a:cubicBezTo>
                <a:lnTo>
                  <a:pt x="1813" y="2305"/>
                </a:lnTo>
                <a:cubicBezTo>
                  <a:pt x="1919" y="2305"/>
                  <a:pt x="2004" y="2390"/>
                  <a:pt x="2004" y="2495"/>
                </a:cubicBezTo>
                <a:lnTo>
                  <a:pt x="2004" y="4135"/>
                </a:lnTo>
                <a:cubicBezTo>
                  <a:pt x="2004" y="4241"/>
                  <a:pt x="1919" y="4326"/>
                  <a:pt x="1813" y="4326"/>
                </a:cubicBezTo>
                <a:lnTo>
                  <a:pt x="191" y="4326"/>
                </a:lnTo>
                <a:cubicBezTo>
                  <a:pt x="85" y="4326"/>
                  <a:pt x="0" y="4241"/>
                  <a:pt x="0" y="4135"/>
                </a:cubicBezTo>
                <a:lnTo>
                  <a:pt x="0" y="2495"/>
                </a:lnTo>
                <a:cubicBezTo>
                  <a:pt x="0" y="2131"/>
                  <a:pt x="37" y="1796"/>
                  <a:pt x="109" y="1501"/>
                </a:cubicBezTo>
                <a:cubicBezTo>
                  <a:pt x="183" y="1198"/>
                  <a:pt x="297" y="933"/>
                  <a:pt x="448" y="713"/>
                </a:cubicBezTo>
                <a:cubicBezTo>
                  <a:pt x="602" y="488"/>
                  <a:pt x="796" y="311"/>
                  <a:pt x="1023" y="187"/>
                </a:cubicBezTo>
                <a:cubicBezTo>
                  <a:pt x="1252" y="63"/>
                  <a:pt x="1518" y="0"/>
                  <a:pt x="1813" y="0"/>
                </a:cubicBezTo>
                <a:cubicBezTo>
                  <a:pt x="1919" y="0"/>
                  <a:pt x="2004" y="86"/>
                  <a:pt x="2004" y="191"/>
                </a:cubicBezTo>
                <a:close/>
                <a:moveTo>
                  <a:pt x="4464" y="1158"/>
                </a:moveTo>
                <a:cubicBezTo>
                  <a:pt x="4569" y="1158"/>
                  <a:pt x="4654" y="1073"/>
                  <a:pt x="4654" y="968"/>
                </a:cubicBezTo>
                <a:lnTo>
                  <a:pt x="4654" y="191"/>
                </a:lnTo>
                <a:cubicBezTo>
                  <a:pt x="4654" y="86"/>
                  <a:pt x="4569" y="0"/>
                  <a:pt x="4464" y="0"/>
                </a:cubicBezTo>
                <a:cubicBezTo>
                  <a:pt x="4168" y="0"/>
                  <a:pt x="3902" y="63"/>
                  <a:pt x="3674" y="187"/>
                </a:cubicBezTo>
                <a:cubicBezTo>
                  <a:pt x="3447" y="311"/>
                  <a:pt x="3253" y="488"/>
                  <a:pt x="3098" y="713"/>
                </a:cubicBezTo>
                <a:cubicBezTo>
                  <a:pt x="2948" y="933"/>
                  <a:pt x="2834" y="1198"/>
                  <a:pt x="2759" y="1501"/>
                </a:cubicBezTo>
                <a:cubicBezTo>
                  <a:pt x="2687" y="1796"/>
                  <a:pt x="2650" y="2131"/>
                  <a:pt x="2650" y="2495"/>
                </a:cubicBezTo>
                <a:lnTo>
                  <a:pt x="2650" y="4135"/>
                </a:lnTo>
                <a:cubicBezTo>
                  <a:pt x="2650" y="4241"/>
                  <a:pt x="2736" y="4326"/>
                  <a:pt x="2841" y="4326"/>
                </a:cubicBezTo>
                <a:lnTo>
                  <a:pt x="4464" y="4326"/>
                </a:lnTo>
                <a:cubicBezTo>
                  <a:pt x="4569" y="4326"/>
                  <a:pt x="4654" y="4241"/>
                  <a:pt x="4654" y="4135"/>
                </a:cubicBezTo>
                <a:lnTo>
                  <a:pt x="4654" y="2495"/>
                </a:lnTo>
                <a:cubicBezTo>
                  <a:pt x="4654" y="2390"/>
                  <a:pt x="4569" y="2305"/>
                  <a:pt x="4464" y="2305"/>
                </a:cubicBezTo>
                <a:lnTo>
                  <a:pt x="3864" y="2305"/>
                </a:lnTo>
                <a:cubicBezTo>
                  <a:pt x="3892" y="1544"/>
                  <a:pt x="4093" y="1158"/>
                  <a:pt x="4464" y="1158"/>
                </a:cubicBezTo>
                <a:close/>
              </a:path>
            </a:pathLst>
          </a:custGeom>
          <a:solidFill>
            <a:schemeClr val="bg2">
              <a:lumMod val="75000"/>
              <a:alpha val="4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5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6" name="文本占位符 6"/>
          <p:cNvSpPr>
            <a:spLocks noGrp="1"/>
          </p:cNvSpPr>
          <p:nvPr>
            <p:ph type="body" sz="quarter" idx="39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占位符 2"/>
          <p:cNvSpPr>
            <a:spLocks noGrp="1"/>
          </p:cNvSpPr>
          <p:nvPr>
            <p:ph type="pic" sz="quarter" idx="40"/>
          </p:nvPr>
        </p:nvSpPr>
        <p:spPr>
          <a:xfrm>
            <a:off x="0" y="3676650"/>
            <a:ext cx="10956925" cy="8639175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1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0" name="图片占位符 4"/>
          <p:cNvSpPr>
            <a:spLocks noGrp="1"/>
          </p:cNvSpPr>
          <p:nvPr>
            <p:ph type="pic" sz="quarter" idx="36"/>
          </p:nvPr>
        </p:nvSpPr>
        <p:spPr>
          <a:xfrm>
            <a:off x="15747389" y="4037013"/>
            <a:ext cx="4141520" cy="5359906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2" name="图片占位符 4"/>
          <p:cNvSpPr>
            <a:spLocks noGrp="1"/>
          </p:cNvSpPr>
          <p:nvPr>
            <p:ph type="pic" sz="quarter" idx="37"/>
          </p:nvPr>
        </p:nvSpPr>
        <p:spPr>
          <a:xfrm>
            <a:off x="11281409" y="4037013"/>
            <a:ext cx="4141520" cy="5359906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4" name="图片占位符 4"/>
          <p:cNvSpPr>
            <a:spLocks noGrp="1"/>
          </p:cNvSpPr>
          <p:nvPr>
            <p:ph type="pic" sz="quarter" idx="38"/>
          </p:nvPr>
        </p:nvSpPr>
        <p:spPr>
          <a:xfrm>
            <a:off x="20213369" y="4037013"/>
            <a:ext cx="4141520" cy="5359906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514321" y="5310068"/>
            <a:ext cx="9144153" cy="60114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       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       </a:t>
            </a: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514321" y="4041382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35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6" name="文本占位符 6"/>
          <p:cNvSpPr>
            <a:spLocks noGrp="1"/>
          </p:cNvSpPr>
          <p:nvPr>
            <p:ph type="body" sz="quarter" idx="39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17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1281409" y="10662953"/>
            <a:ext cx="11580179" cy="14768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</a:t>
            </a:r>
            <a:endParaRPr lang="en-US" altLang="zh-CN" dirty="0"/>
          </a:p>
        </p:txBody>
      </p:sp>
      <p:sp>
        <p:nvSpPr>
          <p:cNvPr id="18" name="文本占位符 8"/>
          <p:cNvSpPr>
            <a:spLocks noGrp="1"/>
          </p:cNvSpPr>
          <p:nvPr>
            <p:ph type="body" sz="quarter" idx="42" hasCustomPrompt="1"/>
          </p:nvPr>
        </p:nvSpPr>
        <p:spPr>
          <a:xfrm>
            <a:off x="11281409" y="9570327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martArt 占位符 2"/>
          <p:cNvSpPr>
            <a:spLocks noGrp="1"/>
          </p:cNvSpPr>
          <p:nvPr>
            <p:ph type="pic" sz="quarter" idx="40" hasCustomPrompt="1"/>
          </p:nvPr>
        </p:nvSpPr>
        <p:spPr>
          <a:xfrm>
            <a:off x="0" y="2900086"/>
            <a:ext cx="6030000" cy="53892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0" name="SmartArt 占位符 2"/>
          <p:cNvSpPr>
            <a:spLocks noGrp="1"/>
          </p:cNvSpPr>
          <p:nvPr>
            <p:ph type="pic" sz="quarter" idx="43" hasCustomPrompt="1"/>
          </p:nvPr>
        </p:nvSpPr>
        <p:spPr>
          <a:xfrm>
            <a:off x="6023887" y="2900086"/>
            <a:ext cx="6030000" cy="5389200"/>
          </a:xfrm>
          <a:solidFill>
            <a:schemeClr val="tx2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1" name="SmartArt 占位符 2"/>
          <p:cNvSpPr>
            <a:spLocks noGrp="1"/>
          </p:cNvSpPr>
          <p:nvPr>
            <p:ph type="pic" sz="quarter" idx="44" hasCustomPrompt="1"/>
          </p:nvPr>
        </p:nvSpPr>
        <p:spPr>
          <a:xfrm>
            <a:off x="12066588" y="2900086"/>
            <a:ext cx="6030000" cy="53892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2" name="SmartArt 占位符 2"/>
          <p:cNvSpPr>
            <a:spLocks noGrp="1"/>
          </p:cNvSpPr>
          <p:nvPr>
            <p:ph type="pic" sz="quarter" idx="45" hasCustomPrompt="1"/>
          </p:nvPr>
        </p:nvSpPr>
        <p:spPr>
          <a:xfrm>
            <a:off x="18109289" y="2900086"/>
            <a:ext cx="6030000" cy="5389200"/>
          </a:xfrm>
          <a:solidFill>
            <a:schemeClr val="tx2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3" name="SmartArt 占位符 2"/>
          <p:cNvSpPr>
            <a:spLocks noGrp="1"/>
          </p:cNvSpPr>
          <p:nvPr>
            <p:ph type="pic" sz="quarter" idx="46" hasCustomPrompt="1"/>
          </p:nvPr>
        </p:nvSpPr>
        <p:spPr>
          <a:xfrm>
            <a:off x="12701" y="8289286"/>
            <a:ext cx="6030000" cy="5389200"/>
          </a:xfrm>
          <a:solidFill>
            <a:schemeClr val="tx2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4" name="SmartArt 占位符 2"/>
          <p:cNvSpPr>
            <a:spLocks noGrp="1"/>
          </p:cNvSpPr>
          <p:nvPr>
            <p:ph type="pic" sz="quarter" idx="47" hasCustomPrompt="1"/>
          </p:nvPr>
        </p:nvSpPr>
        <p:spPr>
          <a:xfrm>
            <a:off x="6036588" y="8289286"/>
            <a:ext cx="6030000" cy="53892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7" name="SmartArt 占位符 2"/>
          <p:cNvSpPr>
            <a:spLocks noGrp="1"/>
          </p:cNvSpPr>
          <p:nvPr>
            <p:ph type="pic" sz="quarter" idx="48" hasCustomPrompt="1"/>
          </p:nvPr>
        </p:nvSpPr>
        <p:spPr>
          <a:xfrm>
            <a:off x="12079289" y="8289286"/>
            <a:ext cx="6030000" cy="5389200"/>
          </a:xfrm>
          <a:solidFill>
            <a:schemeClr val="tx2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8" name="SmartArt 占位符 2"/>
          <p:cNvSpPr>
            <a:spLocks noGrp="1"/>
          </p:cNvSpPr>
          <p:nvPr>
            <p:ph type="pic" sz="quarter" idx="49" hasCustomPrompt="1"/>
          </p:nvPr>
        </p:nvSpPr>
        <p:spPr>
          <a:xfrm>
            <a:off x="18121990" y="8289286"/>
            <a:ext cx="6030000" cy="53892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2" name="图片占位符 4"/>
          <p:cNvSpPr>
            <a:spLocks noGrp="1"/>
          </p:cNvSpPr>
          <p:nvPr>
            <p:ph type="pic" sz="quarter" idx="37" hasCustomPrompt="1"/>
          </p:nvPr>
        </p:nvSpPr>
        <p:spPr>
          <a:xfrm>
            <a:off x="8026043" y="4733901"/>
            <a:ext cx="2051090" cy="17215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544635" y="4231620"/>
            <a:ext cx="4856982" cy="919218"/>
          </a:xfrm>
        </p:spPr>
        <p:txBody>
          <a:bodyPr>
            <a:noAutofit/>
          </a:bodyPr>
          <a:lstStyle>
            <a:lvl1pPr marL="0" indent="0" algn="r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35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6" name="文本占位符 6"/>
          <p:cNvSpPr>
            <a:spLocks noGrp="1"/>
          </p:cNvSpPr>
          <p:nvPr>
            <p:ph type="body" sz="quarter" idx="39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19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544636" y="5397613"/>
            <a:ext cx="4856982" cy="2200180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9" name="图片占位符 4"/>
          <p:cNvSpPr>
            <a:spLocks noGrp="1"/>
          </p:cNvSpPr>
          <p:nvPr>
            <p:ph type="pic" sz="quarter" idx="50" hasCustomPrompt="1"/>
          </p:nvPr>
        </p:nvSpPr>
        <p:spPr>
          <a:xfrm>
            <a:off x="1989455" y="10203427"/>
            <a:ext cx="2051090" cy="17215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0" name="图片占位符 4"/>
          <p:cNvSpPr>
            <a:spLocks noGrp="1"/>
          </p:cNvSpPr>
          <p:nvPr>
            <p:ph type="pic" sz="quarter" idx="51" hasCustomPrompt="1"/>
          </p:nvPr>
        </p:nvSpPr>
        <p:spPr>
          <a:xfrm>
            <a:off x="14056043" y="10203427"/>
            <a:ext cx="2051090" cy="17215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2" name="图片占位符 4"/>
          <p:cNvSpPr>
            <a:spLocks noGrp="1"/>
          </p:cNvSpPr>
          <p:nvPr>
            <p:ph type="pic" sz="quarter" idx="52" hasCustomPrompt="1"/>
          </p:nvPr>
        </p:nvSpPr>
        <p:spPr>
          <a:xfrm>
            <a:off x="20111445" y="4733901"/>
            <a:ext cx="2051090" cy="17215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" name="等腰三角形 1"/>
          <p:cNvSpPr/>
          <p:nvPr userDrawn="1"/>
        </p:nvSpPr>
        <p:spPr>
          <a:xfrm rot="16200000">
            <a:off x="5596400" y="5427544"/>
            <a:ext cx="495289" cy="33428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等腰三角形 42"/>
          <p:cNvSpPr/>
          <p:nvPr userDrawn="1"/>
        </p:nvSpPr>
        <p:spPr>
          <a:xfrm rot="16200000">
            <a:off x="17667075" y="5478116"/>
            <a:ext cx="495289" cy="33428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等腰三角形 43"/>
          <p:cNvSpPr/>
          <p:nvPr userDrawn="1"/>
        </p:nvSpPr>
        <p:spPr>
          <a:xfrm rot="5400000">
            <a:off x="5968786" y="10816744"/>
            <a:ext cx="495289" cy="33428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等腰三角形 44"/>
          <p:cNvSpPr/>
          <p:nvPr userDrawn="1"/>
        </p:nvSpPr>
        <p:spPr>
          <a:xfrm rot="5400000">
            <a:off x="18107389" y="10816744"/>
            <a:ext cx="495289" cy="33428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2478591" y="4231620"/>
            <a:ext cx="4856982" cy="919218"/>
          </a:xfrm>
        </p:spPr>
        <p:txBody>
          <a:bodyPr>
            <a:noAutofit/>
          </a:bodyPr>
          <a:lstStyle>
            <a:lvl1pPr marL="0" indent="0" algn="r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47" name="文本占位符 8"/>
          <p:cNvSpPr>
            <a:spLocks noGrp="1"/>
          </p:cNvSpPr>
          <p:nvPr>
            <p:ph type="body" sz="quarter" idx="54" hasCustomPrompt="1"/>
          </p:nvPr>
        </p:nvSpPr>
        <p:spPr>
          <a:xfrm>
            <a:off x="12478592" y="5397613"/>
            <a:ext cx="4856982" cy="2200180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48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6796588" y="9488076"/>
            <a:ext cx="485698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49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6796589" y="10654069"/>
            <a:ext cx="4856982" cy="220018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50" name="文本占位符 8"/>
          <p:cNvSpPr>
            <a:spLocks noGrp="1"/>
          </p:cNvSpPr>
          <p:nvPr>
            <p:ph type="body" sz="quarter" idx="57" hasCustomPrompt="1"/>
          </p:nvPr>
        </p:nvSpPr>
        <p:spPr>
          <a:xfrm>
            <a:off x="18908590" y="9488076"/>
            <a:ext cx="485698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51" name="文本占位符 8"/>
          <p:cNvSpPr>
            <a:spLocks noGrp="1"/>
          </p:cNvSpPr>
          <p:nvPr>
            <p:ph type="body" sz="quarter" idx="58" hasCustomPrompt="1"/>
          </p:nvPr>
        </p:nvSpPr>
        <p:spPr>
          <a:xfrm>
            <a:off x="18908591" y="10654069"/>
            <a:ext cx="4856982" cy="220018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-三标题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平行四边形 4"/>
          <p:cNvSpPr/>
          <p:nvPr userDrawn="1"/>
        </p:nvSpPr>
        <p:spPr>
          <a:xfrm>
            <a:off x="-6759" y="2715895"/>
            <a:ext cx="19502551" cy="10963593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6" name="平行四边形 5"/>
          <p:cNvSpPr/>
          <p:nvPr userDrawn="1"/>
        </p:nvSpPr>
        <p:spPr>
          <a:xfrm>
            <a:off x="532602" y="2908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7030843" y="5896115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sp>
        <p:nvSpPr>
          <p:cNvPr id="9" name="文本框 8"/>
          <p:cNvSpPr txBox="1"/>
          <p:nvPr userDrawn="1"/>
        </p:nvSpPr>
        <p:spPr>
          <a:xfrm>
            <a:off x="1275941" y="962610"/>
            <a:ext cx="5848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/>
              <a:t>目录</a:t>
            </a:r>
            <a:endParaRPr lang="zh-CN" altLang="en-US" sz="8000" dirty="0"/>
          </a:p>
        </p:txBody>
      </p:sp>
      <p:sp>
        <p:nvSpPr>
          <p:cNvPr id="10" name="文本框 9"/>
          <p:cNvSpPr txBox="1"/>
          <p:nvPr userDrawn="1"/>
        </p:nvSpPr>
        <p:spPr>
          <a:xfrm>
            <a:off x="1897658" y="2879843"/>
            <a:ext cx="1448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3"/>
                </a:solidFill>
              </a:rPr>
              <a:t>CO</a:t>
            </a:r>
            <a:endParaRPr lang="zh-CN" altLang="en-US" sz="6000" b="1" dirty="0">
              <a:solidFill>
                <a:schemeClr val="accent3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3174591" y="2879843"/>
            <a:ext cx="37972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</a:rPr>
              <a:t>NTENTS</a:t>
            </a:r>
            <a:endParaRPr lang="zh-CN" altLang="en-US" sz="6000" b="1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5457021" y="5848888"/>
            <a:ext cx="1524498" cy="1027906"/>
            <a:chOff x="3980952" y="5140960"/>
            <a:chExt cx="1524498" cy="1027906"/>
          </a:xfrm>
        </p:grpSpPr>
        <p:sp>
          <p:nvSpPr>
            <p:cNvPr id="12" name="平行四边形 11"/>
            <p:cNvSpPr/>
            <p:nvPr userDrawn="1"/>
          </p:nvSpPr>
          <p:spPr>
            <a:xfrm>
              <a:off x="3980952" y="5140960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4248150" y="5150017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1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4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570243" y="7586303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4996079" y="7540257"/>
            <a:ext cx="1524498" cy="1027906"/>
            <a:chOff x="3520352" y="6624669"/>
            <a:chExt cx="1524498" cy="1027906"/>
          </a:xfrm>
        </p:grpSpPr>
        <p:sp>
          <p:nvSpPr>
            <p:cNvPr id="15" name="平行四边形 14"/>
            <p:cNvSpPr/>
            <p:nvPr userDrawn="1"/>
          </p:nvSpPr>
          <p:spPr>
            <a:xfrm>
              <a:off x="3520352" y="662466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6" name="文本框 15"/>
            <p:cNvSpPr txBox="1"/>
            <p:nvPr userDrawn="1"/>
          </p:nvSpPr>
          <p:spPr>
            <a:xfrm>
              <a:off x="3749450" y="663372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2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7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6034999" y="9289129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0" name="组合 19"/>
          <p:cNvGrpSpPr/>
          <p:nvPr userDrawn="1"/>
        </p:nvGrpSpPr>
        <p:grpSpPr>
          <a:xfrm>
            <a:off x="4476144" y="9261123"/>
            <a:ext cx="1524498" cy="1027906"/>
            <a:chOff x="3044102" y="8091519"/>
            <a:chExt cx="1524498" cy="1027906"/>
          </a:xfrm>
        </p:grpSpPr>
        <p:sp>
          <p:nvSpPr>
            <p:cNvPr id="18" name="平行四边形 17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9" name="文本框 18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3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7" name="平行四边形 26"/>
          <p:cNvSpPr/>
          <p:nvPr userDrawn="1"/>
        </p:nvSpPr>
        <p:spPr>
          <a:xfrm>
            <a:off x="19418729" y="8605472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 userDrawn="1"/>
        </p:nvSpPr>
        <p:spPr>
          <a:xfrm>
            <a:off x="22485077" y="5524499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类标题+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94" name="Rectangle 6"/>
          <p:cNvSpPr>
            <a:spLocks noChangeArrowheads="1"/>
          </p:cNvSpPr>
          <p:nvPr userDrawn="1"/>
        </p:nvSpPr>
        <p:spPr bwMode="auto">
          <a:xfrm>
            <a:off x="0" y="4513432"/>
            <a:ext cx="8328606" cy="601509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endParaRPr lang="zh-CN" altLang="en-US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100" name="Line 13"/>
          <p:cNvSpPr>
            <a:spLocks noChangeShapeType="1"/>
          </p:cNvSpPr>
          <p:nvPr userDrawn="1"/>
        </p:nvSpPr>
        <p:spPr bwMode="auto">
          <a:xfrm>
            <a:off x="1619247" y="6125922"/>
            <a:ext cx="5090114" cy="2"/>
          </a:xfrm>
          <a:prstGeom prst="line">
            <a:avLst/>
          </a:prstGeom>
          <a:noFill/>
          <a:ln w="6350">
            <a:solidFill>
              <a:schemeClr val="bg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32"/>
          </p:nvPr>
        </p:nvSpPr>
        <p:spPr>
          <a:xfrm>
            <a:off x="8328606" y="5000750"/>
            <a:ext cx="5264150" cy="5262563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1" name="图片占位符 2"/>
          <p:cNvSpPr>
            <a:spLocks noGrp="1"/>
          </p:cNvSpPr>
          <p:nvPr>
            <p:ph type="pic" sz="quarter" idx="33"/>
          </p:nvPr>
        </p:nvSpPr>
        <p:spPr>
          <a:xfrm>
            <a:off x="13592756" y="5000750"/>
            <a:ext cx="5264150" cy="5262563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2" name="图片占位符 2"/>
          <p:cNvSpPr>
            <a:spLocks noGrp="1"/>
          </p:cNvSpPr>
          <p:nvPr>
            <p:ph type="pic" sz="quarter" idx="34"/>
          </p:nvPr>
        </p:nvSpPr>
        <p:spPr>
          <a:xfrm>
            <a:off x="18856906" y="5000750"/>
            <a:ext cx="5264150" cy="5262563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2424539" y="5000750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05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778335" y="6602628"/>
            <a:ext cx="4771936" cy="3150962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106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8574712" y="10528526"/>
            <a:ext cx="14037637" cy="170157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8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9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0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2799770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21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2799770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22" name="图片占位符 3"/>
          <p:cNvSpPr>
            <a:spLocks noGrp="1"/>
          </p:cNvSpPr>
          <p:nvPr>
            <p:ph type="pic" sz="quarter" idx="18" hasCustomPrompt="1"/>
          </p:nvPr>
        </p:nvSpPr>
        <p:spPr>
          <a:xfrm>
            <a:off x="2704894" y="4738646"/>
            <a:ext cx="3636484" cy="36388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片</a:t>
            </a:r>
            <a:endParaRPr lang="zh-CN" altLang="en-US" dirty="0"/>
          </a:p>
        </p:txBody>
      </p:sp>
      <p:sp>
        <p:nvSpPr>
          <p:cNvPr id="23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7909653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24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7909653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25" name="图片占位符 3"/>
          <p:cNvSpPr>
            <a:spLocks noGrp="1"/>
          </p:cNvSpPr>
          <p:nvPr>
            <p:ph type="pic" sz="quarter" idx="38" hasCustomPrompt="1"/>
          </p:nvPr>
        </p:nvSpPr>
        <p:spPr>
          <a:xfrm>
            <a:off x="7814773" y="4738643"/>
            <a:ext cx="3636487" cy="36388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片</a:t>
            </a:r>
            <a:endParaRPr lang="zh-CN" altLang="en-US" dirty="0"/>
          </a:p>
        </p:txBody>
      </p:sp>
      <p:sp>
        <p:nvSpPr>
          <p:cNvPr id="26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3019535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27" name="文本占位符 8"/>
          <p:cNvSpPr>
            <a:spLocks noGrp="1"/>
          </p:cNvSpPr>
          <p:nvPr>
            <p:ph type="body" sz="quarter" idx="40" hasCustomPrompt="1"/>
          </p:nvPr>
        </p:nvSpPr>
        <p:spPr>
          <a:xfrm>
            <a:off x="13019535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28" name="图片占位符 3"/>
          <p:cNvSpPr>
            <a:spLocks noGrp="1"/>
          </p:cNvSpPr>
          <p:nvPr>
            <p:ph type="pic" sz="quarter" idx="42" hasCustomPrompt="1"/>
          </p:nvPr>
        </p:nvSpPr>
        <p:spPr>
          <a:xfrm>
            <a:off x="12924655" y="4738642"/>
            <a:ext cx="3636488" cy="3638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片</a:t>
            </a:r>
            <a:endParaRPr lang="zh-CN" altLang="en-US" dirty="0"/>
          </a:p>
        </p:txBody>
      </p:sp>
      <p:sp>
        <p:nvSpPr>
          <p:cNvPr id="29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18129416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0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18129416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1" name="图片占位符 3"/>
          <p:cNvSpPr>
            <a:spLocks noGrp="1"/>
          </p:cNvSpPr>
          <p:nvPr>
            <p:ph type="pic" sz="quarter" idx="46" hasCustomPrompt="1"/>
          </p:nvPr>
        </p:nvSpPr>
        <p:spPr>
          <a:xfrm>
            <a:off x="18034536" y="4738642"/>
            <a:ext cx="3636488" cy="3638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片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图+文字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图片占位符 2"/>
          <p:cNvSpPr>
            <a:spLocks noGrp="1"/>
          </p:cNvSpPr>
          <p:nvPr>
            <p:ph type="pic" sz="quarter" idx="37"/>
          </p:nvPr>
        </p:nvSpPr>
        <p:spPr>
          <a:xfrm>
            <a:off x="13823362" y="-672339"/>
            <a:ext cx="4899939" cy="7199557"/>
          </a:xfrm>
          <a:effectLst>
            <a:outerShdw blurRad="190500" dist="101600" sx="94000" sy="94000" algn="ctr" rotWithShape="0">
              <a:prstClr val="black">
                <a:alpha val="8000"/>
              </a:prstClr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30" name="图片占位符 2"/>
          <p:cNvSpPr>
            <a:spLocks noGrp="1"/>
          </p:cNvSpPr>
          <p:nvPr>
            <p:ph type="pic" sz="quarter" idx="38"/>
          </p:nvPr>
        </p:nvSpPr>
        <p:spPr>
          <a:xfrm>
            <a:off x="13823362" y="7032784"/>
            <a:ext cx="4899939" cy="7199557"/>
          </a:xfrm>
          <a:effectLst>
            <a:outerShdw blurRad="190500" dist="101600" sx="94000" sy="94000" algn="ctr" rotWithShape="0">
              <a:prstClr val="black">
                <a:alpha val="8000"/>
              </a:prstClr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31" name="图片占位符 2"/>
          <p:cNvSpPr>
            <a:spLocks noGrp="1"/>
          </p:cNvSpPr>
          <p:nvPr>
            <p:ph type="pic" sz="quarter" idx="39"/>
          </p:nvPr>
        </p:nvSpPr>
        <p:spPr>
          <a:xfrm>
            <a:off x="19220536" y="3626390"/>
            <a:ext cx="4899939" cy="7199557"/>
          </a:xfrm>
          <a:effectLst>
            <a:outerShdw blurRad="190500" dist="101600" sx="94000" sy="94000" algn="ctr" rotWithShape="0">
              <a:prstClr val="black">
                <a:alpha val="8000"/>
              </a:prstClr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32" name="图片占位符 2"/>
          <p:cNvSpPr>
            <a:spLocks noGrp="1"/>
          </p:cNvSpPr>
          <p:nvPr>
            <p:ph type="pic" sz="quarter" idx="40"/>
          </p:nvPr>
        </p:nvSpPr>
        <p:spPr>
          <a:xfrm>
            <a:off x="19220535" y="-4022566"/>
            <a:ext cx="4899939" cy="7199557"/>
          </a:xfrm>
          <a:effectLst>
            <a:outerShdw blurRad="190500" dist="101600" sx="94000" sy="94000" algn="ctr" rotWithShape="0">
              <a:prstClr val="black">
                <a:alpha val="8000"/>
              </a:prstClr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33" name="图片占位符 2"/>
          <p:cNvSpPr>
            <a:spLocks noGrp="1"/>
          </p:cNvSpPr>
          <p:nvPr>
            <p:ph type="pic" sz="quarter" idx="41"/>
          </p:nvPr>
        </p:nvSpPr>
        <p:spPr>
          <a:xfrm>
            <a:off x="19220534" y="11274768"/>
            <a:ext cx="4899939" cy="7199557"/>
          </a:xfrm>
          <a:effectLst>
            <a:outerShdw blurRad="190500" dist="101600" sx="94000" sy="94000" algn="ctr" rotWithShape="0">
              <a:prstClr val="black">
                <a:alpha val="8000"/>
              </a:prstClr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6" y="3350227"/>
            <a:ext cx="11421294" cy="1047582"/>
          </a:xfrm>
        </p:spPr>
        <p:txBody>
          <a:bodyPr>
            <a:normAutofit/>
          </a:bodyPr>
          <a:lstStyle>
            <a:lvl1pPr marL="0" indent="0" algn="l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7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03325" y="5800100"/>
            <a:ext cx="11421295" cy="478341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  <p:sp>
        <p:nvSpPr>
          <p:cNvPr id="19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4486609"/>
            <a:ext cx="11437170" cy="641181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3" name="SmartArt 占位符 2"/>
          <p:cNvSpPr>
            <a:spLocks noGrp="1"/>
          </p:cNvSpPr>
          <p:nvPr>
            <p:ph type="pic" sz="quarter" idx="36" hasCustomPrompt="1"/>
          </p:nvPr>
        </p:nvSpPr>
        <p:spPr>
          <a:xfrm>
            <a:off x="1258889" y="11055350"/>
            <a:ext cx="1234930" cy="45719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张图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32"/>
          </p:nvPr>
        </p:nvSpPr>
        <p:spPr>
          <a:xfrm>
            <a:off x="6695771" y="3244645"/>
            <a:ext cx="16208680" cy="5043949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3" name="图片占位符 2"/>
          <p:cNvSpPr>
            <a:spLocks noGrp="1"/>
          </p:cNvSpPr>
          <p:nvPr>
            <p:ph type="pic" sz="quarter" idx="33"/>
          </p:nvPr>
        </p:nvSpPr>
        <p:spPr>
          <a:xfrm>
            <a:off x="1232822" y="3244645"/>
            <a:ext cx="5256469" cy="3595099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4" name="图片占位符 2"/>
          <p:cNvSpPr>
            <a:spLocks noGrp="1"/>
          </p:cNvSpPr>
          <p:nvPr>
            <p:ph type="pic" sz="quarter" idx="34"/>
          </p:nvPr>
        </p:nvSpPr>
        <p:spPr>
          <a:xfrm>
            <a:off x="1247805" y="7048500"/>
            <a:ext cx="5256469" cy="5781422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7" name="图片占位符 2"/>
          <p:cNvSpPr>
            <a:spLocks noGrp="1"/>
          </p:cNvSpPr>
          <p:nvPr>
            <p:ph type="pic" sz="quarter" idx="35"/>
          </p:nvPr>
        </p:nvSpPr>
        <p:spPr>
          <a:xfrm>
            <a:off x="6695771" y="8515350"/>
            <a:ext cx="5256469" cy="4314572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sz="quarter" idx="36"/>
          </p:nvPr>
        </p:nvSpPr>
        <p:spPr>
          <a:xfrm>
            <a:off x="17647981" y="8515350"/>
            <a:ext cx="5256469" cy="4314572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9" name="图片占位符 2"/>
          <p:cNvSpPr>
            <a:spLocks noGrp="1"/>
          </p:cNvSpPr>
          <p:nvPr>
            <p:ph type="pic" sz="quarter" idx="37"/>
          </p:nvPr>
        </p:nvSpPr>
        <p:spPr>
          <a:xfrm>
            <a:off x="12158251" y="8515350"/>
            <a:ext cx="5256469" cy="4314572"/>
          </a:xfrm>
        </p:spPr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206511" y="3131536"/>
            <a:ext cx="9385722" cy="9392920"/>
            <a:chOff x="1203617" y="2662616"/>
            <a:chExt cx="9385722" cy="9392920"/>
          </a:xfrm>
        </p:grpSpPr>
        <p:sp>
          <p:nvSpPr>
            <p:cNvPr id="58" name="矩形 57"/>
            <p:cNvSpPr/>
            <p:nvPr/>
          </p:nvSpPr>
          <p:spPr>
            <a:xfrm>
              <a:off x="1203617" y="5492176"/>
              <a:ext cx="9370621" cy="6563360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1204252" y="2662616"/>
              <a:ext cx="9385087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3" name="六边形 62"/>
          <p:cNvSpPr/>
          <p:nvPr userDrawn="1"/>
        </p:nvSpPr>
        <p:spPr>
          <a:xfrm rot="5400000">
            <a:off x="6273263" y="2574006"/>
            <a:ext cx="1252220" cy="1078865"/>
          </a:xfrm>
          <a:prstGeom prst="hexagon">
            <a:avLst>
              <a:gd name="adj" fmla="val 26971"/>
              <a:gd name="vf" fmla="val 115470"/>
            </a:avLst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23"/>
          </p:nvPr>
        </p:nvSpPr>
        <p:spPr>
          <a:xfrm>
            <a:off x="3048895" y="4005487"/>
            <a:ext cx="7700955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2541132" y="6220176"/>
            <a:ext cx="871648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100" name="组合 99"/>
          <p:cNvGrpSpPr/>
          <p:nvPr userDrawn="1"/>
        </p:nvGrpSpPr>
        <p:grpSpPr>
          <a:xfrm>
            <a:off x="12659801" y="3131535"/>
            <a:ext cx="9385722" cy="9392920"/>
            <a:chOff x="1203617" y="2662616"/>
            <a:chExt cx="9385722" cy="9392920"/>
          </a:xfrm>
        </p:grpSpPr>
        <p:sp>
          <p:nvSpPr>
            <p:cNvPr id="101" name="矩形 100"/>
            <p:cNvSpPr/>
            <p:nvPr/>
          </p:nvSpPr>
          <p:spPr>
            <a:xfrm>
              <a:off x="1203617" y="5492176"/>
              <a:ext cx="9370621" cy="6563360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矩形 101"/>
            <p:cNvSpPr/>
            <p:nvPr/>
          </p:nvSpPr>
          <p:spPr>
            <a:xfrm>
              <a:off x="1204252" y="2662616"/>
              <a:ext cx="9385087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4" name="六边形 103"/>
          <p:cNvSpPr/>
          <p:nvPr userDrawn="1"/>
        </p:nvSpPr>
        <p:spPr>
          <a:xfrm rot="5400000">
            <a:off x="16726553" y="2574005"/>
            <a:ext cx="1252220" cy="1078865"/>
          </a:xfrm>
          <a:prstGeom prst="hexagon">
            <a:avLst>
              <a:gd name="adj" fmla="val 26971"/>
              <a:gd name="vf" fmla="val 115470"/>
            </a:avLst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13502185" y="4005486"/>
            <a:ext cx="7700955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07" name="文本占位符 8"/>
          <p:cNvSpPr>
            <a:spLocks noGrp="1"/>
          </p:cNvSpPr>
          <p:nvPr>
            <p:ph type="body" sz="quarter" idx="26"/>
          </p:nvPr>
        </p:nvSpPr>
        <p:spPr>
          <a:xfrm>
            <a:off x="12994422" y="6220175"/>
            <a:ext cx="871648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08" name="平行四边形 107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类标题+内容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57" name="组合 56"/>
          <p:cNvGrpSpPr/>
          <p:nvPr userDrawn="1"/>
        </p:nvGrpSpPr>
        <p:grpSpPr>
          <a:xfrm>
            <a:off x="1854505" y="3050114"/>
            <a:ext cx="9908450" cy="9646238"/>
            <a:chOff x="1028590" y="2265045"/>
            <a:chExt cx="9908450" cy="9646238"/>
          </a:xfrm>
        </p:grpSpPr>
        <p:sp>
          <p:nvSpPr>
            <p:cNvPr id="58" name="矩形 57"/>
            <p:cNvSpPr/>
            <p:nvPr/>
          </p:nvSpPr>
          <p:spPr>
            <a:xfrm>
              <a:off x="1301639" y="5094606"/>
              <a:ext cx="9405688" cy="6696750"/>
            </a:xfrm>
            <a:prstGeom prst="rect">
              <a:avLst/>
            </a:prstGeom>
            <a:solidFill>
              <a:schemeClr val="accent2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60" name="quotation-mark_32371"/>
            <p:cNvSpPr>
              <a:spLocks noChangeAspect="1"/>
            </p:cNvSpPr>
            <p:nvPr/>
          </p:nvSpPr>
          <p:spPr bwMode="auto">
            <a:xfrm rot="10800000">
              <a:off x="10397290" y="11410268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61" name="矩形 60"/>
            <p:cNvSpPr/>
            <p:nvPr/>
          </p:nvSpPr>
          <p:spPr>
            <a:xfrm>
              <a:off x="1301639" y="2265045"/>
              <a:ext cx="9405688" cy="28295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62" name="book-hand-drawn-open-pages_35781"/>
          <p:cNvSpPr>
            <a:spLocks noChangeAspect="1"/>
          </p:cNvSpPr>
          <p:nvPr userDrawn="1"/>
        </p:nvSpPr>
        <p:spPr bwMode="auto">
          <a:xfrm>
            <a:off x="10629333" y="5110140"/>
            <a:ext cx="670654" cy="546343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63" name="文本占位符 8"/>
          <p:cNvSpPr>
            <a:spLocks noGrp="1"/>
          </p:cNvSpPr>
          <p:nvPr>
            <p:ph type="body" sz="quarter" idx="14"/>
          </p:nvPr>
        </p:nvSpPr>
        <p:spPr>
          <a:xfrm>
            <a:off x="2441879" y="6475673"/>
            <a:ext cx="8560421" cy="5716327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17"/>
          </p:nvPr>
        </p:nvSpPr>
        <p:spPr>
          <a:xfrm>
            <a:off x="2506310" y="3524550"/>
            <a:ext cx="8560421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70" name="book-hand-drawn-open-pages_35781"/>
          <p:cNvSpPr>
            <a:spLocks noChangeAspect="1"/>
          </p:cNvSpPr>
          <p:nvPr userDrawn="1"/>
        </p:nvSpPr>
        <p:spPr bwMode="auto">
          <a:xfrm>
            <a:off x="15103252" y="5253542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78" name="book-hand-drawn-open-pages_35781"/>
          <p:cNvSpPr>
            <a:spLocks noChangeAspect="1"/>
          </p:cNvSpPr>
          <p:nvPr userDrawn="1"/>
        </p:nvSpPr>
        <p:spPr bwMode="auto">
          <a:xfrm>
            <a:off x="22354609" y="440948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grpSp>
        <p:nvGrpSpPr>
          <p:cNvPr id="81" name="组合 80"/>
          <p:cNvGrpSpPr/>
          <p:nvPr userDrawn="1"/>
        </p:nvGrpSpPr>
        <p:grpSpPr>
          <a:xfrm>
            <a:off x="12399267" y="3050114"/>
            <a:ext cx="9908450" cy="9646238"/>
            <a:chOff x="1028590" y="2265045"/>
            <a:chExt cx="9908450" cy="9646238"/>
          </a:xfrm>
        </p:grpSpPr>
        <p:sp>
          <p:nvSpPr>
            <p:cNvPr id="82" name="矩形 81"/>
            <p:cNvSpPr/>
            <p:nvPr/>
          </p:nvSpPr>
          <p:spPr>
            <a:xfrm>
              <a:off x="1301639" y="5094606"/>
              <a:ext cx="9405688" cy="6696750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4" name="quotation-mark_32371"/>
            <p:cNvSpPr>
              <a:spLocks noChangeAspect="1"/>
            </p:cNvSpPr>
            <p:nvPr/>
          </p:nvSpPr>
          <p:spPr bwMode="auto">
            <a:xfrm rot="10800000">
              <a:off x="10397290" y="11410268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85" name="矩形 84"/>
            <p:cNvSpPr/>
            <p:nvPr/>
          </p:nvSpPr>
          <p:spPr>
            <a:xfrm>
              <a:off x="1301639" y="2265045"/>
              <a:ext cx="9405688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86" name="book-hand-drawn-open-pages_35781"/>
          <p:cNvSpPr>
            <a:spLocks noChangeAspect="1"/>
          </p:cNvSpPr>
          <p:nvPr userDrawn="1"/>
        </p:nvSpPr>
        <p:spPr bwMode="auto">
          <a:xfrm>
            <a:off x="21174095" y="5110140"/>
            <a:ext cx="670654" cy="546343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87" name="文本占位符 8"/>
          <p:cNvSpPr>
            <a:spLocks noGrp="1"/>
          </p:cNvSpPr>
          <p:nvPr>
            <p:ph type="body" sz="quarter" idx="18"/>
          </p:nvPr>
        </p:nvSpPr>
        <p:spPr>
          <a:xfrm>
            <a:off x="12986641" y="6475673"/>
            <a:ext cx="8560421" cy="5716327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8" name="文本占位符 8"/>
          <p:cNvSpPr>
            <a:spLocks noGrp="1"/>
          </p:cNvSpPr>
          <p:nvPr>
            <p:ph type="body" sz="quarter" idx="19"/>
          </p:nvPr>
        </p:nvSpPr>
        <p:spPr>
          <a:xfrm>
            <a:off x="13051072" y="3524550"/>
            <a:ext cx="8560421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9" name="平行四边形 88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5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6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8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798793" y="4375763"/>
            <a:ext cx="6569692" cy="77311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</a:t>
            </a:r>
            <a:endParaRPr lang="zh-CN" altLang="en-US" dirty="0"/>
          </a:p>
        </p:txBody>
      </p:sp>
      <p:sp>
        <p:nvSpPr>
          <p:cNvPr id="19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5971070" y="4375763"/>
            <a:ext cx="6569692" cy="77311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</a:t>
            </a:r>
            <a:endParaRPr lang="zh-CN" altLang="en-US" dirty="0"/>
          </a:p>
        </p:txBody>
      </p:sp>
      <p:sp>
        <p:nvSpPr>
          <p:cNvPr id="20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8903979" y="4375763"/>
            <a:ext cx="6569692" cy="77311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</a:t>
            </a:r>
            <a:endParaRPr lang="zh-CN" altLang="en-US" dirty="0"/>
          </a:p>
        </p:txBody>
      </p:sp>
      <p:sp>
        <p:nvSpPr>
          <p:cNvPr id="21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22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3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平行四边形 19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3635686" y="3783757"/>
            <a:ext cx="4888882" cy="31733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4" name="SmartArt 占位符 3"/>
          <p:cNvSpPr>
            <a:spLocks noGrp="1"/>
          </p:cNvSpPr>
          <p:nvPr>
            <p:ph type="pic" sz="quarter" idx="15"/>
          </p:nvPr>
        </p:nvSpPr>
        <p:spPr>
          <a:xfrm>
            <a:off x="3635686" y="6968487"/>
            <a:ext cx="4896000" cy="533321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4072028" y="7307887"/>
            <a:ext cx="4016197" cy="786525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11" name="文本占位符 8"/>
          <p:cNvSpPr>
            <a:spLocks noGrp="1"/>
          </p:cNvSpPr>
          <p:nvPr>
            <p:ph type="body" sz="quarter" idx="16" hasCustomPrompt="1"/>
          </p:nvPr>
        </p:nvSpPr>
        <p:spPr>
          <a:xfrm>
            <a:off x="4072028" y="8515101"/>
            <a:ext cx="4016197" cy="326956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字</a:t>
            </a:r>
            <a:endParaRPr lang="zh-CN" altLang="en-US" dirty="0"/>
          </a:p>
        </p:txBody>
      </p:sp>
      <p:sp>
        <p:nvSpPr>
          <p:cNvPr id="12" name="图片占位符 6"/>
          <p:cNvSpPr>
            <a:spLocks noGrp="1"/>
          </p:cNvSpPr>
          <p:nvPr>
            <p:ph type="pic" sz="quarter" idx="17"/>
          </p:nvPr>
        </p:nvSpPr>
        <p:spPr>
          <a:xfrm>
            <a:off x="9421970" y="3411665"/>
            <a:ext cx="4888882" cy="31733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3" name="SmartArt 占位符 3"/>
          <p:cNvSpPr>
            <a:spLocks noGrp="1"/>
          </p:cNvSpPr>
          <p:nvPr>
            <p:ph type="pic" sz="quarter" idx="18"/>
          </p:nvPr>
        </p:nvSpPr>
        <p:spPr>
          <a:xfrm>
            <a:off x="9421970" y="6596395"/>
            <a:ext cx="4896000" cy="533321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/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19" hasCustomPrompt="1"/>
          </p:nvPr>
        </p:nvSpPr>
        <p:spPr>
          <a:xfrm>
            <a:off x="9858312" y="6935795"/>
            <a:ext cx="4016197" cy="786525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20" hasCustomPrompt="1"/>
          </p:nvPr>
        </p:nvSpPr>
        <p:spPr>
          <a:xfrm>
            <a:off x="9858312" y="8143009"/>
            <a:ext cx="4016197" cy="326956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字</a:t>
            </a:r>
            <a:endParaRPr lang="zh-CN" altLang="en-US" dirty="0"/>
          </a:p>
        </p:txBody>
      </p:sp>
      <p:sp>
        <p:nvSpPr>
          <p:cNvPr id="16" name="图片占位符 6"/>
          <p:cNvSpPr>
            <a:spLocks noGrp="1"/>
          </p:cNvSpPr>
          <p:nvPr>
            <p:ph type="pic" sz="quarter" idx="21"/>
          </p:nvPr>
        </p:nvSpPr>
        <p:spPr>
          <a:xfrm>
            <a:off x="15218559" y="3813254"/>
            <a:ext cx="4888882" cy="31733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7" name="SmartArt 占位符 3"/>
          <p:cNvSpPr>
            <a:spLocks noGrp="1"/>
          </p:cNvSpPr>
          <p:nvPr>
            <p:ph type="pic" sz="quarter" idx="22"/>
          </p:nvPr>
        </p:nvSpPr>
        <p:spPr>
          <a:xfrm>
            <a:off x="15218559" y="6997984"/>
            <a:ext cx="4896000" cy="533321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/>
          </a:p>
        </p:txBody>
      </p:sp>
      <p:sp>
        <p:nvSpPr>
          <p:cNvPr id="18" name="文本占位符 8"/>
          <p:cNvSpPr>
            <a:spLocks noGrp="1"/>
          </p:cNvSpPr>
          <p:nvPr>
            <p:ph type="body" sz="quarter" idx="23" hasCustomPrompt="1"/>
          </p:nvPr>
        </p:nvSpPr>
        <p:spPr>
          <a:xfrm>
            <a:off x="15654901" y="7337384"/>
            <a:ext cx="4016197" cy="786525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19" name="文本占位符 8"/>
          <p:cNvSpPr>
            <a:spLocks noGrp="1"/>
          </p:cNvSpPr>
          <p:nvPr>
            <p:ph type="body" sz="quarter" idx="24" hasCustomPrompt="1"/>
          </p:nvPr>
        </p:nvSpPr>
        <p:spPr>
          <a:xfrm>
            <a:off x="15654901" y="8544598"/>
            <a:ext cx="4016197" cy="326956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字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sz="quarter" idx="25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3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4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类标题+内容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57" name="组合 56"/>
          <p:cNvGrpSpPr/>
          <p:nvPr userDrawn="1"/>
        </p:nvGrpSpPr>
        <p:grpSpPr>
          <a:xfrm>
            <a:off x="1323560" y="2979771"/>
            <a:ext cx="7005664" cy="9927590"/>
            <a:chOff x="1028590" y="2265045"/>
            <a:chExt cx="7005664" cy="9927590"/>
          </a:xfrm>
        </p:grpSpPr>
        <p:sp>
          <p:nvSpPr>
            <p:cNvPr id="58" name="矩形 57"/>
            <p:cNvSpPr/>
            <p:nvPr/>
          </p:nvSpPr>
          <p:spPr>
            <a:xfrm>
              <a:off x="1301639" y="5094605"/>
              <a:ext cx="6426515" cy="7019925"/>
            </a:xfrm>
            <a:prstGeom prst="rect">
              <a:avLst/>
            </a:prstGeom>
            <a:solidFill>
              <a:schemeClr val="accent2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60" name="quotation-mark_32371"/>
            <p:cNvSpPr>
              <a:spLocks noChangeAspect="1"/>
            </p:cNvSpPr>
            <p:nvPr/>
          </p:nvSpPr>
          <p:spPr bwMode="auto">
            <a:xfrm rot="10800000">
              <a:off x="7494504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61" name="矩形 60"/>
            <p:cNvSpPr/>
            <p:nvPr/>
          </p:nvSpPr>
          <p:spPr>
            <a:xfrm>
              <a:off x="1301639" y="2265045"/>
              <a:ext cx="6426515" cy="28295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62" name="book-hand-drawn-open-pages_35781"/>
          <p:cNvSpPr>
            <a:spLocks noChangeAspect="1"/>
          </p:cNvSpPr>
          <p:nvPr userDrawn="1"/>
        </p:nvSpPr>
        <p:spPr bwMode="auto">
          <a:xfrm>
            <a:off x="7281687" y="5183199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63" name="文本占位符 8"/>
          <p:cNvSpPr>
            <a:spLocks noGrp="1"/>
          </p:cNvSpPr>
          <p:nvPr>
            <p:ph type="body" sz="quarter" idx="14"/>
          </p:nvPr>
        </p:nvSpPr>
        <p:spPr>
          <a:xfrm>
            <a:off x="1910934" y="6405330"/>
            <a:ext cx="5640241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17"/>
          </p:nvPr>
        </p:nvSpPr>
        <p:spPr>
          <a:xfrm>
            <a:off x="1975365" y="3454207"/>
            <a:ext cx="5640241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65" name="组合 64"/>
          <p:cNvGrpSpPr/>
          <p:nvPr userDrawn="1"/>
        </p:nvGrpSpPr>
        <p:grpSpPr>
          <a:xfrm>
            <a:off x="8614180" y="2979771"/>
            <a:ext cx="7005664" cy="9927590"/>
            <a:chOff x="1028590" y="2265045"/>
            <a:chExt cx="7005664" cy="9927590"/>
          </a:xfrm>
        </p:grpSpPr>
        <p:sp>
          <p:nvSpPr>
            <p:cNvPr id="66" name="矩形 65"/>
            <p:cNvSpPr/>
            <p:nvPr/>
          </p:nvSpPr>
          <p:spPr>
            <a:xfrm>
              <a:off x="1301639" y="5094605"/>
              <a:ext cx="6426515" cy="7019925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68" name="quotation-mark_32371"/>
            <p:cNvSpPr>
              <a:spLocks noChangeAspect="1"/>
            </p:cNvSpPr>
            <p:nvPr/>
          </p:nvSpPr>
          <p:spPr bwMode="auto">
            <a:xfrm rot="10800000">
              <a:off x="7494504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69" name="矩形 68"/>
            <p:cNvSpPr/>
            <p:nvPr/>
          </p:nvSpPr>
          <p:spPr>
            <a:xfrm>
              <a:off x="1301639" y="2265045"/>
              <a:ext cx="6426515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70" name="book-hand-drawn-open-pages_35781"/>
          <p:cNvSpPr>
            <a:spLocks noChangeAspect="1"/>
          </p:cNvSpPr>
          <p:nvPr userDrawn="1"/>
        </p:nvSpPr>
        <p:spPr bwMode="auto">
          <a:xfrm>
            <a:off x="14572307" y="5183199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71" name="文本占位符 8"/>
          <p:cNvSpPr>
            <a:spLocks noGrp="1"/>
          </p:cNvSpPr>
          <p:nvPr>
            <p:ph type="body" sz="quarter" idx="18"/>
          </p:nvPr>
        </p:nvSpPr>
        <p:spPr>
          <a:xfrm>
            <a:off x="9201554" y="6405330"/>
            <a:ext cx="5640241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72" name="文本占位符 8"/>
          <p:cNvSpPr>
            <a:spLocks noGrp="1"/>
          </p:cNvSpPr>
          <p:nvPr>
            <p:ph type="body" sz="quarter" idx="19"/>
          </p:nvPr>
        </p:nvSpPr>
        <p:spPr>
          <a:xfrm>
            <a:off x="9265985" y="3454207"/>
            <a:ext cx="5640241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73" name="组合 72"/>
          <p:cNvGrpSpPr/>
          <p:nvPr userDrawn="1"/>
        </p:nvGrpSpPr>
        <p:grpSpPr>
          <a:xfrm>
            <a:off x="15865537" y="2932879"/>
            <a:ext cx="7005664" cy="9927590"/>
            <a:chOff x="1028590" y="2265045"/>
            <a:chExt cx="7005664" cy="9927590"/>
          </a:xfrm>
        </p:grpSpPr>
        <p:sp>
          <p:nvSpPr>
            <p:cNvPr id="74" name="矩形 73"/>
            <p:cNvSpPr/>
            <p:nvPr/>
          </p:nvSpPr>
          <p:spPr>
            <a:xfrm>
              <a:off x="1301639" y="5094605"/>
              <a:ext cx="6426515" cy="7019925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76" name="quotation-mark_32371"/>
            <p:cNvSpPr>
              <a:spLocks noChangeAspect="1"/>
            </p:cNvSpPr>
            <p:nvPr/>
          </p:nvSpPr>
          <p:spPr bwMode="auto">
            <a:xfrm rot="10800000">
              <a:off x="7494504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77" name="矩形 76"/>
            <p:cNvSpPr/>
            <p:nvPr/>
          </p:nvSpPr>
          <p:spPr>
            <a:xfrm>
              <a:off x="1301639" y="2265045"/>
              <a:ext cx="6426515" cy="28295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78" name="book-hand-drawn-open-pages_35781"/>
          <p:cNvSpPr>
            <a:spLocks noChangeAspect="1"/>
          </p:cNvSpPr>
          <p:nvPr userDrawn="1"/>
        </p:nvSpPr>
        <p:spPr bwMode="auto">
          <a:xfrm>
            <a:off x="21823664" y="518320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79" name="文本占位符 8"/>
          <p:cNvSpPr>
            <a:spLocks noGrp="1"/>
          </p:cNvSpPr>
          <p:nvPr>
            <p:ph type="body" sz="quarter" idx="20"/>
          </p:nvPr>
        </p:nvSpPr>
        <p:spPr>
          <a:xfrm>
            <a:off x="16452911" y="6405331"/>
            <a:ext cx="5640241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0" name="文本占位符 8"/>
          <p:cNvSpPr>
            <a:spLocks noGrp="1"/>
          </p:cNvSpPr>
          <p:nvPr>
            <p:ph type="body" sz="quarter" idx="21"/>
          </p:nvPr>
        </p:nvSpPr>
        <p:spPr>
          <a:xfrm>
            <a:off x="16517342" y="3454208"/>
            <a:ext cx="5640241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29" name="平行四边形 28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1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2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498588" y="3412892"/>
            <a:ext cx="6591935" cy="9392920"/>
            <a:chOff x="1203618" y="2662616"/>
            <a:chExt cx="6591935" cy="9392920"/>
          </a:xfrm>
        </p:grpSpPr>
        <p:sp>
          <p:nvSpPr>
            <p:cNvPr id="58" name="矩形 57"/>
            <p:cNvSpPr/>
            <p:nvPr/>
          </p:nvSpPr>
          <p:spPr>
            <a:xfrm>
              <a:off x="1203618" y="5492176"/>
              <a:ext cx="6581140" cy="6563360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1204253" y="2662616"/>
              <a:ext cx="6591300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/>
          <p:cNvGrpSpPr/>
          <p:nvPr userDrawn="1"/>
        </p:nvGrpSpPr>
        <p:grpSpPr>
          <a:xfrm>
            <a:off x="4255440" y="2768685"/>
            <a:ext cx="1078865" cy="1252220"/>
            <a:chOff x="3960470" y="2018409"/>
            <a:chExt cx="1078865" cy="1252220"/>
          </a:xfrm>
        </p:grpSpPr>
        <p:sp>
          <p:nvSpPr>
            <p:cNvPr id="63" name="六边形 62"/>
            <p:cNvSpPr/>
            <p:nvPr userDrawn="1"/>
          </p:nvSpPr>
          <p:spPr>
            <a:xfrm rot="5400000">
              <a:off x="3873793" y="2105086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book-hand-drawn-open-pages_35781"/>
            <p:cNvSpPr>
              <a:spLocks noChangeAspect="1"/>
            </p:cNvSpPr>
            <p:nvPr/>
          </p:nvSpPr>
          <p:spPr bwMode="auto">
            <a:xfrm>
              <a:off x="4204628" y="2403536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56" name="文本占位符 8"/>
          <p:cNvSpPr>
            <a:spLocks noGrp="1"/>
          </p:cNvSpPr>
          <p:nvPr>
            <p:ph type="body" sz="quarter" idx="23"/>
          </p:nvPr>
        </p:nvSpPr>
        <p:spPr>
          <a:xfrm>
            <a:off x="2140164" y="4286843"/>
            <a:ext cx="5309419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1784372" y="6501532"/>
            <a:ext cx="600957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84" name="组合 83"/>
          <p:cNvGrpSpPr/>
          <p:nvPr userDrawn="1"/>
        </p:nvGrpSpPr>
        <p:grpSpPr>
          <a:xfrm>
            <a:off x="8731464" y="3417804"/>
            <a:ext cx="6591935" cy="9392920"/>
            <a:chOff x="1203618" y="2662616"/>
            <a:chExt cx="6591935" cy="9392920"/>
          </a:xfrm>
        </p:grpSpPr>
        <p:sp>
          <p:nvSpPr>
            <p:cNvPr id="85" name="矩形 84"/>
            <p:cNvSpPr/>
            <p:nvPr/>
          </p:nvSpPr>
          <p:spPr>
            <a:xfrm>
              <a:off x="1203618" y="5492176"/>
              <a:ext cx="6581140" cy="6563360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>
            <a:xfrm>
              <a:off x="1204253" y="2662616"/>
              <a:ext cx="6591300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7" name="组合 86"/>
          <p:cNvGrpSpPr/>
          <p:nvPr userDrawn="1"/>
        </p:nvGrpSpPr>
        <p:grpSpPr>
          <a:xfrm>
            <a:off x="11488316" y="2773597"/>
            <a:ext cx="1078865" cy="1252220"/>
            <a:chOff x="3960470" y="2018409"/>
            <a:chExt cx="1078865" cy="1252220"/>
          </a:xfrm>
        </p:grpSpPr>
        <p:sp>
          <p:nvSpPr>
            <p:cNvPr id="88" name="六边形 87"/>
            <p:cNvSpPr/>
            <p:nvPr userDrawn="1"/>
          </p:nvSpPr>
          <p:spPr>
            <a:xfrm rot="5400000">
              <a:off x="3873793" y="2105086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book-hand-drawn-open-pages_35781"/>
            <p:cNvSpPr>
              <a:spLocks noChangeAspect="1"/>
            </p:cNvSpPr>
            <p:nvPr/>
          </p:nvSpPr>
          <p:spPr bwMode="auto">
            <a:xfrm>
              <a:off x="4204628" y="2403536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90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9373040" y="4291755"/>
            <a:ext cx="5309419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91" name="文本占位符 8"/>
          <p:cNvSpPr>
            <a:spLocks noGrp="1"/>
          </p:cNvSpPr>
          <p:nvPr>
            <p:ph type="body" sz="quarter" idx="26"/>
          </p:nvPr>
        </p:nvSpPr>
        <p:spPr>
          <a:xfrm>
            <a:off x="9017248" y="6506444"/>
            <a:ext cx="600957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92" name="组合 91"/>
          <p:cNvGrpSpPr/>
          <p:nvPr userDrawn="1"/>
        </p:nvGrpSpPr>
        <p:grpSpPr>
          <a:xfrm>
            <a:off x="15978316" y="3412892"/>
            <a:ext cx="6591935" cy="9392920"/>
            <a:chOff x="1203618" y="2662616"/>
            <a:chExt cx="6591935" cy="9392920"/>
          </a:xfrm>
        </p:grpSpPr>
        <p:sp>
          <p:nvSpPr>
            <p:cNvPr id="93" name="矩形 92"/>
            <p:cNvSpPr/>
            <p:nvPr/>
          </p:nvSpPr>
          <p:spPr>
            <a:xfrm>
              <a:off x="1203618" y="5492176"/>
              <a:ext cx="6581140" cy="6563360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矩形 93"/>
            <p:cNvSpPr/>
            <p:nvPr/>
          </p:nvSpPr>
          <p:spPr>
            <a:xfrm>
              <a:off x="1204253" y="2662616"/>
              <a:ext cx="6591300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5" name="组合 94"/>
          <p:cNvGrpSpPr/>
          <p:nvPr userDrawn="1"/>
        </p:nvGrpSpPr>
        <p:grpSpPr>
          <a:xfrm>
            <a:off x="18735168" y="2768685"/>
            <a:ext cx="1078865" cy="1252220"/>
            <a:chOff x="3960470" y="2018409"/>
            <a:chExt cx="1078865" cy="1252220"/>
          </a:xfrm>
        </p:grpSpPr>
        <p:sp>
          <p:nvSpPr>
            <p:cNvPr id="96" name="六边形 95"/>
            <p:cNvSpPr/>
            <p:nvPr userDrawn="1"/>
          </p:nvSpPr>
          <p:spPr>
            <a:xfrm rot="5400000">
              <a:off x="3873793" y="2105086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" name="book-hand-drawn-open-pages_35781"/>
            <p:cNvSpPr>
              <a:spLocks noChangeAspect="1"/>
            </p:cNvSpPr>
            <p:nvPr/>
          </p:nvSpPr>
          <p:spPr bwMode="auto">
            <a:xfrm>
              <a:off x="4204628" y="2403536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98" name="文本占位符 8"/>
          <p:cNvSpPr>
            <a:spLocks noGrp="1"/>
          </p:cNvSpPr>
          <p:nvPr>
            <p:ph type="body" sz="quarter" idx="27"/>
          </p:nvPr>
        </p:nvSpPr>
        <p:spPr>
          <a:xfrm>
            <a:off x="16619892" y="4286843"/>
            <a:ext cx="5309419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99" name="文本占位符 8"/>
          <p:cNvSpPr>
            <a:spLocks noGrp="1"/>
          </p:cNvSpPr>
          <p:nvPr>
            <p:ph type="body" sz="quarter" idx="28"/>
          </p:nvPr>
        </p:nvSpPr>
        <p:spPr>
          <a:xfrm>
            <a:off x="16264100" y="6501532"/>
            <a:ext cx="600957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29" name="平行四边形 28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1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2" name="文本占位符 6"/>
          <p:cNvSpPr>
            <a:spLocks noGrp="1"/>
          </p:cNvSpPr>
          <p:nvPr>
            <p:ph type="body" sz="quarter" idx="29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-四标题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平行四边形 4"/>
          <p:cNvSpPr/>
          <p:nvPr userDrawn="1"/>
        </p:nvSpPr>
        <p:spPr>
          <a:xfrm>
            <a:off x="-6759" y="2715895"/>
            <a:ext cx="19502551" cy="10963593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6" name="平行四边形 5"/>
          <p:cNvSpPr/>
          <p:nvPr userDrawn="1"/>
        </p:nvSpPr>
        <p:spPr>
          <a:xfrm>
            <a:off x="532602" y="2908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7011793" y="5896115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sp>
        <p:nvSpPr>
          <p:cNvPr id="9" name="文本框 8"/>
          <p:cNvSpPr txBox="1"/>
          <p:nvPr userDrawn="1"/>
        </p:nvSpPr>
        <p:spPr>
          <a:xfrm>
            <a:off x="1275941" y="962610"/>
            <a:ext cx="5848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/>
              <a:t>目录</a:t>
            </a:r>
            <a:endParaRPr lang="zh-CN" altLang="en-US" sz="8000" dirty="0"/>
          </a:p>
        </p:txBody>
      </p:sp>
      <p:sp>
        <p:nvSpPr>
          <p:cNvPr id="10" name="文本框 9"/>
          <p:cNvSpPr txBox="1"/>
          <p:nvPr userDrawn="1"/>
        </p:nvSpPr>
        <p:spPr>
          <a:xfrm>
            <a:off x="1897658" y="2879843"/>
            <a:ext cx="1448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3"/>
                </a:solidFill>
              </a:rPr>
              <a:t>CO</a:t>
            </a:r>
            <a:endParaRPr lang="zh-CN" altLang="en-US" sz="6000" b="1" dirty="0">
              <a:solidFill>
                <a:schemeClr val="accent3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3174591" y="2879843"/>
            <a:ext cx="37972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</a:rPr>
              <a:t>NTENTS</a:t>
            </a:r>
            <a:endParaRPr lang="zh-CN" altLang="en-US" sz="6000" b="1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5437971" y="5848888"/>
            <a:ext cx="1524498" cy="1027906"/>
            <a:chOff x="3980952" y="5140960"/>
            <a:chExt cx="1524498" cy="1027906"/>
          </a:xfrm>
        </p:grpSpPr>
        <p:sp>
          <p:nvSpPr>
            <p:cNvPr id="12" name="平行四边形 11"/>
            <p:cNvSpPr/>
            <p:nvPr userDrawn="1"/>
          </p:nvSpPr>
          <p:spPr>
            <a:xfrm>
              <a:off x="3980952" y="5140960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4248150" y="5150017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1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4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1193" y="7379824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4977029" y="7333778"/>
            <a:ext cx="1524498" cy="1027906"/>
            <a:chOff x="3520352" y="6624669"/>
            <a:chExt cx="1524498" cy="1027906"/>
          </a:xfrm>
        </p:grpSpPr>
        <p:sp>
          <p:nvSpPr>
            <p:cNvPr id="15" name="平行四边形 14"/>
            <p:cNvSpPr/>
            <p:nvPr userDrawn="1"/>
          </p:nvSpPr>
          <p:spPr>
            <a:xfrm>
              <a:off x="3520352" y="662466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6" name="文本框 15"/>
            <p:cNvSpPr txBox="1"/>
            <p:nvPr userDrawn="1"/>
          </p:nvSpPr>
          <p:spPr>
            <a:xfrm>
              <a:off x="3749450" y="663372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2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7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6074943" y="8905668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0" name="组合 19"/>
          <p:cNvGrpSpPr/>
          <p:nvPr userDrawn="1"/>
        </p:nvGrpSpPr>
        <p:grpSpPr>
          <a:xfrm>
            <a:off x="4516088" y="8877662"/>
            <a:ext cx="1524498" cy="1027906"/>
            <a:chOff x="3044102" y="8091519"/>
            <a:chExt cx="1524498" cy="1027906"/>
          </a:xfrm>
        </p:grpSpPr>
        <p:sp>
          <p:nvSpPr>
            <p:cNvPr id="18" name="平行四边形 17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9" name="文本框 18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3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1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5590869" y="10439276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2" name="组合 21"/>
          <p:cNvGrpSpPr/>
          <p:nvPr userDrawn="1"/>
        </p:nvGrpSpPr>
        <p:grpSpPr>
          <a:xfrm>
            <a:off x="4055147" y="10392049"/>
            <a:ext cx="1524498" cy="1027906"/>
            <a:chOff x="3044102" y="8091519"/>
            <a:chExt cx="1524498" cy="1027906"/>
          </a:xfrm>
        </p:grpSpPr>
        <p:sp>
          <p:nvSpPr>
            <p:cNvPr id="23" name="平行四边形 22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24" name="文本框 23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4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7" name="平行四边形 26"/>
          <p:cNvSpPr/>
          <p:nvPr userDrawn="1"/>
        </p:nvSpPr>
        <p:spPr>
          <a:xfrm>
            <a:off x="19418729" y="8605472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 userDrawn="1"/>
        </p:nvSpPr>
        <p:spPr>
          <a:xfrm>
            <a:off x="22485077" y="5524499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2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798793" y="4937084"/>
            <a:ext cx="4771729" cy="6664032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7140409" y="4937084"/>
            <a:ext cx="4771729" cy="66640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16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12443929" y="4937084"/>
            <a:ext cx="4771729" cy="66640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17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7763324" y="4937084"/>
            <a:ext cx="4771729" cy="66640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18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9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0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类标题+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2799770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58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2799770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60" name="文本占位符 8"/>
          <p:cNvSpPr>
            <a:spLocks noGrp="1"/>
          </p:cNvSpPr>
          <p:nvPr>
            <p:ph type="body" sz="quarter" idx="34" hasCustomPrompt="1"/>
          </p:nvPr>
        </p:nvSpPr>
        <p:spPr>
          <a:xfrm rot="5400000">
            <a:off x="2422570" y="4748404"/>
            <a:ext cx="4201131" cy="3636484"/>
          </a:xfrm>
          <a:prstGeom prst="hexagon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63" name="图片占位符 3"/>
          <p:cNvSpPr>
            <a:spLocks noGrp="1"/>
          </p:cNvSpPr>
          <p:nvPr>
            <p:ph type="pic" sz="quarter" idx="18" hasCustomPrompt="1"/>
          </p:nvPr>
        </p:nvSpPr>
        <p:spPr>
          <a:xfrm>
            <a:off x="3745749" y="5780166"/>
            <a:ext cx="1554772" cy="155576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7909653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7909653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75" name="文本占位符 8"/>
          <p:cNvSpPr>
            <a:spLocks noGrp="1"/>
          </p:cNvSpPr>
          <p:nvPr>
            <p:ph type="body" sz="quarter" idx="37" hasCustomPrompt="1"/>
          </p:nvPr>
        </p:nvSpPr>
        <p:spPr>
          <a:xfrm rot="5400000">
            <a:off x="7532453" y="4748404"/>
            <a:ext cx="4201131" cy="3636484"/>
          </a:xfrm>
          <a:prstGeom prst="hexagon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76" name="图片占位符 3"/>
          <p:cNvSpPr>
            <a:spLocks noGrp="1"/>
          </p:cNvSpPr>
          <p:nvPr>
            <p:ph type="pic" sz="quarter" idx="38" hasCustomPrompt="1"/>
          </p:nvPr>
        </p:nvSpPr>
        <p:spPr>
          <a:xfrm>
            <a:off x="8855632" y="5780166"/>
            <a:ext cx="1554772" cy="155576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77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3019535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8" name="文本占位符 8"/>
          <p:cNvSpPr>
            <a:spLocks noGrp="1"/>
          </p:cNvSpPr>
          <p:nvPr>
            <p:ph type="body" sz="quarter" idx="40" hasCustomPrompt="1"/>
          </p:nvPr>
        </p:nvSpPr>
        <p:spPr>
          <a:xfrm>
            <a:off x="13019535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12642335" y="4748404"/>
            <a:ext cx="4201131" cy="3636484"/>
          </a:xfrm>
          <a:prstGeom prst="hexagon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80" name="图片占位符 3"/>
          <p:cNvSpPr>
            <a:spLocks noGrp="1"/>
          </p:cNvSpPr>
          <p:nvPr>
            <p:ph type="pic" sz="quarter" idx="42" hasCustomPrompt="1"/>
          </p:nvPr>
        </p:nvSpPr>
        <p:spPr>
          <a:xfrm>
            <a:off x="13965514" y="5780166"/>
            <a:ext cx="1554772" cy="155576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18129416" y="8903634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18129416" y="9834862"/>
            <a:ext cx="3479529" cy="163157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17752216" y="4748404"/>
            <a:ext cx="4201131" cy="3636484"/>
          </a:xfrm>
          <a:prstGeom prst="hexagon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84" name="图片占位符 3"/>
          <p:cNvSpPr>
            <a:spLocks noGrp="1"/>
          </p:cNvSpPr>
          <p:nvPr>
            <p:ph type="pic" sz="quarter" idx="46" hasCustomPrompt="1"/>
          </p:nvPr>
        </p:nvSpPr>
        <p:spPr>
          <a:xfrm>
            <a:off x="19075395" y="5780166"/>
            <a:ext cx="1554772" cy="155576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2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6类标题+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5605190" y="4493155"/>
            <a:ext cx="716962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58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5605190" y="5424383"/>
            <a:ext cx="7169622" cy="16315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" name="SmartArt 占位符 2"/>
          <p:cNvSpPr>
            <a:spLocks noGrp="1"/>
          </p:cNvSpPr>
          <p:nvPr>
            <p:ph type="pic" sz="quarter" idx="45" hasCustomPrompt="1"/>
          </p:nvPr>
        </p:nvSpPr>
        <p:spPr>
          <a:xfrm>
            <a:off x="12060238" y="3476452"/>
            <a:ext cx="4694154" cy="4694154"/>
          </a:xfrm>
          <a:prstGeom prst="rtTriangle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5" name="SmartArt 占位符 2"/>
          <p:cNvSpPr>
            <a:spLocks noGrp="1"/>
          </p:cNvSpPr>
          <p:nvPr>
            <p:ph type="pic" sz="quarter" idx="46" hasCustomPrompt="1"/>
          </p:nvPr>
        </p:nvSpPr>
        <p:spPr>
          <a:xfrm rot="5400000">
            <a:off x="12068432" y="8170606"/>
            <a:ext cx="4694154" cy="4694154"/>
          </a:xfrm>
          <a:prstGeom prst="rtTriangle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6" name="SmartArt 占位符 2"/>
          <p:cNvSpPr>
            <a:spLocks noGrp="1"/>
          </p:cNvSpPr>
          <p:nvPr>
            <p:ph type="pic" sz="quarter" idx="47" hasCustomPrompt="1"/>
          </p:nvPr>
        </p:nvSpPr>
        <p:spPr>
          <a:xfrm rot="10800000">
            <a:off x="7374278" y="8170606"/>
            <a:ext cx="4694154" cy="4694154"/>
          </a:xfrm>
          <a:prstGeom prst="rtTriangle">
            <a:avLst/>
          </a:prstGeom>
          <a:solidFill>
            <a:schemeClr val="accent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7" name="SmartArt 占位符 2"/>
          <p:cNvSpPr>
            <a:spLocks noGrp="1"/>
          </p:cNvSpPr>
          <p:nvPr>
            <p:ph type="pic" sz="quarter" idx="48" hasCustomPrompt="1"/>
          </p:nvPr>
        </p:nvSpPr>
        <p:spPr>
          <a:xfrm rot="16200000">
            <a:off x="7366083" y="3476340"/>
            <a:ext cx="4694154" cy="4694154"/>
          </a:xfrm>
          <a:prstGeom prst="rt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49" hasCustomPrompt="1"/>
          </p:nvPr>
        </p:nvSpPr>
        <p:spPr>
          <a:xfrm>
            <a:off x="10028238" y="6224588"/>
            <a:ext cx="1652587" cy="165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30" name="图片占位符 4"/>
          <p:cNvSpPr>
            <a:spLocks noGrp="1"/>
          </p:cNvSpPr>
          <p:nvPr>
            <p:ph type="pic" sz="quarter" idx="50" hasCustomPrompt="1"/>
          </p:nvPr>
        </p:nvSpPr>
        <p:spPr>
          <a:xfrm>
            <a:off x="12389619" y="6224588"/>
            <a:ext cx="1652587" cy="165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31" name="图片占位符 4"/>
          <p:cNvSpPr>
            <a:spLocks noGrp="1"/>
          </p:cNvSpPr>
          <p:nvPr>
            <p:ph type="pic" sz="quarter" idx="51" hasCustomPrompt="1"/>
          </p:nvPr>
        </p:nvSpPr>
        <p:spPr>
          <a:xfrm>
            <a:off x="10028238" y="8471198"/>
            <a:ext cx="1652587" cy="165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32" name="图片占位符 4"/>
          <p:cNvSpPr>
            <a:spLocks noGrp="1"/>
          </p:cNvSpPr>
          <p:nvPr>
            <p:ph type="pic" sz="quarter" idx="52" hasCustomPrompt="1"/>
          </p:nvPr>
        </p:nvSpPr>
        <p:spPr>
          <a:xfrm>
            <a:off x="12389619" y="8471198"/>
            <a:ext cx="1652587" cy="165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33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5605190" y="9354582"/>
            <a:ext cx="716962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4" name="文本占位符 8"/>
          <p:cNvSpPr>
            <a:spLocks noGrp="1"/>
          </p:cNvSpPr>
          <p:nvPr>
            <p:ph type="body" sz="quarter" idx="54" hasCustomPrompt="1"/>
          </p:nvPr>
        </p:nvSpPr>
        <p:spPr>
          <a:xfrm>
            <a:off x="15605190" y="10285810"/>
            <a:ext cx="7169622" cy="16315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5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1234086" y="4473562"/>
            <a:ext cx="716962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6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1234086" y="5404790"/>
            <a:ext cx="7169622" cy="16315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9" name="文本占位符 8"/>
          <p:cNvSpPr>
            <a:spLocks noGrp="1"/>
          </p:cNvSpPr>
          <p:nvPr>
            <p:ph type="body" sz="quarter" idx="57" hasCustomPrompt="1"/>
          </p:nvPr>
        </p:nvSpPr>
        <p:spPr>
          <a:xfrm>
            <a:off x="1234086" y="9334989"/>
            <a:ext cx="7169622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40" name="文本占位符 8"/>
          <p:cNvSpPr>
            <a:spLocks noGrp="1"/>
          </p:cNvSpPr>
          <p:nvPr>
            <p:ph type="body" sz="quarter" idx="58" hasCustomPrompt="1"/>
          </p:nvPr>
        </p:nvSpPr>
        <p:spPr>
          <a:xfrm>
            <a:off x="1234086" y="10266217"/>
            <a:ext cx="7169622" cy="16315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36"/>
          </p:nvPr>
        </p:nvSpPr>
        <p:spPr>
          <a:xfrm>
            <a:off x="0" y="7918450"/>
            <a:ext cx="24120475" cy="576103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7" name="SmartArt 占位符 6"/>
          <p:cNvSpPr>
            <a:spLocks noGrp="1"/>
          </p:cNvSpPr>
          <p:nvPr>
            <p:ph type="pic" sz="quarter" idx="37"/>
          </p:nvPr>
        </p:nvSpPr>
        <p:spPr>
          <a:xfrm>
            <a:off x="1798638" y="4937125"/>
            <a:ext cx="4772025" cy="5260975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9" name="SmartArt 占位符 6"/>
          <p:cNvSpPr>
            <a:spLocks noGrp="1"/>
          </p:cNvSpPr>
          <p:nvPr>
            <p:ph type="pic" sz="quarter" idx="38"/>
          </p:nvPr>
        </p:nvSpPr>
        <p:spPr>
          <a:xfrm>
            <a:off x="7140268" y="4936858"/>
            <a:ext cx="4772025" cy="5260975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20" name="SmartArt 占位符 6"/>
          <p:cNvSpPr>
            <a:spLocks noGrp="1"/>
          </p:cNvSpPr>
          <p:nvPr>
            <p:ph type="pic" sz="quarter" idx="39"/>
          </p:nvPr>
        </p:nvSpPr>
        <p:spPr>
          <a:xfrm>
            <a:off x="12451796" y="4936858"/>
            <a:ext cx="4772025" cy="5260975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21" name="SmartArt 占位符 6"/>
          <p:cNvSpPr>
            <a:spLocks noGrp="1"/>
          </p:cNvSpPr>
          <p:nvPr>
            <p:ph type="pic" sz="quarter" idx="40"/>
          </p:nvPr>
        </p:nvSpPr>
        <p:spPr>
          <a:xfrm>
            <a:off x="17763324" y="4936858"/>
            <a:ext cx="4772025" cy="5260975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8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2385869" y="7103880"/>
            <a:ext cx="3597562" cy="237331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2" name="文本占位符 8"/>
          <p:cNvSpPr>
            <a:spLocks noGrp="1"/>
          </p:cNvSpPr>
          <p:nvPr>
            <p:ph type="body" sz="quarter" idx="42" hasCustomPrompt="1"/>
          </p:nvPr>
        </p:nvSpPr>
        <p:spPr>
          <a:xfrm>
            <a:off x="1798638" y="5972110"/>
            <a:ext cx="4772025" cy="862958"/>
          </a:xfrm>
        </p:spPr>
        <p:txBody>
          <a:bodyPr>
            <a:normAutofit/>
          </a:bodyPr>
          <a:lstStyle>
            <a:lvl1pPr marL="0" indent="0" algn="ctr">
              <a:buNone/>
              <a:defRPr sz="30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3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7737875" y="7085407"/>
            <a:ext cx="3597562" cy="237331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4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7150644" y="5953637"/>
            <a:ext cx="4772025" cy="862958"/>
          </a:xfrm>
        </p:spPr>
        <p:txBody>
          <a:bodyPr>
            <a:normAutofit/>
          </a:bodyPr>
          <a:lstStyle>
            <a:lvl1pPr marL="0" indent="0" algn="ctr">
              <a:buNone/>
              <a:defRPr sz="30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5" name="文本占位符 8"/>
          <p:cNvSpPr>
            <a:spLocks noGrp="1"/>
          </p:cNvSpPr>
          <p:nvPr>
            <p:ph type="body" sz="quarter" idx="45" hasCustomPrompt="1"/>
          </p:nvPr>
        </p:nvSpPr>
        <p:spPr>
          <a:xfrm>
            <a:off x="13035756" y="7103880"/>
            <a:ext cx="3597562" cy="2373313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6" name="文本占位符 8"/>
          <p:cNvSpPr>
            <a:spLocks noGrp="1"/>
          </p:cNvSpPr>
          <p:nvPr>
            <p:ph type="body" sz="quarter" idx="46" hasCustomPrompt="1"/>
          </p:nvPr>
        </p:nvSpPr>
        <p:spPr>
          <a:xfrm>
            <a:off x="12448525" y="5972110"/>
            <a:ext cx="4772025" cy="862958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7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8333637" y="7085407"/>
            <a:ext cx="3597562" cy="237331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8" name="文本占位符 8"/>
          <p:cNvSpPr>
            <a:spLocks noGrp="1"/>
          </p:cNvSpPr>
          <p:nvPr>
            <p:ph type="body" sz="quarter" idx="48" hasCustomPrompt="1"/>
          </p:nvPr>
        </p:nvSpPr>
        <p:spPr>
          <a:xfrm>
            <a:off x="17746406" y="5953637"/>
            <a:ext cx="4772025" cy="862958"/>
          </a:xfrm>
        </p:spPr>
        <p:txBody>
          <a:bodyPr>
            <a:normAutofit/>
          </a:bodyPr>
          <a:lstStyle>
            <a:lvl1pPr marL="0" indent="0" algn="ctr">
              <a:buNone/>
              <a:defRPr sz="3000"/>
            </a:lvl1pPr>
          </a:lstStyle>
          <a:p>
            <a:pPr lvl="0"/>
            <a:r>
              <a:rPr lang="zh-CN" altLang="en-US" dirty="0"/>
              <a:t>单击此处编辑</a:t>
            </a:r>
            <a:endParaRPr lang="zh-CN" altLang="en-US" dirty="0"/>
          </a:p>
        </p:txBody>
      </p:sp>
      <p:sp>
        <p:nvSpPr>
          <p:cNvPr id="29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0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标题+内容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1028590" y="3026665"/>
            <a:ext cx="5206365" cy="9927590"/>
            <a:chOff x="1028590" y="2265045"/>
            <a:chExt cx="5206365" cy="9927590"/>
          </a:xfrm>
        </p:grpSpPr>
        <p:sp>
          <p:nvSpPr>
            <p:cNvPr id="12" name="矩形 11"/>
            <p:cNvSpPr/>
            <p:nvPr/>
          </p:nvSpPr>
          <p:spPr>
            <a:xfrm>
              <a:off x="1301640" y="5094605"/>
              <a:ext cx="4860290" cy="7019925"/>
            </a:xfrm>
            <a:prstGeom prst="rect">
              <a:avLst/>
            </a:prstGeom>
            <a:solidFill>
              <a:schemeClr val="accent2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14" name="quotation-mark_32371"/>
            <p:cNvSpPr>
              <a:spLocks noChangeAspect="1"/>
            </p:cNvSpPr>
            <p:nvPr/>
          </p:nvSpPr>
          <p:spPr bwMode="auto">
            <a:xfrm rot="10800000">
              <a:off x="5695205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16" name="矩形 15"/>
            <p:cNvSpPr/>
            <p:nvPr/>
          </p:nvSpPr>
          <p:spPr>
            <a:xfrm>
              <a:off x="1301640" y="2265045"/>
              <a:ext cx="4860290" cy="28295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25" name="book-hand-drawn-open-pages_35781"/>
          <p:cNvSpPr>
            <a:spLocks noChangeAspect="1"/>
          </p:cNvSpPr>
          <p:nvPr userDrawn="1"/>
        </p:nvSpPr>
        <p:spPr bwMode="auto">
          <a:xfrm>
            <a:off x="5423383" y="525959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9" name="文本占位符 8"/>
          <p:cNvSpPr>
            <a:spLocks noGrp="1"/>
          </p:cNvSpPr>
          <p:nvPr>
            <p:ph type="body" sz="quarter" idx="14"/>
          </p:nvPr>
        </p:nvSpPr>
        <p:spPr>
          <a:xfrm>
            <a:off x="1615965" y="6452224"/>
            <a:ext cx="407924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27" name="文本占位符 8"/>
          <p:cNvSpPr>
            <a:spLocks noGrp="1"/>
          </p:cNvSpPr>
          <p:nvPr>
            <p:ph type="body" sz="quarter" idx="17"/>
          </p:nvPr>
        </p:nvSpPr>
        <p:spPr>
          <a:xfrm>
            <a:off x="1680396" y="3501101"/>
            <a:ext cx="4079240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33" name="组合 32"/>
          <p:cNvGrpSpPr/>
          <p:nvPr userDrawn="1"/>
        </p:nvGrpSpPr>
        <p:grpSpPr>
          <a:xfrm>
            <a:off x="6604914" y="3026665"/>
            <a:ext cx="5206365" cy="9927590"/>
            <a:chOff x="1028590" y="2265045"/>
            <a:chExt cx="5206365" cy="9927590"/>
          </a:xfrm>
        </p:grpSpPr>
        <p:sp>
          <p:nvSpPr>
            <p:cNvPr id="34" name="矩形 33"/>
            <p:cNvSpPr/>
            <p:nvPr/>
          </p:nvSpPr>
          <p:spPr>
            <a:xfrm>
              <a:off x="1301640" y="5094605"/>
              <a:ext cx="4860290" cy="7019925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36" name="quotation-mark_32371"/>
            <p:cNvSpPr>
              <a:spLocks noChangeAspect="1"/>
            </p:cNvSpPr>
            <p:nvPr/>
          </p:nvSpPr>
          <p:spPr bwMode="auto">
            <a:xfrm rot="10800000">
              <a:off x="5695205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37" name="矩形 36"/>
            <p:cNvSpPr/>
            <p:nvPr/>
          </p:nvSpPr>
          <p:spPr>
            <a:xfrm>
              <a:off x="1301640" y="2265045"/>
              <a:ext cx="4860290" cy="28295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38" name="book-hand-drawn-open-pages_35781"/>
          <p:cNvSpPr>
            <a:spLocks noChangeAspect="1"/>
          </p:cNvSpPr>
          <p:nvPr userDrawn="1"/>
        </p:nvSpPr>
        <p:spPr bwMode="auto">
          <a:xfrm>
            <a:off x="10935479" y="525959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39" name="文本占位符 8"/>
          <p:cNvSpPr>
            <a:spLocks noGrp="1"/>
          </p:cNvSpPr>
          <p:nvPr>
            <p:ph type="body" sz="quarter" idx="18"/>
          </p:nvPr>
        </p:nvSpPr>
        <p:spPr>
          <a:xfrm>
            <a:off x="7256967" y="6452224"/>
            <a:ext cx="407924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0" name="文本占位符 8"/>
          <p:cNvSpPr>
            <a:spLocks noGrp="1"/>
          </p:cNvSpPr>
          <p:nvPr>
            <p:ph type="body" sz="quarter" idx="19"/>
          </p:nvPr>
        </p:nvSpPr>
        <p:spPr>
          <a:xfrm>
            <a:off x="7256967" y="3501101"/>
            <a:ext cx="4079240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41" name="组合 40"/>
          <p:cNvGrpSpPr/>
          <p:nvPr userDrawn="1"/>
        </p:nvGrpSpPr>
        <p:grpSpPr>
          <a:xfrm>
            <a:off x="12181238" y="3026665"/>
            <a:ext cx="5206365" cy="9927590"/>
            <a:chOff x="1028590" y="2265045"/>
            <a:chExt cx="5206365" cy="9927590"/>
          </a:xfrm>
        </p:grpSpPr>
        <p:sp>
          <p:nvSpPr>
            <p:cNvPr id="42" name="矩形 41"/>
            <p:cNvSpPr/>
            <p:nvPr/>
          </p:nvSpPr>
          <p:spPr>
            <a:xfrm>
              <a:off x="1301640" y="5094605"/>
              <a:ext cx="4860290" cy="7019925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44" name="quotation-mark_32371"/>
            <p:cNvSpPr>
              <a:spLocks noChangeAspect="1"/>
            </p:cNvSpPr>
            <p:nvPr/>
          </p:nvSpPr>
          <p:spPr bwMode="auto">
            <a:xfrm rot="10800000">
              <a:off x="5695205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45" name="矩形 44"/>
            <p:cNvSpPr/>
            <p:nvPr/>
          </p:nvSpPr>
          <p:spPr>
            <a:xfrm>
              <a:off x="1301640" y="2265045"/>
              <a:ext cx="4860290" cy="28295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46" name="book-hand-drawn-open-pages_35781"/>
          <p:cNvSpPr>
            <a:spLocks noChangeAspect="1"/>
          </p:cNvSpPr>
          <p:nvPr userDrawn="1"/>
        </p:nvSpPr>
        <p:spPr bwMode="auto">
          <a:xfrm>
            <a:off x="16281504" y="525959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47" name="文本占位符 8"/>
          <p:cNvSpPr>
            <a:spLocks noGrp="1"/>
          </p:cNvSpPr>
          <p:nvPr>
            <p:ph type="body" sz="quarter" idx="20"/>
          </p:nvPr>
        </p:nvSpPr>
        <p:spPr>
          <a:xfrm>
            <a:off x="12798550" y="6452224"/>
            <a:ext cx="407924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8" name="文本占位符 8"/>
          <p:cNvSpPr>
            <a:spLocks noGrp="1"/>
          </p:cNvSpPr>
          <p:nvPr>
            <p:ph type="body" sz="quarter" idx="21"/>
          </p:nvPr>
        </p:nvSpPr>
        <p:spPr>
          <a:xfrm>
            <a:off x="12862981" y="3501101"/>
            <a:ext cx="4079240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49" name="组合 48"/>
          <p:cNvGrpSpPr/>
          <p:nvPr userDrawn="1"/>
        </p:nvGrpSpPr>
        <p:grpSpPr>
          <a:xfrm>
            <a:off x="17757561" y="3026665"/>
            <a:ext cx="5206365" cy="9927590"/>
            <a:chOff x="1028590" y="2265045"/>
            <a:chExt cx="5206365" cy="9927590"/>
          </a:xfrm>
        </p:grpSpPr>
        <p:sp>
          <p:nvSpPr>
            <p:cNvPr id="50" name="矩形 49"/>
            <p:cNvSpPr/>
            <p:nvPr/>
          </p:nvSpPr>
          <p:spPr>
            <a:xfrm>
              <a:off x="1301640" y="5094605"/>
              <a:ext cx="4860290" cy="7019925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quotation-mark_32371"/>
            <p:cNvSpPr>
              <a:spLocks noChangeAspect="1"/>
            </p:cNvSpPr>
            <p:nvPr/>
          </p:nvSpPr>
          <p:spPr bwMode="auto">
            <a:xfrm>
              <a:off x="1028590" y="5094605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52" name="quotation-mark_32371"/>
            <p:cNvSpPr>
              <a:spLocks noChangeAspect="1"/>
            </p:cNvSpPr>
            <p:nvPr/>
          </p:nvSpPr>
          <p:spPr bwMode="auto">
            <a:xfrm rot="10800000">
              <a:off x="5695205" y="11691620"/>
              <a:ext cx="539750" cy="501015"/>
            </a:xfrm>
            <a:custGeom>
              <a:avLst/>
              <a:gdLst>
                <a:gd name="T0" fmla="*/ 2004 w 4654"/>
                <a:gd name="T1" fmla="*/ 191 h 4326"/>
                <a:gd name="T2" fmla="*/ 2004 w 4654"/>
                <a:gd name="T3" fmla="*/ 968 h 4326"/>
                <a:gd name="T4" fmla="*/ 1813 w 4654"/>
                <a:gd name="T5" fmla="*/ 1158 h 4326"/>
                <a:gd name="T6" fmla="*/ 1205 w 4654"/>
                <a:gd name="T7" fmla="*/ 2305 h 4326"/>
                <a:gd name="T8" fmla="*/ 1813 w 4654"/>
                <a:gd name="T9" fmla="*/ 2305 h 4326"/>
                <a:gd name="T10" fmla="*/ 2004 w 4654"/>
                <a:gd name="T11" fmla="*/ 2495 h 4326"/>
                <a:gd name="T12" fmla="*/ 2004 w 4654"/>
                <a:gd name="T13" fmla="*/ 4135 h 4326"/>
                <a:gd name="T14" fmla="*/ 1813 w 4654"/>
                <a:gd name="T15" fmla="*/ 4326 h 4326"/>
                <a:gd name="T16" fmla="*/ 191 w 4654"/>
                <a:gd name="T17" fmla="*/ 4326 h 4326"/>
                <a:gd name="T18" fmla="*/ 0 w 4654"/>
                <a:gd name="T19" fmla="*/ 4135 h 4326"/>
                <a:gd name="T20" fmla="*/ 0 w 4654"/>
                <a:gd name="T21" fmla="*/ 2495 h 4326"/>
                <a:gd name="T22" fmla="*/ 109 w 4654"/>
                <a:gd name="T23" fmla="*/ 1501 h 4326"/>
                <a:gd name="T24" fmla="*/ 448 w 4654"/>
                <a:gd name="T25" fmla="*/ 713 h 4326"/>
                <a:gd name="T26" fmla="*/ 1023 w 4654"/>
                <a:gd name="T27" fmla="*/ 187 h 4326"/>
                <a:gd name="T28" fmla="*/ 1813 w 4654"/>
                <a:gd name="T29" fmla="*/ 0 h 4326"/>
                <a:gd name="T30" fmla="*/ 2004 w 4654"/>
                <a:gd name="T31" fmla="*/ 191 h 4326"/>
                <a:gd name="T32" fmla="*/ 4464 w 4654"/>
                <a:gd name="T33" fmla="*/ 1158 h 4326"/>
                <a:gd name="T34" fmla="*/ 4654 w 4654"/>
                <a:gd name="T35" fmla="*/ 968 h 4326"/>
                <a:gd name="T36" fmla="*/ 4654 w 4654"/>
                <a:gd name="T37" fmla="*/ 191 h 4326"/>
                <a:gd name="T38" fmla="*/ 4464 w 4654"/>
                <a:gd name="T39" fmla="*/ 0 h 4326"/>
                <a:gd name="T40" fmla="*/ 3674 w 4654"/>
                <a:gd name="T41" fmla="*/ 187 h 4326"/>
                <a:gd name="T42" fmla="*/ 3098 w 4654"/>
                <a:gd name="T43" fmla="*/ 713 h 4326"/>
                <a:gd name="T44" fmla="*/ 2759 w 4654"/>
                <a:gd name="T45" fmla="*/ 1501 h 4326"/>
                <a:gd name="T46" fmla="*/ 2650 w 4654"/>
                <a:gd name="T47" fmla="*/ 2495 h 4326"/>
                <a:gd name="T48" fmla="*/ 2650 w 4654"/>
                <a:gd name="T49" fmla="*/ 4135 h 4326"/>
                <a:gd name="T50" fmla="*/ 2841 w 4654"/>
                <a:gd name="T51" fmla="*/ 4326 h 4326"/>
                <a:gd name="T52" fmla="*/ 4464 w 4654"/>
                <a:gd name="T53" fmla="*/ 4326 h 4326"/>
                <a:gd name="T54" fmla="*/ 4654 w 4654"/>
                <a:gd name="T55" fmla="*/ 4135 h 4326"/>
                <a:gd name="T56" fmla="*/ 4654 w 4654"/>
                <a:gd name="T57" fmla="*/ 2495 h 4326"/>
                <a:gd name="T58" fmla="*/ 4464 w 4654"/>
                <a:gd name="T59" fmla="*/ 2305 h 4326"/>
                <a:gd name="T60" fmla="*/ 3864 w 4654"/>
                <a:gd name="T61" fmla="*/ 2305 h 4326"/>
                <a:gd name="T62" fmla="*/ 4464 w 4654"/>
                <a:gd name="T63" fmla="*/ 1158 h 4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54" h="4326">
                  <a:moveTo>
                    <a:pt x="2004" y="191"/>
                  </a:moveTo>
                  <a:lnTo>
                    <a:pt x="2004" y="968"/>
                  </a:lnTo>
                  <a:cubicBezTo>
                    <a:pt x="2004" y="1073"/>
                    <a:pt x="1919" y="1158"/>
                    <a:pt x="1813" y="1158"/>
                  </a:cubicBezTo>
                  <a:cubicBezTo>
                    <a:pt x="1437" y="1158"/>
                    <a:pt x="1233" y="1544"/>
                    <a:pt x="1205" y="2305"/>
                  </a:cubicBezTo>
                  <a:lnTo>
                    <a:pt x="1813" y="2305"/>
                  </a:lnTo>
                  <a:cubicBezTo>
                    <a:pt x="1919" y="2305"/>
                    <a:pt x="2004" y="2390"/>
                    <a:pt x="2004" y="2495"/>
                  </a:cubicBezTo>
                  <a:lnTo>
                    <a:pt x="2004" y="4135"/>
                  </a:lnTo>
                  <a:cubicBezTo>
                    <a:pt x="2004" y="4241"/>
                    <a:pt x="1919" y="4326"/>
                    <a:pt x="1813" y="4326"/>
                  </a:cubicBezTo>
                  <a:lnTo>
                    <a:pt x="191" y="4326"/>
                  </a:lnTo>
                  <a:cubicBezTo>
                    <a:pt x="85" y="4326"/>
                    <a:pt x="0" y="4241"/>
                    <a:pt x="0" y="4135"/>
                  </a:cubicBezTo>
                  <a:lnTo>
                    <a:pt x="0" y="2495"/>
                  </a:lnTo>
                  <a:cubicBezTo>
                    <a:pt x="0" y="2131"/>
                    <a:pt x="37" y="1796"/>
                    <a:pt x="109" y="1501"/>
                  </a:cubicBezTo>
                  <a:cubicBezTo>
                    <a:pt x="183" y="1198"/>
                    <a:pt x="297" y="933"/>
                    <a:pt x="448" y="713"/>
                  </a:cubicBezTo>
                  <a:cubicBezTo>
                    <a:pt x="602" y="488"/>
                    <a:pt x="796" y="311"/>
                    <a:pt x="1023" y="187"/>
                  </a:cubicBezTo>
                  <a:cubicBezTo>
                    <a:pt x="1252" y="63"/>
                    <a:pt x="1518" y="0"/>
                    <a:pt x="1813" y="0"/>
                  </a:cubicBezTo>
                  <a:cubicBezTo>
                    <a:pt x="1919" y="0"/>
                    <a:pt x="2004" y="86"/>
                    <a:pt x="2004" y="191"/>
                  </a:cubicBezTo>
                  <a:close/>
                  <a:moveTo>
                    <a:pt x="4464" y="1158"/>
                  </a:moveTo>
                  <a:cubicBezTo>
                    <a:pt x="4569" y="1158"/>
                    <a:pt x="4654" y="1073"/>
                    <a:pt x="4654" y="968"/>
                  </a:cubicBezTo>
                  <a:lnTo>
                    <a:pt x="4654" y="191"/>
                  </a:lnTo>
                  <a:cubicBezTo>
                    <a:pt x="4654" y="86"/>
                    <a:pt x="4569" y="0"/>
                    <a:pt x="4464" y="0"/>
                  </a:cubicBezTo>
                  <a:cubicBezTo>
                    <a:pt x="4168" y="0"/>
                    <a:pt x="3902" y="63"/>
                    <a:pt x="3674" y="187"/>
                  </a:cubicBezTo>
                  <a:cubicBezTo>
                    <a:pt x="3447" y="311"/>
                    <a:pt x="3253" y="488"/>
                    <a:pt x="3098" y="713"/>
                  </a:cubicBezTo>
                  <a:cubicBezTo>
                    <a:pt x="2948" y="933"/>
                    <a:pt x="2834" y="1198"/>
                    <a:pt x="2759" y="1501"/>
                  </a:cubicBezTo>
                  <a:cubicBezTo>
                    <a:pt x="2687" y="1796"/>
                    <a:pt x="2650" y="2131"/>
                    <a:pt x="2650" y="2495"/>
                  </a:cubicBezTo>
                  <a:lnTo>
                    <a:pt x="2650" y="4135"/>
                  </a:lnTo>
                  <a:cubicBezTo>
                    <a:pt x="2650" y="4241"/>
                    <a:pt x="2736" y="4326"/>
                    <a:pt x="2841" y="4326"/>
                  </a:cubicBezTo>
                  <a:lnTo>
                    <a:pt x="4464" y="4326"/>
                  </a:lnTo>
                  <a:cubicBezTo>
                    <a:pt x="4569" y="4326"/>
                    <a:pt x="4654" y="4241"/>
                    <a:pt x="4654" y="4135"/>
                  </a:cubicBezTo>
                  <a:lnTo>
                    <a:pt x="4654" y="2495"/>
                  </a:lnTo>
                  <a:cubicBezTo>
                    <a:pt x="4654" y="2390"/>
                    <a:pt x="4569" y="2305"/>
                    <a:pt x="4464" y="2305"/>
                  </a:cubicBezTo>
                  <a:lnTo>
                    <a:pt x="3864" y="2305"/>
                  </a:lnTo>
                  <a:cubicBezTo>
                    <a:pt x="3892" y="1544"/>
                    <a:pt x="4093" y="1158"/>
                    <a:pt x="4464" y="1158"/>
                  </a:cubicBezTo>
                  <a:close/>
                </a:path>
              </a:pathLst>
            </a:custGeom>
            <a:solidFill>
              <a:srgbClr val="505972">
                <a:alpha val="40000"/>
              </a:srgbClr>
            </a:solidFill>
            <a:ln>
              <a:noFill/>
            </a:ln>
          </p:spPr>
        </p:sp>
        <p:sp>
          <p:nvSpPr>
            <p:cNvPr id="53" name="矩形 52"/>
            <p:cNvSpPr/>
            <p:nvPr/>
          </p:nvSpPr>
          <p:spPr>
            <a:xfrm>
              <a:off x="1301640" y="2265045"/>
              <a:ext cx="4860290" cy="282956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54" name="book-hand-drawn-open-pages_35781"/>
          <p:cNvSpPr>
            <a:spLocks noChangeAspect="1"/>
          </p:cNvSpPr>
          <p:nvPr userDrawn="1"/>
        </p:nvSpPr>
        <p:spPr bwMode="auto">
          <a:xfrm>
            <a:off x="22152354" y="5259590"/>
            <a:ext cx="609685" cy="496675"/>
          </a:xfrm>
          <a:custGeom>
            <a:avLst/>
            <a:gdLst>
              <a:gd name="connsiteX0" fmla="*/ 165033 w 609243"/>
              <a:gd name="connsiteY0" fmla="*/ 400904 h 496315"/>
              <a:gd name="connsiteX1" fmla="*/ 303783 w 609243"/>
              <a:gd name="connsiteY1" fmla="*/ 460951 h 496315"/>
              <a:gd name="connsiteX2" fmla="*/ 600145 w 609243"/>
              <a:gd name="connsiteY2" fmla="*/ 431016 h 496315"/>
              <a:gd name="connsiteX3" fmla="*/ 585911 w 609243"/>
              <a:gd name="connsiteY3" fmla="*/ 453751 h 496315"/>
              <a:gd name="connsiteX4" fmla="*/ 316310 w 609243"/>
              <a:gd name="connsiteY4" fmla="*/ 490033 h 496315"/>
              <a:gd name="connsiteX5" fmla="*/ 303783 w 609243"/>
              <a:gd name="connsiteY5" fmla="*/ 496285 h 496315"/>
              <a:gd name="connsiteX6" fmla="*/ 291257 w 609243"/>
              <a:gd name="connsiteY6" fmla="*/ 490033 h 496315"/>
              <a:gd name="connsiteX7" fmla="*/ 21751 w 609243"/>
              <a:gd name="connsiteY7" fmla="*/ 453751 h 496315"/>
              <a:gd name="connsiteX8" fmla="*/ 7422 w 609243"/>
              <a:gd name="connsiteY8" fmla="*/ 431016 h 496315"/>
              <a:gd name="connsiteX9" fmla="*/ 165033 w 609243"/>
              <a:gd name="connsiteY9" fmla="*/ 400904 h 496315"/>
              <a:gd name="connsiteX10" fmla="*/ 155189 w 609243"/>
              <a:gd name="connsiteY10" fmla="*/ 275778 h 496315"/>
              <a:gd name="connsiteX11" fmla="*/ 259126 w 609243"/>
              <a:gd name="connsiteY11" fmla="*/ 295874 h 496315"/>
              <a:gd name="connsiteX12" fmla="*/ 249162 w 609243"/>
              <a:gd name="connsiteY12" fmla="*/ 312936 h 496315"/>
              <a:gd name="connsiteX13" fmla="*/ 65059 w 609243"/>
              <a:gd name="connsiteY13" fmla="*/ 331041 h 496315"/>
              <a:gd name="connsiteX14" fmla="*/ 55095 w 609243"/>
              <a:gd name="connsiteY14" fmla="*/ 313979 h 496315"/>
              <a:gd name="connsiteX15" fmla="*/ 155189 w 609243"/>
              <a:gd name="connsiteY15" fmla="*/ 275778 h 496315"/>
              <a:gd name="connsiteX16" fmla="*/ 443849 w 609243"/>
              <a:gd name="connsiteY16" fmla="*/ 275552 h 496315"/>
              <a:gd name="connsiteX17" fmla="*/ 546751 w 609243"/>
              <a:gd name="connsiteY17" fmla="*/ 305255 h 496315"/>
              <a:gd name="connsiteX18" fmla="*/ 538211 w 609243"/>
              <a:gd name="connsiteY18" fmla="*/ 323074 h 496315"/>
              <a:gd name="connsiteX19" fmla="*/ 353260 w 609243"/>
              <a:gd name="connsiteY19" fmla="*/ 320420 h 496315"/>
              <a:gd name="connsiteX20" fmla="*/ 341872 w 609243"/>
              <a:gd name="connsiteY20" fmla="*/ 304212 h 496315"/>
              <a:gd name="connsiteX21" fmla="*/ 443849 w 609243"/>
              <a:gd name="connsiteY21" fmla="*/ 275552 h 496315"/>
              <a:gd name="connsiteX22" fmla="*/ 155189 w 609243"/>
              <a:gd name="connsiteY22" fmla="*/ 229830 h 496315"/>
              <a:gd name="connsiteX23" fmla="*/ 259126 w 609243"/>
              <a:gd name="connsiteY23" fmla="*/ 249914 h 496315"/>
              <a:gd name="connsiteX24" fmla="*/ 249162 w 609243"/>
              <a:gd name="connsiteY24" fmla="*/ 266966 h 496315"/>
              <a:gd name="connsiteX25" fmla="*/ 65059 w 609243"/>
              <a:gd name="connsiteY25" fmla="*/ 284966 h 496315"/>
              <a:gd name="connsiteX26" fmla="*/ 55095 w 609243"/>
              <a:gd name="connsiteY26" fmla="*/ 268008 h 496315"/>
              <a:gd name="connsiteX27" fmla="*/ 155189 w 609243"/>
              <a:gd name="connsiteY27" fmla="*/ 229830 h 496315"/>
              <a:gd name="connsiteX28" fmla="*/ 439981 w 609243"/>
              <a:gd name="connsiteY28" fmla="*/ 229743 h 496315"/>
              <a:gd name="connsiteX29" fmla="*/ 542897 w 609243"/>
              <a:gd name="connsiteY29" fmla="*/ 259481 h 496315"/>
              <a:gd name="connsiteX30" fmla="*/ 534359 w 609243"/>
              <a:gd name="connsiteY30" fmla="*/ 277206 h 496315"/>
              <a:gd name="connsiteX31" fmla="*/ 349445 w 609243"/>
              <a:gd name="connsiteY31" fmla="*/ 274552 h 496315"/>
              <a:gd name="connsiteX32" fmla="*/ 338060 w 609243"/>
              <a:gd name="connsiteY32" fmla="*/ 258438 h 496315"/>
              <a:gd name="connsiteX33" fmla="*/ 439981 w 609243"/>
              <a:gd name="connsiteY33" fmla="*/ 229743 h 496315"/>
              <a:gd name="connsiteX34" fmla="*/ 436157 w 609243"/>
              <a:gd name="connsiteY34" fmla="*/ 183933 h 496315"/>
              <a:gd name="connsiteX35" fmla="*/ 539058 w 609243"/>
              <a:gd name="connsiteY35" fmla="*/ 213639 h 496315"/>
              <a:gd name="connsiteX36" fmla="*/ 530612 w 609243"/>
              <a:gd name="connsiteY36" fmla="*/ 231439 h 496315"/>
              <a:gd name="connsiteX37" fmla="*/ 345546 w 609243"/>
              <a:gd name="connsiteY37" fmla="*/ 228694 h 496315"/>
              <a:gd name="connsiteX38" fmla="*/ 334252 w 609243"/>
              <a:gd name="connsiteY38" fmla="*/ 212598 h 496315"/>
              <a:gd name="connsiteX39" fmla="*/ 436157 w 609243"/>
              <a:gd name="connsiteY39" fmla="*/ 183933 h 496315"/>
              <a:gd name="connsiteX40" fmla="*/ 155189 w 609243"/>
              <a:gd name="connsiteY40" fmla="*/ 183880 h 496315"/>
              <a:gd name="connsiteX41" fmla="*/ 259126 w 609243"/>
              <a:gd name="connsiteY41" fmla="*/ 203976 h 496315"/>
              <a:gd name="connsiteX42" fmla="*/ 249162 w 609243"/>
              <a:gd name="connsiteY42" fmla="*/ 220933 h 496315"/>
              <a:gd name="connsiteX43" fmla="*/ 65059 w 609243"/>
              <a:gd name="connsiteY43" fmla="*/ 239028 h 496315"/>
              <a:gd name="connsiteX44" fmla="*/ 55095 w 609243"/>
              <a:gd name="connsiteY44" fmla="*/ 221975 h 496315"/>
              <a:gd name="connsiteX45" fmla="*/ 155189 w 609243"/>
              <a:gd name="connsiteY45" fmla="*/ 183880 h 496315"/>
              <a:gd name="connsiteX46" fmla="*/ 439981 w 609243"/>
              <a:gd name="connsiteY46" fmla="*/ 137783 h 496315"/>
              <a:gd name="connsiteX47" fmla="*/ 542897 w 609243"/>
              <a:gd name="connsiteY47" fmla="*/ 167489 h 496315"/>
              <a:gd name="connsiteX48" fmla="*/ 534359 w 609243"/>
              <a:gd name="connsiteY48" fmla="*/ 185289 h 496315"/>
              <a:gd name="connsiteX49" fmla="*/ 349445 w 609243"/>
              <a:gd name="connsiteY49" fmla="*/ 182544 h 496315"/>
              <a:gd name="connsiteX50" fmla="*/ 338060 w 609243"/>
              <a:gd name="connsiteY50" fmla="*/ 166448 h 496315"/>
              <a:gd name="connsiteX51" fmla="*/ 439981 w 609243"/>
              <a:gd name="connsiteY51" fmla="*/ 137783 h 496315"/>
              <a:gd name="connsiteX52" fmla="*/ 209117 w 609243"/>
              <a:gd name="connsiteY52" fmla="*/ 125922 h 496315"/>
              <a:gd name="connsiteX53" fmla="*/ 249230 w 609243"/>
              <a:gd name="connsiteY53" fmla="*/ 141507 h 496315"/>
              <a:gd name="connsiteX54" fmla="*/ 239267 w 609243"/>
              <a:gd name="connsiteY54" fmla="*/ 158561 h 496315"/>
              <a:gd name="connsiteX55" fmla="*/ 171234 w 609243"/>
              <a:gd name="connsiteY55" fmla="*/ 146339 h 496315"/>
              <a:gd name="connsiteX56" fmla="*/ 166015 w 609243"/>
              <a:gd name="connsiteY56" fmla="*/ 127390 h 496315"/>
              <a:gd name="connsiteX57" fmla="*/ 209117 w 609243"/>
              <a:gd name="connsiteY57" fmla="*/ 125922 h 496315"/>
              <a:gd name="connsiteX58" fmla="*/ 114405 w 609243"/>
              <a:gd name="connsiteY58" fmla="*/ 101164 h 496315"/>
              <a:gd name="connsiteX59" fmla="*/ 79658 w 609243"/>
              <a:gd name="connsiteY59" fmla="*/ 112628 h 496315"/>
              <a:gd name="connsiteX60" fmla="*/ 78139 w 609243"/>
              <a:gd name="connsiteY60" fmla="*/ 156871 h 496315"/>
              <a:gd name="connsiteX61" fmla="*/ 114405 w 609243"/>
              <a:gd name="connsiteY61" fmla="*/ 142186 h 496315"/>
              <a:gd name="connsiteX62" fmla="*/ 436157 w 609243"/>
              <a:gd name="connsiteY62" fmla="*/ 91941 h 496315"/>
              <a:gd name="connsiteX63" fmla="*/ 539058 w 609243"/>
              <a:gd name="connsiteY63" fmla="*/ 121643 h 496315"/>
              <a:gd name="connsiteX64" fmla="*/ 530612 w 609243"/>
              <a:gd name="connsiteY64" fmla="*/ 139462 h 496315"/>
              <a:gd name="connsiteX65" fmla="*/ 345546 w 609243"/>
              <a:gd name="connsiteY65" fmla="*/ 136808 h 496315"/>
              <a:gd name="connsiteX66" fmla="*/ 334252 w 609243"/>
              <a:gd name="connsiteY66" fmla="*/ 120601 h 496315"/>
              <a:gd name="connsiteX67" fmla="*/ 436157 w 609243"/>
              <a:gd name="connsiteY67" fmla="*/ 91941 h 496315"/>
              <a:gd name="connsiteX68" fmla="*/ 120956 w 609243"/>
              <a:gd name="connsiteY68" fmla="*/ 81080 h 496315"/>
              <a:gd name="connsiteX69" fmla="*/ 123804 w 609243"/>
              <a:gd name="connsiteY69" fmla="*/ 81459 h 496315"/>
              <a:gd name="connsiteX70" fmla="*/ 134152 w 609243"/>
              <a:gd name="connsiteY70" fmla="*/ 90933 h 496315"/>
              <a:gd name="connsiteX71" fmla="*/ 134152 w 609243"/>
              <a:gd name="connsiteY71" fmla="*/ 146734 h 496315"/>
              <a:gd name="connsiteX72" fmla="*/ 133773 w 609243"/>
              <a:gd name="connsiteY72" fmla="*/ 149292 h 496315"/>
              <a:gd name="connsiteX73" fmla="*/ 126842 w 609243"/>
              <a:gd name="connsiteY73" fmla="*/ 159523 h 496315"/>
              <a:gd name="connsiteX74" fmla="*/ 78234 w 609243"/>
              <a:gd name="connsiteY74" fmla="*/ 179892 h 496315"/>
              <a:gd name="connsiteX75" fmla="*/ 64658 w 609243"/>
              <a:gd name="connsiteY75" fmla="*/ 175439 h 496315"/>
              <a:gd name="connsiteX76" fmla="*/ 58392 w 609243"/>
              <a:gd name="connsiteY76" fmla="*/ 166439 h 496315"/>
              <a:gd name="connsiteX77" fmla="*/ 60101 w 609243"/>
              <a:gd name="connsiteY77" fmla="*/ 110638 h 496315"/>
              <a:gd name="connsiteX78" fmla="*/ 60765 w 609243"/>
              <a:gd name="connsiteY78" fmla="*/ 107796 h 496315"/>
              <a:gd name="connsiteX79" fmla="*/ 64943 w 609243"/>
              <a:gd name="connsiteY79" fmla="*/ 98796 h 496315"/>
              <a:gd name="connsiteX80" fmla="*/ 120956 w 609243"/>
              <a:gd name="connsiteY80" fmla="*/ 81080 h 496315"/>
              <a:gd name="connsiteX81" fmla="*/ 211133 w 609243"/>
              <a:gd name="connsiteY81" fmla="*/ 79659 h 496315"/>
              <a:gd name="connsiteX82" fmla="*/ 252540 w 609243"/>
              <a:gd name="connsiteY82" fmla="*/ 93858 h 496315"/>
              <a:gd name="connsiteX83" fmla="*/ 242574 w 609243"/>
              <a:gd name="connsiteY83" fmla="*/ 110925 h 496315"/>
              <a:gd name="connsiteX84" fmla="*/ 172811 w 609243"/>
              <a:gd name="connsiteY84" fmla="*/ 103719 h 496315"/>
              <a:gd name="connsiteX85" fmla="*/ 167590 w 609243"/>
              <a:gd name="connsiteY85" fmla="*/ 84661 h 496315"/>
              <a:gd name="connsiteX86" fmla="*/ 211133 w 609243"/>
              <a:gd name="connsiteY86" fmla="*/ 79659 h 496315"/>
              <a:gd name="connsiteX87" fmla="*/ 198798 w 609243"/>
              <a:gd name="connsiteY87" fmla="*/ 22403 h 496315"/>
              <a:gd name="connsiteX88" fmla="*/ 27245 w 609243"/>
              <a:gd name="connsiteY88" fmla="*/ 79844 h 496315"/>
              <a:gd name="connsiteX89" fmla="*/ 26012 w 609243"/>
              <a:gd name="connsiteY89" fmla="*/ 387586 h 496315"/>
              <a:gd name="connsiteX90" fmla="*/ 306429 w 609243"/>
              <a:gd name="connsiteY90" fmla="*/ 408620 h 496315"/>
              <a:gd name="connsiteX91" fmla="*/ 586847 w 609243"/>
              <a:gd name="connsiteY91" fmla="*/ 387586 h 496315"/>
              <a:gd name="connsiteX92" fmla="*/ 585614 w 609243"/>
              <a:gd name="connsiteY92" fmla="*/ 79844 h 496315"/>
              <a:gd name="connsiteX93" fmla="*/ 315160 w 609243"/>
              <a:gd name="connsiteY93" fmla="*/ 68664 h 496315"/>
              <a:gd name="connsiteX94" fmla="*/ 306429 w 609243"/>
              <a:gd name="connsiteY94" fmla="*/ 71791 h 496315"/>
              <a:gd name="connsiteX95" fmla="*/ 297699 w 609243"/>
              <a:gd name="connsiteY95" fmla="*/ 68664 h 496315"/>
              <a:gd name="connsiteX96" fmla="*/ 198798 w 609243"/>
              <a:gd name="connsiteY96" fmla="*/ 22403 h 496315"/>
              <a:gd name="connsiteX97" fmla="*/ 197678 w 609243"/>
              <a:gd name="connsiteY97" fmla="*/ 346 h 496315"/>
              <a:gd name="connsiteX98" fmla="*/ 306429 w 609243"/>
              <a:gd name="connsiteY98" fmla="*/ 46209 h 496315"/>
              <a:gd name="connsiteX99" fmla="*/ 602505 w 609243"/>
              <a:gd name="connsiteY99" fmla="*/ 64779 h 496315"/>
              <a:gd name="connsiteX100" fmla="*/ 606016 w 609243"/>
              <a:gd name="connsiteY100" fmla="*/ 68948 h 496315"/>
              <a:gd name="connsiteX101" fmla="*/ 608009 w 609243"/>
              <a:gd name="connsiteY101" fmla="*/ 75581 h 496315"/>
              <a:gd name="connsiteX102" fmla="*/ 609243 w 609243"/>
              <a:gd name="connsiteY102" fmla="*/ 396113 h 496315"/>
              <a:gd name="connsiteX103" fmla="*/ 608199 w 609243"/>
              <a:gd name="connsiteY103" fmla="*/ 400945 h 496315"/>
              <a:gd name="connsiteX104" fmla="*/ 595103 w 609243"/>
              <a:gd name="connsiteY104" fmla="*/ 414210 h 496315"/>
              <a:gd name="connsiteX105" fmla="*/ 317437 w 609243"/>
              <a:gd name="connsiteY105" fmla="*/ 428043 h 496315"/>
              <a:gd name="connsiteX106" fmla="*/ 306429 w 609243"/>
              <a:gd name="connsiteY106" fmla="*/ 434675 h 496315"/>
              <a:gd name="connsiteX107" fmla="*/ 295422 w 609243"/>
              <a:gd name="connsiteY107" fmla="*/ 428043 h 496315"/>
              <a:gd name="connsiteX108" fmla="*/ 17756 w 609243"/>
              <a:gd name="connsiteY108" fmla="*/ 414210 h 496315"/>
              <a:gd name="connsiteX109" fmla="*/ 4660 w 609243"/>
              <a:gd name="connsiteY109" fmla="*/ 400945 h 496315"/>
              <a:gd name="connsiteX110" fmla="*/ 3616 w 609243"/>
              <a:gd name="connsiteY110" fmla="*/ 396113 h 496315"/>
              <a:gd name="connsiteX111" fmla="*/ 4850 w 609243"/>
              <a:gd name="connsiteY111" fmla="*/ 75581 h 496315"/>
              <a:gd name="connsiteX112" fmla="*/ 6843 w 609243"/>
              <a:gd name="connsiteY112" fmla="*/ 68948 h 496315"/>
              <a:gd name="connsiteX113" fmla="*/ 10354 w 609243"/>
              <a:gd name="connsiteY113" fmla="*/ 64779 h 496315"/>
              <a:gd name="connsiteX114" fmla="*/ 197678 w 609243"/>
              <a:gd name="connsiteY114" fmla="*/ 346 h 49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609243" h="496315">
                <a:moveTo>
                  <a:pt x="165033" y="400904"/>
                </a:moveTo>
                <a:cubicBezTo>
                  <a:pt x="218614" y="402858"/>
                  <a:pt x="269051" y="419838"/>
                  <a:pt x="303783" y="460951"/>
                </a:cubicBezTo>
                <a:cubicBezTo>
                  <a:pt x="373248" y="378725"/>
                  <a:pt x="505628" y="393029"/>
                  <a:pt x="600145" y="431016"/>
                </a:cubicBezTo>
                <a:cubicBezTo>
                  <a:pt x="616847" y="437742"/>
                  <a:pt x="602423" y="460382"/>
                  <a:pt x="585911" y="453751"/>
                </a:cubicBezTo>
                <a:cubicBezTo>
                  <a:pt x="500314" y="419364"/>
                  <a:pt x="372583" y="404018"/>
                  <a:pt x="316310" y="490033"/>
                </a:cubicBezTo>
                <a:cubicBezTo>
                  <a:pt x="313178" y="494864"/>
                  <a:pt x="308433" y="496569"/>
                  <a:pt x="303783" y="496285"/>
                </a:cubicBezTo>
                <a:cubicBezTo>
                  <a:pt x="299134" y="496569"/>
                  <a:pt x="294389" y="494864"/>
                  <a:pt x="291257" y="490033"/>
                </a:cubicBezTo>
                <a:cubicBezTo>
                  <a:pt x="234984" y="404018"/>
                  <a:pt x="107253" y="419364"/>
                  <a:pt x="21751" y="453751"/>
                </a:cubicBezTo>
                <a:cubicBezTo>
                  <a:pt x="5144" y="460382"/>
                  <a:pt x="-9280" y="437742"/>
                  <a:pt x="7422" y="431016"/>
                </a:cubicBezTo>
                <a:cubicBezTo>
                  <a:pt x="54728" y="412023"/>
                  <a:pt x="111452" y="398950"/>
                  <a:pt x="165033" y="400904"/>
                </a:cubicBezTo>
                <a:close/>
                <a:moveTo>
                  <a:pt x="155189" y="275778"/>
                </a:moveTo>
                <a:cubicBezTo>
                  <a:pt x="190373" y="271726"/>
                  <a:pt x="226197" y="277389"/>
                  <a:pt x="259126" y="295874"/>
                </a:cubicBezTo>
                <a:cubicBezTo>
                  <a:pt x="270229" y="302130"/>
                  <a:pt x="260265" y="319192"/>
                  <a:pt x="249162" y="312936"/>
                </a:cubicBezTo>
                <a:cubicBezTo>
                  <a:pt x="189186" y="279285"/>
                  <a:pt x="119815" y="294262"/>
                  <a:pt x="65059" y="331041"/>
                </a:cubicBezTo>
                <a:cubicBezTo>
                  <a:pt x="54430" y="338150"/>
                  <a:pt x="44561" y="320993"/>
                  <a:pt x="55095" y="313979"/>
                </a:cubicBezTo>
                <a:cubicBezTo>
                  <a:pt x="85463" y="293599"/>
                  <a:pt x="120006" y="279830"/>
                  <a:pt x="155189" y="275778"/>
                </a:cubicBezTo>
                <a:close/>
                <a:moveTo>
                  <a:pt x="443849" y="275552"/>
                </a:moveTo>
                <a:cubicBezTo>
                  <a:pt x="479257" y="276654"/>
                  <a:pt x="514819" y="287483"/>
                  <a:pt x="546751" y="305255"/>
                </a:cubicBezTo>
                <a:cubicBezTo>
                  <a:pt x="557854" y="311415"/>
                  <a:pt x="549408" y="329329"/>
                  <a:pt x="538211" y="323074"/>
                </a:cubicBezTo>
                <a:cubicBezTo>
                  <a:pt x="480609" y="291037"/>
                  <a:pt x="410197" y="281843"/>
                  <a:pt x="353260" y="320420"/>
                </a:cubicBezTo>
                <a:cubicBezTo>
                  <a:pt x="342726" y="327528"/>
                  <a:pt x="331339" y="311415"/>
                  <a:pt x="341872" y="304212"/>
                </a:cubicBezTo>
                <a:cubicBezTo>
                  <a:pt x="373188" y="283076"/>
                  <a:pt x="408441" y="274451"/>
                  <a:pt x="443849" y="275552"/>
                </a:cubicBezTo>
                <a:close/>
                <a:moveTo>
                  <a:pt x="155189" y="229830"/>
                </a:moveTo>
                <a:cubicBezTo>
                  <a:pt x="190373" y="225780"/>
                  <a:pt x="226197" y="231440"/>
                  <a:pt x="259126" y="249914"/>
                </a:cubicBezTo>
                <a:cubicBezTo>
                  <a:pt x="270229" y="256166"/>
                  <a:pt x="260265" y="273124"/>
                  <a:pt x="249162" y="266966"/>
                </a:cubicBezTo>
                <a:cubicBezTo>
                  <a:pt x="189186" y="233335"/>
                  <a:pt x="119815" y="248303"/>
                  <a:pt x="65059" y="284966"/>
                </a:cubicBezTo>
                <a:cubicBezTo>
                  <a:pt x="54430" y="292071"/>
                  <a:pt x="44561" y="275019"/>
                  <a:pt x="55095" y="268008"/>
                </a:cubicBezTo>
                <a:cubicBezTo>
                  <a:pt x="85463" y="247640"/>
                  <a:pt x="120006" y="233880"/>
                  <a:pt x="155189" y="229830"/>
                </a:cubicBezTo>
                <a:close/>
                <a:moveTo>
                  <a:pt x="439981" y="229743"/>
                </a:moveTo>
                <a:cubicBezTo>
                  <a:pt x="475369" y="230857"/>
                  <a:pt x="510924" y="241709"/>
                  <a:pt x="542897" y="259481"/>
                </a:cubicBezTo>
                <a:cubicBezTo>
                  <a:pt x="553903" y="265642"/>
                  <a:pt x="545554" y="283461"/>
                  <a:pt x="534359" y="277206"/>
                </a:cubicBezTo>
                <a:cubicBezTo>
                  <a:pt x="476674" y="245169"/>
                  <a:pt x="406371" y="235975"/>
                  <a:pt x="349445" y="274552"/>
                </a:cubicBezTo>
                <a:cubicBezTo>
                  <a:pt x="338819" y="281660"/>
                  <a:pt x="327529" y="265547"/>
                  <a:pt x="338060" y="258438"/>
                </a:cubicBezTo>
                <a:cubicBezTo>
                  <a:pt x="369369" y="237255"/>
                  <a:pt x="404592" y="228629"/>
                  <a:pt x="439981" y="229743"/>
                </a:cubicBezTo>
                <a:close/>
                <a:moveTo>
                  <a:pt x="436157" y="183933"/>
                </a:moveTo>
                <a:cubicBezTo>
                  <a:pt x="471557" y="185045"/>
                  <a:pt x="507123" y="195886"/>
                  <a:pt x="539058" y="213639"/>
                </a:cubicBezTo>
                <a:cubicBezTo>
                  <a:pt x="550162" y="219794"/>
                  <a:pt x="541715" y="237594"/>
                  <a:pt x="530612" y="231439"/>
                </a:cubicBezTo>
                <a:cubicBezTo>
                  <a:pt x="472909" y="199342"/>
                  <a:pt x="402584" y="190253"/>
                  <a:pt x="345546" y="228694"/>
                </a:cubicBezTo>
                <a:cubicBezTo>
                  <a:pt x="335012" y="235889"/>
                  <a:pt x="323718" y="219699"/>
                  <a:pt x="334252" y="212598"/>
                </a:cubicBezTo>
                <a:cubicBezTo>
                  <a:pt x="365524" y="191436"/>
                  <a:pt x="400757" y="182820"/>
                  <a:pt x="436157" y="183933"/>
                </a:cubicBezTo>
                <a:close/>
                <a:moveTo>
                  <a:pt x="155189" y="183880"/>
                </a:moveTo>
                <a:cubicBezTo>
                  <a:pt x="190373" y="179842"/>
                  <a:pt x="226197" y="185502"/>
                  <a:pt x="259126" y="203976"/>
                </a:cubicBezTo>
                <a:cubicBezTo>
                  <a:pt x="270229" y="210133"/>
                  <a:pt x="260265" y="227186"/>
                  <a:pt x="249162" y="220933"/>
                </a:cubicBezTo>
                <a:cubicBezTo>
                  <a:pt x="189186" y="187302"/>
                  <a:pt x="119815" y="202270"/>
                  <a:pt x="65059" y="239028"/>
                </a:cubicBezTo>
                <a:cubicBezTo>
                  <a:pt x="54430" y="246133"/>
                  <a:pt x="44561" y="229080"/>
                  <a:pt x="55095" y="221975"/>
                </a:cubicBezTo>
                <a:cubicBezTo>
                  <a:pt x="85463" y="201655"/>
                  <a:pt x="120006" y="187918"/>
                  <a:pt x="155189" y="183880"/>
                </a:cubicBezTo>
                <a:close/>
                <a:moveTo>
                  <a:pt x="439981" y="137783"/>
                </a:moveTo>
                <a:cubicBezTo>
                  <a:pt x="475369" y="138895"/>
                  <a:pt x="510924" y="149736"/>
                  <a:pt x="542897" y="167489"/>
                </a:cubicBezTo>
                <a:cubicBezTo>
                  <a:pt x="553903" y="173644"/>
                  <a:pt x="545554" y="191444"/>
                  <a:pt x="534359" y="185289"/>
                </a:cubicBezTo>
                <a:cubicBezTo>
                  <a:pt x="476674" y="153192"/>
                  <a:pt x="406371" y="144103"/>
                  <a:pt x="349445" y="182544"/>
                </a:cubicBezTo>
                <a:cubicBezTo>
                  <a:pt x="338819" y="189739"/>
                  <a:pt x="327529" y="173549"/>
                  <a:pt x="338060" y="166448"/>
                </a:cubicBezTo>
                <a:cubicBezTo>
                  <a:pt x="369369" y="145286"/>
                  <a:pt x="404592" y="136670"/>
                  <a:pt x="439981" y="137783"/>
                </a:cubicBezTo>
                <a:close/>
                <a:moveTo>
                  <a:pt x="209117" y="125922"/>
                </a:moveTo>
                <a:cubicBezTo>
                  <a:pt x="223089" y="128148"/>
                  <a:pt x="236563" y="133217"/>
                  <a:pt x="249230" y="141507"/>
                </a:cubicBezTo>
                <a:cubicBezTo>
                  <a:pt x="259857" y="148423"/>
                  <a:pt x="249989" y="165477"/>
                  <a:pt x="239267" y="158561"/>
                </a:cubicBezTo>
                <a:cubicBezTo>
                  <a:pt x="218392" y="144918"/>
                  <a:pt x="195619" y="141223"/>
                  <a:pt x="171234" y="146339"/>
                </a:cubicBezTo>
                <a:cubicBezTo>
                  <a:pt x="158804" y="148991"/>
                  <a:pt x="153585" y="130043"/>
                  <a:pt x="166015" y="127390"/>
                </a:cubicBezTo>
                <a:cubicBezTo>
                  <a:pt x="180675" y="124311"/>
                  <a:pt x="195145" y="123695"/>
                  <a:pt x="209117" y="125922"/>
                </a:cubicBezTo>
                <a:close/>
                <a:moveTo>
                  <a:pt x="114405" y="101164"/>
                </a:moveTo>
                <a:cubicBezTo>
                  <a:pt x="101873" y="102206"/>
                  <a:pt x="90291" y="105901"/>
                  <a:pt x="79658" y="112628"/>
                </a:cubicBezTo>
                <a:cubicBezTo>
                  <a:pt x="78519" y="127407"/>
                  <a:pt x="78234" y="142091"/>
                  <a:pt x="78139" y="156871"/>
                </a:cubicBezTo>
                <a:cubicBezTo>
                  <a:pt x="89626" y="150523"/>
                  <a:pt x="101684" y="145407"/>
                  <a:pt x="114405" y="142186"/>
                </a:cubicBezTo>
                <a:close/>
                <a:moveTo>
                  <a:pt x="436157" y="91941"/>
                </a:moveTo>
                <a:cubicBezTo>
                  <a:pt x="471557" y="93043"/>
                  <a:pt x="507123" y="103872"/>
                  <a:pt x="539058" y="121643"/>
                </a:cubicBezTo>
                <a:cubicBezTo>
                  <a:pt x="550162" y="127804"/>
                  <a:pt x="541715" y="145718"/>
                  <a:pt x="530612" y="139462"/>
                </a:cubicBezTo>
                <a:cubicBezTo>
                  <a:pt x="472909" y="107426"/>
                  <a:pt x="402584" y="98232"/>
                  <a:pt x="345546" y="136808"/>
                </a:cubicBezTo>
                <a:cubicBezTo>
                  <a:pt x="335012" y="143917"/>
                  <a:pt x="323718" y="127804"/>
                  <a:pt x="334252" y="120601"/>
                </a:cubicBezTo>
                <a:cubicBezTo>
                  <a:pt x="365524" y="99464"/>
                  <a:pt x="400757" y="90839"/>
                  <a:pt x="436157" y="91941"/>
                </a:cubicBezTo>
                <a:close/>
                <a:moveTo>
                  <a:pt x="120956" y="81080"/>
                </a:moveTo>
                <a:cubicBezTo>
                  <a:pt x="122000" y="81080"/>
                  <a:pt x="122855" y="81174"/>
                  <a:pt x="123804" y="81459"/>
                </a:cubicBezTo>
                <a:cubicBezTo>
                  <a:pt x="128836" y="81269"/>
                  <a:pt x="134152" y="84396"/>
                  <a:pt x="134152" y="90933"/>
                </a:cubicBezTo>
                <a:lnTo>
                  <a:pt x="134152" y="146734"/>
                </a:lnTo>
                <a:cubicBezTo>
                  <a:pt x="134152" y="147681"/>
                  <a:pt x="133962" y="148534"/>
                  <a:pt x="133773" y="149292"/>
                </a:cubicBezTo>
                <a:cubicBezTo>
                  <a:pt x="134532" y="153744"/>
                  <a:pt x="132633" y="158387"/>
                  <a:pt x="126842" y="159523"/>
                </a:cubicBezTo>
                <a:cubicBezTo>
                  <a:pt x="109279" y="163029"/>
                  <a:pt x="93234" y="170134"/>
                  <a:pt x="78234" y="179892"/>
                </a:cubicBezTo>
                <a:cubicBezTo>
                  <a:pt x="72348" y="183682"/>
                  <a:pt x="66841" y="180366"/>
                  <a:pt x="64658" y="175439"/>
                </a:cubicBezTo>
                <a:cubicBezTo>
                  <a:pt x="61145" y="174208"/>
                  <a:pt x="58392" y="171271"/>
                  <a:pt x="58392" y="166439"/>
                </a:cubicBezTo>
                <a:cubicBezTo>
                  <a:pt x="58392" y="147871"/>
                  <a:pt x="58487" y="129207"/>
                  <a:pt x="60101" y="110638"/>
                </a:cubicBezTo>
                <a:cubicBezTo>
                  <a:pt x="60196" y="109596"/>
                  <a:pt x="60386" y="108649"/>
                  <a:pt x="60765" y="107796"/>
                </a:cubicBezTo>
                <a:cubicBezTo>
                  <a:pt x="60576" y="104575"/>
                  <a:pt x="61715" y="101164"/>
                  <a:pt x="64943" y="98796"/>
                </a:cubicBezTo>
                <a:cubicBezTo>
                  <a:pt x="81367" y="86764"/>
                  <a:pt x="100734" y="81459"/>
                  <a:pt x="120956" y="81080"/>
                </a:cubicBezTo>
                <a:close/>
                <a:moveTo>
                  <a:pt x="211133" y="79659"/>
                </a:moveTo>
                <a:cubicBezTo>
                  <a:pt x="225465" y="81224"/>
                  <a:pt x="239442" y="85988"/>
                  <a:pt x="252540" y="93858"/>
                </a:cubicBezTo>
                <a:cubicBezTo>
                  <a:pt x="263455" y="100495"/>
                  <a:pt x="253489" y="117563"/>
                  <a:pt x="242574" y="110925"/>
                </a:cubicBezTo>
                <a:cubicBezTo>
                  <a:pt x="220553" y="97651"/>
                  <a:pt x="197109" y="95375"/>
                  <a:pt x="172811" y="103719"/>
                </a:cubicBezTo>
                <a:cubicBezTo>
                  <a:pt x="160756" y="107796"/>
                  <a:pt x="155631" y="88833"/>
                  <a:pt x="167590" y="84661"/>
                </a:cubicBezTo>
                <a:cubicBezTo>
                  <a:pt x="182112" y="79730"/>
                  <a:pt x="196800" y="78095"/>
                  <a:pt x="211133" y="79659"/>
                </a:cubicBezTo>
                <a:close/>
                <a:moveTo>
                  <a:pt x="198798" y="22403"/>
                </a:moveTo>
                <a:cubicBezTo>
                  <a:pt x="139593" y="17888"/>
                  <a:pt x="76710" y="44314"/>
                  <a:pt x="27245" y="79844"/>
                </a:cubicBezTo>
                <a:cubicBezTo>
                  <a:pt x="29238" y="182456"/>
                  <a:pt x="26296" y="284974"/>
                  <a:pt x="26012" y="387586"/>
                </a:cubicBezTo>
                <a:cubicBezTo>
                  <a:pt x="118725" y="354898"/>
                  <a:pt x="223111" y="351392"/>
                  <a:pt x="306429" y="408620"/>
                </a:cubicBezTo>
                <a:cubicBezTo>
                  <a:pt x="389653" y="351392"/>
                  <a:pt x="494134" y="354898"/>
                  <a:pt x="586847" y="387586"/>
                </a:cubicBezTo>
                <a:cubicBezTo>
                  <a:pt x="586563" y="284974"/>
                  <a:pt x="583621" y="182456"/>
                  <a:pt x="585614" y="79844"/>
                </a:cubicBezTo>
                <a:cubicBezTo>
                  <a:pt x="506470" y="22995"/>
                  <a:pt x="392975" y="-10545"/>
                  <a:pt x="315160" y="68664"/>
                </a:cubicBezTo>
                <a:cubicBezTo>
                  <a:pt x="312503" y="71412"/>
                  <a:pt x="309371" y="72264"/>
                  <a:pt x="306429" y="71791"/>
                </a:cubicBezTo>
                <a:cubicBezTo>
                  <a:pt x="303488" y="72264"/>
                  <a:pt x="300356" y="71412"/>
                  <a:pt x="297699" y="68664"/>
                </a:cubicBezTo>
                <a:cubicBezTo>
                  <a:pt x="268518" y="38960"/>
                  <a:pt x="234320" y="25112"/>
                  <a:pt x="198798" y="22403"/>
                </a:cubicBezTo>
                <a:close/>
                <a:moveTo>
                  <a:pt x="197678" y="346"/>
                </a:moveTo>
                <a:cubicBezTo>
                  <a:pt x="236561" y="2640"/>
                  <a:pt x="274117" y="16470"/>
                  <a:pt x="306429" y="46209"/>
                </a:cubicBezTo>
                <a:cubicBezTo>
                  <a:pt x="392595" y="-33095"/>
                  <a:pt x="516055" y="730"/>
                  <a:pt x="602505" y="64779"/>
                </a:cubicBezTo>
                <a:cubicBezTo>
                  <a:pt x="604118" y="66011"/>
                  <a:pt x="605257" y="67432"/>
                  <a:pt x="606016" y="68948"/>
                </a:cubicBezTo>
                <a:cubicBezTo>
                  <a:pt x="607250" y="70654"/>
                  <a:pt x="608104" y="72833"/>
                  <a:pt x="608009" y="75581"/>
                </a:cubicBezTo>
                <a:cubicBezTo>
                  <a:pt x="605827" y="182456"/>
                  <a:pt x="609053" y="289237"/>
                  <a:pt x="609243" y="396113"/>
                </a:cubicBezTo>
                <a:cubicBezTo>
                  <a:pt x="609243" y="397913"/>
                  <a:pt x="608863" y="399524"/>
                  <a:pt x="608199" y="400945"/>
                </a:cubicBezTo>
                <a:cubicBezTo>
                  <a:pt x="610002" y="408620"/>
                  <a:pt x="604403" y="417810"/>
                  <a:pt x="595103" y="414210"/>
                </a:cubicBezTo>
                <a:cubicBezTo>
                  <a:pt x="503813" y="378679"/>
                  <a:pt x="400661" y="370815"/>
                  <a:pt x="317437" y="428043"/>
                </a:cubicBezTo>
                <a:cubicBezTo>
                  <a:pt x="315540" y="432591"/>
                  <a:pt x="311269" y="435812"/>
                  <a:pt x="306429" y="434675"/>
                </a:cubicBezTo>
                <a:cubicBezTo>
                  <a:pt x="301590" y="435812"/>
                  <a:pt x="297319" y="432591"/>
                  <a:pt x="295422" y="428043"/>
                </a:cubicBezTo>
                <a:cubicBezTo>
                  <a:pt x="212198" y="370815"/>
                  <a:pt x="109046" y="378679"/>
                  <a:pt x="17756" y="414210"/>
                </a:cubicBezTo>
                <a:cubicBezTo>
                  <a:pt x="8456" y="417810"/>
                  <a:pt x="2857" y="408620"/>
                  <a:pt x="4660" y="400945"/>
                </a:cubicBezTo>
                <a:cubicBezTo>
                  <a:pt x="3996" y="399524"/>
                  <a:pt x="3616" y="397913"/>
                  <a:pt x="3616" y="396113"/>
                </a:cubicBezTo>
                <a:cubicBezTo>
                  <a:pt x="3806" y="289237"/>
                  <a:pt x="7032" y="182456"/>
                  <a:pt x="4850" y="75581"/>
                </a:cubicBezTo>
                <a:cubicBezTo>
                  <a:pt x="4755" y="72833"/>
                  <a:pt x="5514" y="70654"/>
                  <a:pt x="6843" y="68948"/>
                </a:cubicBezTo>
                <a:cubicBezTo>
                  <a:pt x="7602" y="67432"/>
                  <a:pt x="8741" y="66011"/>
                  <a:pt x="10354" y="64779"/>
                </a:cubicBezTo>
                <a:cubicBezTo>
                  <a:pt x="64385" y="24748"/>
                  <a:pt x="132874" y="-3476"/>
                  <a:pt x="197678" y="346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</p:sp>
      <p:sp>
        <p:nvSpPr>
          <p:cNvPr id="55" name="文本占位符 8"/>
          <p:cNvSpPr>
            <a:spLocks noGrp="1"/>
          </p:cNvSpPr>
          <p:nvPr>
            <p:ph type="body" sz="quarter" idx="22"/>
          </p:nvPr>
        </p:nvSpPr>
        <p:spPr>
          <a:xfrm>
            <a:off x="18344936" y="6452224"/>
            <a:ext cx="4079240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23"/>
          </p:nvPr>
        </p:nvSpPr>
        <p:spPr>
          <a:xfrm>
            <a:off x="18409367" y="3501101"/>
            <a:ext cx="4079240" cy="183839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7" name="平行四边形 5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9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60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1260342" y="2506620"/>
            <a:ext cx="5143820" cy="9565631"/>
            <a:chOff x="1230845" y="2506620"/>
            <a:chExt cx="5143820" cy="9565631"/>
          </a:xfrm>
        </p:grpSpPr>
        <p:sp>
          <p:nvSpPr>
            <p:cNvPr id="58" name="矩形 57"/>
            <p:cNvSpPr/>
            <p:nvPr/>
          </p:nvSpPr>
          <p:spPr>
            <a:xfrm>
              <a:off x="1230845" y="5336180"/>
              <a:ext cx="5135258" cy="6736071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1231479" y="2506620"/>
              <a:ext cx="5143186" cy="28532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7" name="组合 6"/>
          <p:cNvGrpSpPr/>
          <p:nvPr userDrawn="1"/>
        </p:nvGrpSpPr>
        <p:grpSpPr>
          <a:xfrm>
            <a:off x="3292820" y="1862414"/>
            <a:ext cx="1078865" cy="1252220"/>
            <a:chOff x="3263323" y="1862414"/>
            <a:chExt cx="1078865" cy="1252220"/>
          </a:xfrm>
        </p:grpSpPr>
        <p:sp>
          <p:nvSpPr>
            <p:cNvPr id="63" name="六边形 62"/>
            <p:cNvSpPr/>
            <p:nvPr userDrawn="1"/>
          </p:nvSpPr>
          <p:spPr>
            <a:xfrm rot="5400000">
              <a:off x="3176646" y="1949091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book-hand-drawn-open-pages_35781"/>
            <p:cNvSpPr>
              <a:spLocks noChangeAspect="1"/>
            </p:cNvSpPr>
            <p:nvPr/>
          </p:nvSpPr>
          <p:spPr bwMode="auto">
            <a:xfrm>
              <a:off x="3507481" y="2247541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56" name="文本占位符 8"/>
          <p:cNvSpPr>
            <a:spLocks noGrp="1"/>
          </p:cNvSpPr>
          <p:nvPr userDrawn="1">
            <p:ph type="body" sz="quarter" idx="23"/>
          </p:nvPr>
        </p:nvSpPr>
        <p:spPr>
          <a:xfrm>
            <a:off x="1553376" y="3380572"/>
            <a:ext cx="4557752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 userDrawn="1">
            <p:ph type="body" sz="quarter" idx="24"/>
          </p:nvPr>
        </p:nvSpPr>
        <p:spPr>
          <a:xfrm>
            <a:off x="1553376" y="5595261"/>
            <a:ext cx="455775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105" name="组合 104"/>
          <p:cNvGrpSpPr/>
          <p:nvPr userDrawn="1"/>
        </p:nvGrpSpPr>
        <p:grpSpPr>
          <a:xfrm>
            <a:off x="6755556" y="2506620"/>
            <a:ext cx="5143820" cy="9565631"/>
            <a:chOff x="1230845" y="2506620"/>
            <a:chExt cx="5143820" cy="9565631"/>
          </a:xfrm>
        </p:grpSpPr>
        <p:sp>
          <p:nvSpPr>
            <p:cNvPr id="106" name="矩形 105"/>
            <p:cNvSpPr/>
            <p:nvPr/>
          </p:nvSpPr>
          <p:spPr>
            <a:xfrm>
              <a:off x="1230845" y="5336180"/>
              <a:ext cx="5135258" cy="6736071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7" name="矩形 106"/>
            <p:cNvSpPr/>
            <p:nvPr/>
          </p:nvSpPr>
          <p:spPr>
            <a:xfrm>
              <a:off x="1231479" y="2506620"/>
              <a:ext cx="5143186" cy="28532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08" name="组合 107"/>
          <p:cNvGrpSpPr/>
          <p:nvPr userDrawn="1"/>
        </p:nvGrpSpPr>
        <p:grpSpPr>
          <a:xfrm>
            <a:off x="8788034" y="1862414"/>
            <a:ext cx="1078865" cy="1252220"/>
            <a:chOff x="3263323" y="1862414"/>
            <a:chExt cx="1078865" cy="1252220"/>
          </a:xfrm>
        </p:grpSpPr>
        <p:sp>
          <p:nvSpPr>
            <p:cNvPr id="109" name="六边形 108"/>
            <p:cNvSpPr/>
            <p:nvPr userDrawn="1"/>
          </p:nvSpPr>
          <p:spPr>
            <a:xfrm rot="5400000">
              <a:off x="3176646" y="1949091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book-hand-drawn-open-pages_35781"/>
            <p:cNvSpPr>
              <a:spLocks noChangeAspect="1"/>
            </p:cNvSpPr>
            <p:nvPr/>
          </p:nvSpPr>
          <p:spPr bwMode="auto">
            <a:xfrm>
              <a:off x="3507481" y="2247541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11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7048590" y="3380572"/>
            <a:ext cx="4557752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12" name="文本占位符 8"/>
          <p:cNvSpPr>
            <a:spLocks noGrp="1"/>
          </p:cNvSpPr>
          <p:nvPr>
            <p:ph type="body" sz="quarter" idx="26"/>
          </p:nvPr>
        </p:nvSpPr>
        <p:spPr>
          <a:xfrm>
            <a:off x="7048590" y="5595261"/>
            <a:ext cx="455775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113" name="组合 112"/>
          <p:cNvGrpSpPr/>
          <p:nvPr userDrawn="1"/>
        </p:nvGrpSpPr>
        <p:grpSpPr>
          <a:xfrm>
            <a:off x="12250770" y="2506620"/>
            <a:ext cx="5143820" cy="9565631"/>
            <a:chOff x="1230845" y="2506620"/>
            <a:chExt cx="5143820" cy="9565631"/>
          </a:xfrm>
        </p:grpSpPr>
        <p:sp>
          <p:nvSpPr>
            <p:cNvPr id="114" name="矩形 113"/>
            <p:cNvSpPr/>
            <p:nvPr/>
          </p:nvSpPr>
          <p:spPr>
            <a:xfrm>
              <a:off x="1230845" y="5336180"/>
              <a:ext cx="5135258" cy="6736071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矩形 114"/>
            <p:cNvSpPr/>
            <p:nvPr/>
          </p:nvSpPr>
          <p:spPr>
            <a:xfrm>
              <a:off x="1231479" y="2506620"/>
              <a:ext cx="5143186" cy="28532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16" name="组合 115"/>
          <p:cNvGrpSpPr/>
          <p:nvPr userDrawn="1"/>
        </p:nvGrpSpPr>
        <p:grpSpPr>
          <a:xfrm>
            <a:off x="14283248" y="1862414"/>
            <a:ext cx="1078865" cy="1252220"/>
            <a:chOff x="3263323" y="1862414"/>
            <a:chExt cx="1078865" cy="1252220"/>
          </a:xfrm>
        </p:grpSpPr>
        <p:sp>
          <p:nvSpPr>
            <p:cNvPr id="117" name="六边形 116"/>
            <p:cNvSpPr/>
            <p:nvPr userDrawn="1"/>
          </p:nvSpPr>
          <p:spPr>
            <a:xfrm rot="5400000">
              <a:off x="3176646" y="1949091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book-hand-drawn-open-pages_35781"/>
            <p:cNvSpPr>
              <a:spLocks noChangeAspect="1"/>
            </p:cNvSpPr>
            <p:nvPr/>
          </p:nvSpPr>
          <p:spPr bwMode="auto">
            <a:xfrm>
              <a:off x="3507481" y="2247541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19" name="文本占位符 8"/>
          <p:cNvSpPr>
            <a:spLocks noGrp="1"/>
          </p:cNvSpPr>
          <p:nvPr>
            <p:ph type="body" sz="quarter" idx="27"/>
          </p:nvPr>
        </p:nvSpPr>
        <p:spPr>
          <a:xfrm>
            <a:off x="12543804" y="3380572"/>
            <a:ext cx="4557752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20" name="文本占位符 8"/>
          <p:cNvSpPr>
            <a:spLocks noGrp="1"/>
          </p:cNvSpPr>
          <p:nvPr>
            <p:ph type="body" sz="quarter" idx="28"/>
          </p:nvPr>
        </p:nvSpPr>
        <p:spPr>
          <a:xfrm>
            <a:off x="12543804" y="5595261"/>
            <a:ext cx="455775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grpSp>
        <p:nvGrpSpPr>
          <p:cNvPr id="129" name="组合 128"/>
          <p:cNvGrpSpPr/>
          <p:nvPr userDrawn="1"/>
        </p:nvGrpSpPr>
        <p:grpSpPr>
          <a:xfrm>
            <a:off x="17745984" y="2484171"/>
            <a:ext cx="5143820" cy="9565631"/>
            <a:chOff x="1230845" y="2506620"/>
            <a:chExt cx="5143820" cy="9565631"/>
          </a:xfrm>
        </p:grpSpPr>
        <p:sp>
          <p:nvSpPr>
            <p:cNvPr id="130" name="矩形 129"/>
            <p:cNvSpPr/>
            <p:nvPr/>
          </p:nvSpPr>
          <p:spPr>
            <a:xfrm>
              <a:off x="1230845" y="5336180"/>
              <a:ext cx="5135258" cy="6736071"/>
            </a:xfrm>
            <a:prstGeom prst="rect">
              <a:avLst/>
            </a:prstGeom>
            <a:solidFill>
              <a:srgbClr val="0184CB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31479" y="2506620"/>
              <a:ext cx="5143186" cy="28532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32" name="组合 131"/>
          <p:cNvGrpSpPr/>
          <p:nvPr userDrawn="1"/>
        </p:nvGrpSpPr>
        <p:grpSpPr>
          <a:xfrm>
            <a:off x="19778462" y="1839965"/>
            <a:ext cx="1078865" cy="1252220"/>
            <a:chOff x="3263323" y="1862414"/>
            <a:chExt cx="1078865" cy="1252220"/>
          </a:xfrm>
        </p:grpSpPr>
        <p:sp>
          <p:nvSpPr>
            <p:cNvPr id="133" name="六边形 132"/>
            <p:cNvSpPr/>
            <p:nvPr userDrawn="1"/>
          </p:nvSpPr>
          <p:spPr>
            <a:xfrm rot="5400000">
              <a:off x="3176646" y="1949091"/>
              <a:ext cx="1252220" cy="1078865"/>
            </a:xfrm>
            <a:prstGeom prst="hexagon">
              <a:avLst>
                <a:gd name="adj" fmla="val 26971"/>
                <a:gd name="vf" fmla="val 11547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book-hand-drawn-open-pages_35781"/>
            <p:cNvSpPr>
              <a:spLocks noChangeAspect="1"/>
            </p:cNvSpPr>
            <p:nvPr/>
          </p:nvSpPr>
          <p:spPr bwMode="auto">
            <a:xfrm>
              <a:off x="3507481" y="2247541"/>
              <a:ext cx="609600" cy="496570"/>
            </a:xfrm>
            <a:custGeom>
              <a:avLst/>
              <a:gdLst>
                <a:gd name="connsiteX0" fmla="*/ 165033 w 609243"/>
                <a:gd name="connsiteY0" fmla="*/ 400904 h 496315"/>
                <a:gd name="connsiteX1" fmla="*/ 303783 w 609243"/>
                <a:gd name="connsiteY1" fmla="*/ 460951 h 496315"/>
                <a:gd name="connsiteX2" fmla="*/ 600145 w 609243"/>
                <a:gd name="connsiteY2" fmla="*/ 431016 h 496315"/>
                <a:gd name="connsiteX3" fmla="*/ 585911 w 609243"/>
                <a:gd name="connsiteY3" fmla="*/ 453751 h 496315"/>
                <a:gd name="connsiteX4" fmla="*/ 316310 w 609243"/>
                <a:gd name="connsiteY4" fmla="*/ 490033 h 496315"/>
                <a:gd name="connsiteX5" fmla="*/ 303783 w 609243"/>
                <a:gd name="connsiteY5" fmla="*/ 496285 h 496315"/>
                <a:gd name="connsiteX6" fmla="*/ 291257 w 609243"/>
                <a:gd name="connsiteY6" fmla="*/ 490033 h 496315"/>
                <a:gd name="connsiteX7" fmla="*/ 21751 w 609243"/>
                <a:gd name="connsiteY7" fmla="*/ 453751 h 496315"/>
                <a:gd name="connsiteX8" fmla="*/ 7422 w 609243"/>
                <a:gd name="connsiteY8" fmla="*/ 431016 h 496315"/>
                <a:gd name="connsiteX9" fmla="*/ 165033 w 609243"/>
                <a:gd name="connsiteY9" fmla="*/ 400904 h 496315"/>
                <a:gd name="connsiteX10" fmla="*/ 155189 w 609243"/>
                <a:gd name="connsiteY10" fmla="*/ 275778 h 496315"/>
                <a:gd name="connsiteX11" fmla="*/ 259126 w 609243"/>
                <a:gd name="connsiteY11" fmla="*/ 295874 h 496315"/>
                <a:gd name="connsiteX12" fmla="*/ 249162 w 609243"/>
                <a:gd name="connsiteY12" fmla="*/ 312936 h 496315"/>
                <a:gd name="connsiteX13" fmla="*/ 65059 w 609243"/>
                <a:gd name="connsiteY13" fmla="*/ 331041 h 496315"/>
                <a:gd name="connsiteX14" fmla="*/ 55095 w 609243"/>
                <a:gd name="connsiteY14" fmla="*/ 313979 h 496315"/>
                <a:gd name="connsiteX15" fmla="*/ 155189 w 609243"/>
                <a:gd name="connsiteY15" fmla="*/ 275778 h 496315"/>
                <a:gd name="connsiteX16" fmla="*/ 443849 w 609243"/>
                <a:gd name="connsiteY16" fmla="*/ 275552 h 496315"/>
                <a:gd name="connsiteX17" fmla="*/ 546751 w 609243"/>
                <a:gd name="connsiteY17" fmla="*/ 305255 h 496315"/>
                <a:gd name="connsiteX18" fmla="*/ 538211 w 609243"/>
                <a:gd name="connsiteY18" fmla="*/ 323074 h 496315"/>
                <a:gd name="connsiteX19" fmla="*/ 353260 w 609243"/>
                <a:gd name="connsiteY19" fmla="*/ 320420 h 496315"/>
                <a:gd name="connsiteX20" fmla="*/ 341872 w 609243"/>
                <a:gd name="connsiteY20" fmla="*/ 304212 h 496315"/>
                <a:gd name="connsiteX21" fmla="*/ 443849 w 609243"/>
                <a:gd name="connsiteY21" fmla="*/ 275552 h 496315"/>
                <a:gd name="connsiteX22" fmla="*/ 155189 w 609243"/>
                <a:gd name="connsiteY22" fmla="*/ 229830 h 496315"/>
                <a:gd name="connsiteX23" fmla="*/ 259126 w 609243"/>
                <a:gd name="connsiteY23" fmla="*/ 249914 h 496315"/>
                <a:gd name="connsiteX24" fmla="*/ 249162 w 609243"/>
                <a:gd name="connsiteY24" fmla="*/ 266966 h 496315"/>
                <a:gd name="connsiteX25" fmla="*/ 65059 w 609243"/>
                <a:gd name="connsiteY25" fmla="*/ 284966 h 496315"/>
                <a:gd name="connsiteX26" fmla="*/ 55095 w 609243"/>
                <a:gd name="connsiteY26" fmla="*/ 268008 h 496315"/>
                <a:gd name="connsiteX27" fmla="*/ 155189 w 609243"/>
                <a:gd name="connsiteY27" fmla="*/ 229830 h 496315"/>
                <a:gd name="connsiteX28" fmla="*/ 439981 w 609243"/>
                <a:gd name="connsiteY28" fmla="*/ 229743 h 496315"/>
                <a:gd name="connsiteX29" fmla="*/ 542897 w 609243"/>
                <a:gd name="connsiteY29" fmla="*/ 259481 h 496315"/>
                <a:gd name="connsiteX30" fmla="*/ 534359 w 609243"/>
                <a:gd name="connsiteY30" fmla="*/ 277206 h 496315"/>
                <a:gd name="connsiteX31" fmla="*/ 349445 w 609243"/>
                <a:gd name="connsiteY31" fmla="*/ 274552 h 496315"/>
                <a:gd name="connsiteX32" fmla="*/ 338060 w 609243"/>
                <a:gd name="connsiteY32" fmla="*/ 258438 h 496315"/>
                <a:gd name="connsiteX33" fmla="*/ 439981 w 609243"/>
                <a:gd name="connsiteY33" fmla="*/ 229743 h 496315"/>
                <a:gd name="connsiteX34" fmla="*/ 436157 w 609243"/>
                <a:gd name="connsiteY34" fmla="*/ 183933 h 496315"/>
                <a:gd name="connsiteX35" fmla="*/ 539058 w 609243"/>
                <a:gd name="connsiteY35" fmla="*/ 213639 h 496315"/>
                <a:gd name="connsiteX36" fmla="*/ 530612 w 609243"/>
                <a:gd name="connsiteY36" fmla="*/ 231439 h 496315"/>
                <a:gd name="connsiteX37" fmla="*/ 345546 w 609243"/>
                <a:gd name="connsiteY37" fmla="*/ 228694 h 496315"/>
                <a:gd name="connsiteX38" fmla="*/ 334252 w 609243"/>
                <a:gd name="connsiteY38" fmla="*/ 212598 h 496315"/>
                <a:gd name="connsiteX39" fmla="*/ 436157 w 609243"/>
                <a:gd name="connsiteY39" fmla="*/ 183933 h 496315"/>
                <a:gd name="connsiteX40" fmla="*/ 155189 w 609243"/>
                <a:gd name="connsiteY40" fmla="*/ 183880 h 496315"/>
                <a:gd name="connsiteX41" fmla="*/ 259126 w 609243"/>
                <a:gd name="connsiteY41" fmla="*/ 203976 h 496315"/>
                <a:gd name="connsiteX42" fmla="*/ 249162 w 609243"/>
                <a:gd name="connsiteY42" fmla="*/ 220933 h 496315"/>
                <a:gd name="connsiteX43" fmla="*/ 65059 w 609243"/>
                <a:gd name="connsiteY43" fmla="*/ 239028 h 496315"/>
                <a:gd name="connsiteX44" fmla="*/ 55095 w 609243"/>
                <a:gd name="connsiteY44" fmla="*/ 221975 h 496315"/>
                <a:gd name="connsiteX45" fmla="*/ 155189 w 609243"/>
                <a:gd name="connsiteY45" fmla="*/ 183880 h 496315"/>
                <a:gd name="connsiteX46" fmla="*/ 439981 w 609243"/>
                <a:gd name="connsiteY46" fmla="*/ 137783 h 496315"/>
                <a:gd name="connsiteX47" fmla="*/ 542897 w 609243"/>
                <a:gd name="connsiteY47" fmla="*/ 167489 h 496315"/>
                <a:gd name="connsiteX48" fmla="*/ 534359 w 609243"/>
                <a:gd name="connsiteY48" fmla="*/ 185289 h 496315"/>
                <a:gd name="connsiteX49" fmla="*/ 349445 w 609243"/>
                <a:gd name="connsiteY49" fmla="*/ 182544 h 496315"/>
                <a:gd name="connsiteX50" fmla="*/ 338060 w 609243"/>
                <a:gd name="connsiteY50" fmla="*/ 166448 h 496315"/>
                <a:gd name="connsiteX51" fmla="*/ 439981 w 609243"/>
                <a:gd name="connsiteY51" fmla="*/ 137783 h 496315"/>
                <a:gd name="connsiteX52" fmla="*/ 209117 w 609243"/>
                <a:gd name="connsiteY52" fmla="*/ 125922 h 496315"/>
                <a:gd name="connsiteX53" fmla="*/ 249230 w 609243"/>
                <a:gd name="connsiteY53" fmla="*/ 141507 h 496315"/>
                <a:gd name="connsiteX54" fmla="*/ 239267 w 609243"/>
                <a:gd name="connsiteY54" fmla="*/ 158561 h 496315"/>
                <a:gd name="connsiteX55" fmla="*/ 171234 w 609243"/>
                <a:gd name="connsiteY55" fmla="*/ 146339 h 496315"/>
                <a:gd name="connsiteX56" fmla="*/ 166015 w 609243"/>
                <a:gd name="connsiteY56" fmla="*/ 127390 h 496315"/>
                <a:gd name="connsiteX57" fmla="*/ 209117 w 609243"/>
                <a:gd name="connsiteY57" fmla="*/ 125922 h 496315"/>
                <a:gd name="connsiteX58" fmla="*/ 114405 w 609243"/>
                <a:gd name="connsiteY58" fmla="*/ 101164 h 496315"/>
                <a:gd name="connsiteX59" fmla="*/ 79658 w 609243"/>
                <a:gd name="connsiteY59" fmla="*/ 112628 h 496315"/>
                <a:gd name="connsiteX60" fmla="*/ 78139 w 609243"/>
                <a:gd name="connsiteY60" fmla="*/ 156871 h 496315"/>
                <a:gd name="connsiteX61" fmla="*/ 114405 w 609243"/>
                <a:gd name="connsiteY61" fmla="*/ 142186 h 496315"/>
                <a:gd name="connsiteX62" fmla="*/ 436157 w 609243"/>
                <a:gd name="connsiteY62" fmla="*/ 91941 h 496315"/>
                <a:gd name="connsiteX63" fmla="*/ 539058 w 609243"/>
                <a:gd name="connsiteY63" fmla="*/ 121643 h 496315"/>
                <a:gd name="connsiteX64" fmla="*/ 530612 w 609243"/>
                <a:gd name="connsiteY64" fmla="*/ 139462 h 496315"/>
                <a:gd name="connsiteX65" fmla="*/ 345546 w 609243"/>
                <a:gd name="connsiteY65" fmla="*/ 136808 h 496315"/>
                <a:gd name="connsiteX66" fmla="*/ 334252 w 609243"/>
                <a:gd name="connsiteY66" fmla="*/ 120601 h 496315"/>
                <a:gd name="connsiteX67" fmla="*/ 436157 w 609243"/>
                <a:gd name="connsiteY67" fmla="*/ 91941 h 496315"/>
                <a:gd name="connsiteX68" fmla="*/ 120956 w 609243"/>
                <a:gd name="connsiteY68" fmla="*/ 81080 h 496315"/>
                <a:gd name="connsiteX69" fmla="*/ 123804 w 609243"/>
                <a:gd name="connsiteY69" fmla="*/ 81459 h 496315"/>
                <a:gd name="connsiteX70" fmla="*/ 134152 w 609243"/>
                <a:gd name="connsiteY70" fmla="*/ 90933 h 496315"/>
                <a:gd name="connsiteX71" fmla="*/ 134152 w 609243"/>
                <a:gd name="connsiteY71" fmla="*/ 146734 h 496315"/>
                <a:gd name="connsiteX72" fmla="*/ 133773 w 609243"/>
                <a:gd name="connsiteY72" fmla="*/ 149292 h 496315"/>
                <a:gd name="connsiteX73" fmla="*/ 126842 w 609243"/>
                <a:gd name="connsiteY73" fmla="*/ 159523 h 496315"/>
                <a:gd name="connsiteX74" fmla="*/ 78234 w 609243"/>
                <a:gd name="connsiteY74" fmla="*/ 179892 h 496315"/>
                <a:gd name="connsiteX75" fmla="*/ 64658 w 609243"/>
                <a:gd name="connsiteY75" fmla="*/ 175439 h 496315"/>
                <a:gd name="connsiteX76" fmla="*/ 58392 w 609243"/>
                <a:gd name="connsiteY76" fmla="*/ 166439 h 496315"/>
                <a:gd name="connsiteX77" fmla="*/ 60101 w 609243"/>
                <a:gd name="connsiteY77" fmla="*/ 110638 h 496315"/>
                <a:gd name="connsiteX78" fmla="*/ 60765 w 609243"/>
                <a:gd name="connsiteY78" fmla="*/ 107796 h 496315"/>
                <a:gd name="connsiteX79" fmla="*/ 64943 w 609243"/>
                <a:gd name="connsiteY79" fmla="*/ 98796 h 496315"/>
                <a:gd name="connsiteX80" fmla="*/ 120956 w 609243"/>
                <a:gd name="connsiteY80" fmla="*/ 81080 h 496315"/>
                <a:gd name="connsiteX81" fmla="*/ 211133 w 609243"/>
                <a:gd name="connsiteY81" fmla="*/ 79659 h 496315"/>
                <a:gd name="connsiteX82" fmla="*/ 252540 w 609243"/>
                <a:gd name="connsiteY82" fmla="*/ 93858 h 496315"/>
                <a:gd name="connsiteX83" fmla="*/ 242574 w 609243"/>
                <a:gd name="connsiteY83" fmla="*/ 110925 h 496315"/>
                <a:gd name="connsiteX84" fmla="*/ 172811 w 609243"/>
                <a:gd name="connsiteY84" fmla="*/ 103719 h 496315"/>
                <a:gd name="connsiteX85" fmla="*/ 167590 w 609243"/>
                <a:gd name="connsiteY85" fmla="*/ 84661 h 496315"/>
                <a:gd name="connsiteX86" fmla="*/ 211133 w 609243"/>
                <a:gd name="connsiteY86" fmla="*/ 79659 h 496315"/>
                <a:gd name="connsiteX87" fmla="*/ 198798 w 609243"/>
                <a:gd name="connsiteY87" fmla="*/ 22403 h 496315"/>
                <a:gd name="connsiteX88" fmla="*/ 27245 w 609243"/>
                <a:gd name="connsiteY88" fmla="*/ 79844 h 496315"/>
                <a:gd name="connsiteX89" fmla="*/ 26012 w 609243"/>
                <a:gd name="connsiteY89" fmla="*/ 387586 h 496315"/>
                <a:gd name="connsiteX90" fmla="*/ 306429 w 609243"/>
                <a:gd name="connsiteY90" fmla="*/ 408620 h 496315"/>
                <a:gd name="connsiteX91" fmla="*/ 586847 w 609243"/>
                <a:gd name="connsiteY91" fmla="*/ 387586 h 496315"/>
                <a:gd name="connsiteX92" fmla="*/ 585614 w 609243"/>
                <a:gd name="connsiteY92" fmla="*/ 79844 h 496315"/>
                <a:gd name="connsiteX93" fmla="*/ 315160 w 609243"/>
                <a:gd name="connsiteY93" fmla="*/ 68664 h 496315"/>
                <a:gd name="connsiteX94" fmla="*/ 306429 w 609243"/>
                <a:gd name="connsiteY94" fmla="*/ 71791 h 496315"/>
                <a:gd name="connsiteX95" fmla="*/ 297699 w 609243"/>
                <a:gd name="connsiteY95" fmla="*/ 68664 h 496315"/>
                <a:gd name="connsiteX96" fmla="*/ 198798 w 609243"/>
                <a:gd name="connsiteY96" fmla="*/ 22403 h 496315"/>
                <a:gd name="connsiteX97" fmla="*/ 197678 w 609243"/>
                <a:gd name="connsiteY97" fmla="*/ 346 h 496315"/>
                <a:gd name="connsiteX98" fmla="*/ 306429 w 609243"/>
                <a:gd name="connsiteY98" fmla="*/ 46209 h 496315"/>
                <a:gd name="connsiteX99" fmla="*/ 602505 w 609243"/>
                <a:gd name="connsiteY99" fmla="*/ 64779 h 496315"/>
                <a:gd name="connsiteX100" fmla="*/ 606016 w 609243"/>
                <a:gd name="connsiteY100" fmla="*/ 68948 h 496315"/>
                <a:gd name="connsiteX101" fmla="*/ 608009 w 609243"/>
                <a:gd name="connsiteY101" fmla="*/ 75581 h 496315"/>
                <a:gd name="connsiteX102" fmla="*/ 609243 w 609243"/>
                <a:gd name="connsiteY102" fmla="*/ 396113 h 496315"/>
                <a:gd name="connsiteX103" fmla="*/ 608199 w 609243"/>
                <a:gd name="connsiteY103" fmla="*/ 400945 h 496315"/>
                <a:gd name="connsiteX104" fmla="*/ 595103 w 609243"/>
                <a:gd name="connsiteY104" fmla="*/ 414210 h 496315"/>
                <a:gd name="connsiteX105" fmla="*/ 317437 w 609243"/>
                <a:gd name="connsiteY105" fmla="*/ 428043 h 496315"/>
                <a:gd name="connsiteX106" fmla="*/ 306429 w 609243"/>
                <a:gd name="connsiteY106" fmla="*/ 434675 h 496315"/>
                <a:gd name="connsiteX107" fmla="*/ 295422 w 609243"/>
                <a:gd name="connsiteY107" fmla="*/ 428043 h 496315"/>
                <a:gd name="connsiteX108" fmla="*/ 17756 w 609243"/>
                <a:gd name="connsiteY108" fmla="*/ 414210 h 496315"/>
                <a:gd name="connsiteX109" fmla="*/ 4660 w 609243"/>
                <a:gd name="connsiteY109" fmla="*/ 400945 h 496315"/>
                <a:gd name="connsiteX110" fmla="*/ 3616 w 609243"/>
                <a:gd name="connsiteY110" fmla="*/ 396113 h 496315"/>
                <a:gd name="connsiteX111" fmla="*/ 4850 w 609243"/>
                <a:gd name="connsiteY111" fmla="*/ 75581 h 496315"/>
                <a:gd name="connsiteX112" fmla="*/ 6843 w 609243"/>
                <a:gd name="connsiteY112" fmla="*/ 68948 h 496315"/>
                <a:gd name="connsiteX113" fmla="*/ 10354 w 609243"/>
                <a:gd name="connsiteY113" fmla="*/ 64779 h 496315"/>
                <a:gd name="connsiteX114" fmla="*/ 197678 w 609243"/>
                <a:gd name="connsiteY114" fmla="*/ 346 h 49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9243" h="496315">
                  <a:moveTo>
                    <a:pt x="165033" y="400904"/>
                  </a:moveTo>
                  <a:cubicBezTo>
                    <a:pt x="218614" y="402858"/>
                    <a:pt x="269051" y="419838"/>
                    <a:pt x="303783" y="460951"/>
                  </a:cubicBezTo>
                  <a:cubicBezTo>
                    <a:pt x="373248" y="378725"/>
                    <a:pt x="505628" y="393029"/>
                    <a:pt x="600145" y="431016"/>
                  </a:cubicBezTo>
                  <a:cubicBezTo>
                    <a:pt x="616847" y="437742"/>
                    <a:pt x="602423" y="460382"/>
                    <a:pt x="585911" y="453751"/>
                  </a:cubicBezTo>
                  <a:cubicBezTo>
                    <a:pt x="500314" y="419364"/>
                    <a:pt x="372583" y="404018"/>
                    <a:pt x="316310" y="490033"/>
                  </a:cubicBezTo>
                  <a:cubicBezTo>
                    <a:pt x="313178" y="494864"/>
                    <a:pt x="308433" y="496569"/>
                    <a:pt x="303783" y="496285"/>
                  </a:cubicBezTo>
                  <a:cubicBezTo>
                    <a:pt x="299134" y="496569"/>
                    <a:pt x="294389" y="494864"/>
                    <a:pt x="291257" y="490033"/>
                  </a:cubicBezTo>
                  <a:cubicBezTo>
                    <a:pt x="234984" y="404018"/>
                    <a:pt x="107253" y="419364"/>
                    <a:pt x="21751" y="453751"/>
                  </a:cubicBezTo>
                  <a:cubicBezTo>
                    <a:pt x="5144" y="460382"/>
                    <a:pt x="-9280" y="437742"/>
                    <a:pt x="7422" y="431016"/>
                  </a:cubicBezTo>
                  <a:cubicBezTo>
                    <a:pt x="54728" y="412023"/>
                    <a:pt x="111452" y="398950"/>
                    <a:pt x="165033" y="400904"/>
                  </a:cubicBezTo>
                  <a:close/>
                  <a:moveTo>
                    <a:pt x="155189" y="275778"/>
                  </a:moveTo>
                  <a:cubicBezTo>
                    <a:pt x="190373" y="271726"/>
                    <a:pt x="226197" y="277389"/>
                    <a:pt x="259126" y="295874"/>
                  </a:cubicBezTo>
                  <a:cubicBezTo>
                    <a:pt x="270229" y="302130"/>
                    <a:pt x="260265" y="319192"/>
                    <a:pt x="249162" y="312936"/>
                  </a:cubicBezTo>
                  <a:cubicBezTo>
                    <a:pt x="189186" y="279285"/>
                    <a:pt x="119815" y="294262"/>
                    <a:pt x="65059" y="331041"/>
                  </a:cubicBezTo>
                  <a:cubicBezTo>
                    <a:pt x="54430" y="338150"/>
                    <a:pt x="44561" y="320993"/>
                    <a:pt x="55095" y="313979"/>
                  </a:cubicBezTo>
                  <a:cubicBezTo>
                    <a:pt x="85463" y="293599"/>
                    <a:pt x="120006" y="279830"/>
                    <a:pt x="155189" y="275778"/>
                  </a:cubicBezTo>
                  <a:close/>
                  <a:moveTo>
                    <a:pt x="443849" y="275552"/>
                  </a:moveTo>
                  <a:cubicBezTo>
                    <a:pt x="479257" y="276654"/>
                    <a:pt x="514819" y="287483"/>
                    <a:pt x="546751" y="305255"/>
                  </a:cubicBezTo>
                  <a:cubicBezTo>
                    <a:pt x="557854" y="311415"/>
                    <a:pt x="549408" y="329329"/>
                    <a:pt x="538211" y="323074"/>
                  </a:cubicBezTo>
                  <a:cubicBezTo>
                    <a:pt x="480609" y="291037"/>
                    <a:pt x="410197" y="281843"/>
                    <a:pt x="353260" y="320420"/>
                  </a:cubicBezTo>
                  <a:cubicBezTo>
                    <a:pt x="342726" y="327528"/>
                    <a:pt x="331339" y="311415"/>
                    <a:pt x="341872" y="304212"/>
                  </a:cubicBezTo>
                  <a:cubicBezTo>
                    <a:pt x="373188" y="283076"/>
                    <a:pt x="408441" y="274451"/>
                    <a:pt x="443849" y="275552"/>
                  </a:cubicBezTo>
                  <a:close/>
                  <a:moveTo>
                    <a:pt x="155189" y="229830"/>
                  </a:moveTo>
                  <a:cubicBezTo>
                    <a:pt x="190373" y="225780"/>
                    <a:pt x="226197" y="231440"/>
                    <a:pt x="259126" y="249914"/>
                  </a:cubicBezTo>
                  <a:cubicBezTo>
                    <a:pt x="270229" y="256166"/>
                    <a:pt x="260265" y="273124"/>
                    <a:pt x="249162" y="266966"/>
                  </a:cubicBezTo>
                  <a:cubicBezTo>
                    <a:pt x="189186" y="233335"/>
                    <a:pt x="119815" y="248303"/>
                    <a:pt x="65059" y="284966"/>
                  </a:cubicBezTo>
                  <a:cubicBezTo>
                    <a:pt x="54430" y="292071"/>
                    <a:pt x="44561" y="275019"/>
                    <a:pt x="55095" y="268008"/>
                  </a:cubicBezTo>
                  <a:cubicBezTo>
                    <a:pt x="85463" y="247640"/>
                    <a:pt x="120006" y="233880"/>
                    <a:pt x="155189" y="229830"/>
                  </a:cubicBezTo>
                  <a:close/>
                  <a:moveTo>
                    <a:pt x="439981" y="229743"/>
                  </a:moveTo>
                  <a:cubicBezTo>
                    <a:pt x="475369" y="230857"/>
                    <a:pt x="510924" y="241709"/>
                    <a:pt x="542897" y="259481"/>
                  </a:cubicBezTo>
                  <a:cubicBezTo>
                    <a:pt x="553903" y="265642"/>
                    <a:pt x="545554" y="283461"/>
                    <a:pt x="534359" y="277206"/>
                  </a:cubicBezTo>
                  <a:cubicBezTo>
                    <a:pt x="476674" y="245169"/>
                    <a:pt x="406371" y="235975"/>
                    <a:pt x="349445" y="274552"/>
                  </a:cubicBezTo>
                  <a:cubicBezTo>
                    <a:pt x="338819" y="281660"/>
                    <a:pt x="327529" y="265547"/>
                    <a:pt x="338060" y="258438"/>
                  </a:cubicBezTo>
                  <a:cubicBezTo>
                    <a:pt x="369369" y="237255"/>
                    <a:pt x="404592" y="228629"/>
                    <a:pt x="439981" y="229743"/>
                  </a:cubicBezTo>
                  <a:close/>
                  <a:moveTo>
                    <a:pt x="436157" y="183933"/>
                  </a:moveTo>
                  <a:cubicBezTo>
                    <a:pt x="471557" y="185045"/>
                    <a:pt x="507123" y="195886"/>
                    <a:pt x="539058" y="213639"/>
                  </a:cubicBezTo>
                  <a:cubicBezTo>
                    <a:pt x="550162" y="219794"/>
                    <a:pt x="541715" y="237594"/>
                    <a:pt x="530612" y="231439"/>
                  </a:cubicBezTo>
                  <a:cubicBezTo>
                    <a:pt x="472909" y="199342"/>
                    <a:pt x="402584" y="190253"/>
                    <a:pt x="345546" y="228694"/>
                  </a:cubicBezTo>
                  <a:cubicBezTo>
                    <a:pt x="335012" y="235889"/>
                    <a:pt x="323718" y="219699"/>
                    <a:pt x="334252" y="212598"/>
                  </a:cubicBezTo>
                  <a:cubicBezTo>
                    <a:pt x="365524" y="191436"/>
                    <a:pt x="400757" y="182820"/>
                    <a:pt x="436157" y="183933"/>
                  </a:cubicBezTo>
                  <a:close/>
                  <a:moveTo>
                    <a:pt x="155189" y="183880"/>
                  </a:moveTo>
                  <a:cubicBezTo>
                    <a:pt x="190373" y="179842"/>
                    <a:pt x="226197" y="185502"/>
                    <a:pt x="259126" y="203976"/>
                  </a:cubicBezTo>
                  <a:cubicBezTo>
                    <a:pt x="270229" y="210133"/>
                    <a:pt x="260265" y="227186"/>
                    <a:pt x="249162" y="220933"/>
                  </a:cubicBezTo>
                  <a:cubicBezTo>
                    <a:pt x="189186" y="187302"/>
                    <a:pt x="119815" y="202270"/>
                    <a:pt x="65059" y="239028"/>
                  </a:cubicBezTo>
                  <a:cubicBezTo>
                    <a:pt x="54430" y="246133"/>
                    <a:pt x="44561" y="229080"/>
                    <a:pt x="55095" y="221975"/>
                  </a:cubicBezTo>
                  <a:cubicBezTo>
                    <a:pt x="85463" y="201655"/>
                    <a:pt x="120006" y="187918"/>
                    <a:pt x="155189" y="183880"/>
                  </a:cubicBezTo>
                  <a:close/>
                  <a:moveTo>
                    <a:pt x="439981" y="137783"/>
                  </a:moveTo>
                  <a:cubicBezTo>
                    <a:pt x="475369" y="138895"/>
                    <a:pt x="510924" y="149736"/>
                    <a:pt x="542897" y="167489"/>
                  </a:cubicBezTo>
                  <a:cubicBezTo>
                    <a:pt x="553903" y="173644"/>
                    <a:pt x="545554" y="191444"/>
                    <a:pt x="534359" y="185289"/>
                  </a:cubicBezTo>
                  <a:cubicBezTo>
                    <a:pt x="476674" y="153192"/>
                    <a:pt x="406371" y="144103"/>
                    <a:pt x="349445" y="182544"/>
                  </a:cubicBezTo>
                  <a:cubicBezTo>
                    <a:pt x="338819" y="189739"/>
                    <a:pt x="327529" y="173549"/>
                    <a:pt x="338060" y="166448"/>
                  </a:cubicBezTo>
                  <a:cubicBezTo>
                    <a:pt x="369369" y="145286"/>
                    <a:pt x="404592" y="136670"/>
                    <a:pt x="439981" y="137783"/>
                  </a:cubicBezTo>
                  <a:close/>
                  <a:moveTo>
                    <a:pt x="209117" y="125922"/>
                  </a:moveTo>
                  <a:cubicBezTo>
                    <a:pt x="223089" y="128148"/>
                    <a:pt x="236563" y="133217"/>
                    <a:pt x="249230" y="141507"/>
                  </a:cubicBezTo>
                  <a:cubicBezTo>
                    <a:pt x="259857" y="148423"/>
                    <a:pt x="249989" y="165477"/>
                    <a:pt x="239267" y="158561"/>
                  </a:cubicBezTo>
                  <a:cubicBezTo>
                    <a:pt x="218392" y="144918"/>
                    <a:pt x="195619" y="141223"/>
                    <a:pt x="171234" y="146339"/>
                  </a:cubicBezTo>
                  <a:cubicBezTo>
                    <a:pt x="158804" y="148991"/>
                    <a:pt x="153585" y="130043"/>
                    <a:pt x="166015" y="127390"/>
                  </a:cubicBezTo>
                  <a:cubicBezTo>
                    <a:pt x="180675" y="124311"/>
                    <a:pt x="195145" y="123695"/>
                    <a:pt x="209117" y="125922"/>
                  </a:cubicBezTo>
                  <a:close/>
                  <a:moveTo>
                    <a:pt x="114405" y="101164"/>
                  </a:moveTo>
                  <a:cubicBezTo>
                    <a:pt x="101873" y="102206"/>
                    <a:pt x="90291" y="105901"/>
                    <a:pt x="79658" y="112628"/>
                  </a:cubicBezTo>
                  <a:cubicBezTo>
                    <a:pt x="78519" y="127407"/>
                    <a:pt x="78234" y="142091"/>
                    <a:pt x="78139" y="156871"/>
                  </a:cubicBezTo>
                  <a:cubicBezTo>
                    <a:pt x="89626" y="150523"/>
                    <a:pt x="101684" y="145407"/>
                    <a:pt x="114405" y="142186"/>
                  </a:cubicBezTo>
                  <a:close/>
                  <a:moveTo>
                    <a:pt x="436157" y="91941"/>
                  </a:moveTo>
                  <a:cubicBezTo>
                    <a:pt x="471557" y="93043"/>
                    <a:pt x="507123" y="103872"/>
                    <a:pt x="539058" y="121643"/>
                  </a:cubicBezTo>
                  <a:cubicBezTo>
                    <a:pt x="550162" y="127804"/>
                    <a:pt x="541715" y="145718"/>
                    <a:pt x="530612" y="139462"/>
                  </a:cubicBezTo>
                  <a:cubicBezTo>
                    <a:pt x="472909" y="107426"/>
                    <a:pt x="402584" y="98232"/>
                    <a:pt x="345546" y="136808"/>
                  </a:cubicBezTo>
                  <a:cubicBezTo>
                    <a:pt x="335012" y="143917"/>
                    <a:pt x="323718" y="127804"/>
                    <a:pt x="334252" y="120601"/>
                  </a:cubicBezTo>
                  <a:cubicBezTo>
                    <a:pt x="365524" y="99464"/>
                    <a:pt x="400757" y="90839"/>
                    <a:pt x="436157" y="91941"/>
                  </a:cubicBezTo>
                  <a:close/>
                  <a:moveTo>
                    <a:pt x="120956" y="81080"/>
                  </a:moveTo>
                  <a:cubicBezTo>
                    <a:pt x="122000" y="81080"/>
                    <a:pt x="122855" y="81174"/>
                    <a:pt x="123804" y="81459"/>
                  </a:cubicBezTo>
                  <a:cubicBezTo>
                    <a:pt x="128836" y="81269"/>
                    <a:pt x="134152" y="84396"/>
                    <a:pt x="134152" y="90933"/>
                  </a:cubicBezTo>
                  <a:lnTo>
                    <a:pt x="134152" y="146734"/>
                  </a:lnTo>
                  <a:cubicBezTo>
                    <a:pt x="134152" y="147681"/>
                    <a:pt x="133962" y="148534"/>
                    <a:pt x="133773" y="149292"/>
                  </a:cubicBezTo>
                  <a:cubicBezTo>
                    <a:pt x="134532" y="153744"/>
                    <a:pt x="132633" y="158387"/>
                    <a:pt x="126842" y="159523"/>
                  </a:cubicBezTo>
                  <a:cubicBezTo>
                    <a:pt x="109279" y="163029"/>
                    <a:pt x="93234" y="170134"/>
                    <a:pt x="78234" y="179892"/>
                  </a:cubicBezTo>
                  <a:cubicBezTo>
                    <a:pt x="72348" y="183682"/>
                    <a:pt x="66841" y="180366"/>
                    <a:pt x="64658" y="175439"/>
                  </a:cubicBezTo>
                  <a:cubicBezTo>
                    <a:pt x="61145" y="174208"/>
                    <a:pt x="58392" y="171271"/>
                    <a:pt x="58392" y="166439"/>
                  </a:cubicBezTo>
                  <a:cubicBezTo>
                    <a:pt x="58392" y="147871"/>
                    <a:pt x="58487" y="129207"/>
                    <a:pt x="60101" y="110638"/>
                  </a:cubicBezTo>
                  <a:cubicBezTo>
                    <a:pt x="60196" y="109596"/>
                    <a:pt x="60386" y="108649"/>
                    <a:pt x="60765" y="107796"/>
                  </a:cubicBezTo>
                  <a:cubicBezTo>
                    <a:pt x="60576" y="104575"/>
                    <a:pt x="61715" y="101164"/>
                    <a:pt x="64943" y="98796"/>
                  </a:cubicBezTo>
                  <a:cubicBezTo>
                    <a:pt x="81367" y="86764"/>
                    <a:pt x="100734" y="81459"/>
                    <a:pt x="120956" y="81080"/>
                  </a:cubicBezTo>
                  <a:close/>
                  <a:moveTo>
                    <a:pt x="211133" y="79659"/>
                  </a:moveTo>
                  <a:cubicBezTo>
                    <a:pt x="225465" y="81224"/>
                    <a:pt x="239442" y="85988"/>
                    <a:pt x="252540" y="93858"/>
                  </a:cubicBezTo>
                  <a:cubicBezTo>
                    <a:pt x="263455" y="100495"/>
                    <a:pt x="253489" y="117563"/>
                    <a:pt x="242574" y="110925"/>
                  </a:cubicBezTo>
                  <a:cubicBezTo>
                    <a:pt x="220553" y="97651"/>
                    <a:pt x="197109" y="95375"/>
                    <a:pt x="172811" y="103719"/>
                  </a:cubicBezTo>
                  <a:cubicBezTo>
                    <a:pt x="160756" y="107796"/>
                    <a:pt x="155631" y="88833"/>
                    <a:pt x="167590" y="84661"/>
                  </a:cubicBezTo>
                  <a:cubicBezTo>
                    <a:pt x="182112" y="79730"/>
                    <a:pt x="196800" y="78095"/>
                    <a:pt x="211133" y="79659"/>
                  </a:cubicBezTo>
                  <a:close/>
                  <a:moveTo>
                    <a:pt x="198798" y="22403"/>
                  </a:moveTo>
                  <a:cubicBezTo>
                    <a:pt x="139593" y="17888"/>
                    <a:pt x="76710" y="44314"/>
                    <a:pt x="27245" y="79844"/>
                  </a:cubicBezTo>
                  <a:cubicBezTo>
                    <a:pt x="29238" y="182456"/>
                    <a:pt x="26296" y="284974"/>
                    <a:pt x="26012" y="387586"/>
                  </a:cubicBezTo>
                  <a:cubicBezTo>
                    <a:pt x="118725" y="354898"/>
                    <a:pt x="223111" y="351392"/>
                    <a:pt x="306429" y="408620"/>
                  </a:cubicBezTo>
                  <a:cubicBezTo>
                    <a:pt x="389653" y="351392"/>
                    <a:pt x="494134" y="354898"/>
                    <a:pt x="586847" y="387586"/>
                  </a:cubicBezTo>
                  <a:cubicBezTo>
                    <a:pt x="586563" y="284974"/>
                    <a:pt x="583621" y="182456"/>
                    <a:pt x="585614" y="79844"/>
                  </a:cubicBezTo>
                  <a:cubicBezTo>
                    <a:pt x="506470" y="22995"/>
                    <a:pt x="392975" y="-10545"/>
                    <a:pt x="315160" y="68664"/>
                  </a:cubicBezTo>
                  <a:cubicBezTo>
                    <a:pt x="312503" y="71412"/>
                    <a:pt x="309371" y="72264"/>
                    <a:pt x="306429" y="71791"/>
                  </a:cubicBezTo>
                  <a:cubicBezTo>
                    <a:pt x="303488" y="72264"/>
                    <a:pt x="300356" y="71412"/>
                    <a:pt x="297699" y="68664"/>
                  </a:cubicBezTo>
                  <a:cubicBezTo>
                    <a:pt x="268518" y="38960"/>
                    <a:pt x="234320" y="25112"/>
                    <a:pt x="198798" y="22403"/>
                  </a:cubicBezTo>
                  <a:close/>
                  <a:moveTo>
                    <a:pt x="197678" y="346"/>
                  </a:moveTo>
                  <a:cubicBezTo>
                    <a:pt x="236561" y="2640"/>
                    <a:pt x="274117" y="16470"/>
                    <a:pt x="306429" y="46209"/>
                  </a:cubicBezTo>
                  <a:cubicBezTo>
                    <a:pt x="392595" y="-33095"/>
                    <a:pt x="516055" y="730"/>
                    <a:pt x="602505" y="64779"/>
                  </a:cubicBezTo>
                  <a:cubicBezTo>
                    <a:pt x="604118" y="66011"/>
                    <a:pt x="605257" y="67432"/>
                    <a:pt x="606016" y="68948"/>
                  </a:cubicBezTo>
                  <a:cubicBezTo>
                    <a:pt x="607250" y="70654"/>
                    <a:pt x="608104" y="72833"/>
                    <a:pt x="608009" y="75581"/>
                  </a:cubicBezTo>
                  <a:cubicBezTo>
                    <a:pt x="605827" y="182456"/>
                    <a:pt x="609053" y="289237"/>
                    <a:pt x="609243" y="396113"/>
                  </a:cubicBezTo>
                  <a:cubicBezTo>
                    <a:pt x="609243" y="397913"/>
                    <a:pt x="608863" y="399524"/>
                    <a:pt x="608199" y="400945"/>
                  </a:cubicBezTo>
                  <a:cubicBezTo>
                    <a:pt x="610002" y="408620"/>
                    <a:pt x="604403" y="417810"/>
                    <a:pt x="595103" y="414210"/>
                  </a:cubicBezTo>
                  <a:cubicBezTo>
                    <a:pt x="503813" y="378679"/>
                    <a:pt x="400661" y="370815"/>
                    <a:pt x="317437" y="428043"/>
                  </a:cubicBezTo>
                  <a:cubicBezTo>
                    <a:pt x="315540" y="432591"/>
                    <a:pt x="311269" y="435812"/>
                    <a:pt x="306429" y="434675"/>
                  </a:cubicBezTo>
                  <a:cubicBezTo>
                    <a:pt x="301590" y="435812"/>
                    <a:pt x="297319" y="432591"/>
                    <a:pt x="295422" y="428043"/>
                  </a:cubicBezTo>
                  <a:cubicBezTo>
                    <a:pt x="212198" y="370815"/>
                    <a:pt x="109046" y="378679"/>
                    <a:pt x="17756" y="414210"/>
                  </a:cubicBezTo>
                  <a:cubicBezTo>
                    <a:pt x="8456" y="417810"/>
                    <a:pt x="2857" y="408620"/>
                    <a:pt x="4660" y="400945"/>
                  </a:cubicBezTo>
                  <a:cubicBezTo>
                    <a:pt x="3996" y="399524"/>
                    <a:pt x="3616" y="397913"/>
                    <a:pt x="3616" y="396113"/>
                  </a:cubicBezTo>
                  <a:cubicBezTo>
                    <a:pt x="3806" y="289237"/>
                    <a:pt x="7032" y="182456"/>
                    <a:pt x="4850" y="75581"/>
                  </a:cubicBezTo>
                  <a:cubicBezTo>
                    <a:pt x="4755" y="72833"/>
                    <a:pt x="5514" y="70654"/>
                    <a:pt x="6843" y="68948"/>
                  </a:cubicBezTo>
                  <a:cubicBezTo>
                    <a:pt x="7602" y="67432"/>
                    <a:pt x="8741" y="66011"/>
                    <a:pt x="10354" y="64779"/>
                  </a:cubicBezTo>
                  <a:cubicBezTo>
                    <a:pt x="64385" y="24748"/>
                    <a:pt x="132874" y="-3476"/>
                    <a:pt x="197678" y="3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5" name="文本占位符 8"/>
          <p:cNvSpPr>
            <a:spLocks noGrp="1"/>
          </p:cNvSpPr>
          <p:nvPr>
            <p:ph type="body" sz="quarter" idx="29"/>
          </p:nvPr>
        </p:nvSpPr>
        <p:spPr>
          <a:xfrm>
            <a:off x="18039018" y="3358123"/>
            <a:ext cx="4557752" cy="1585086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36" name="文本占位符 8"/>
          <p:cNvSpPr>
            <a:spLocks noGrp="1"/>
          </p:cNvSpPr>
          <p:nvPr>
            <p:ph type="body" sz="quarter" idx="30"/>
          </p:nvPr>
        </p:nvSpPr>
        <p:spPr>
          <a:xfrm>
            <a:off x="18039018" y="5572812"/>
            <a:ext cx="4557752" cy="5901055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标题+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矩形 202"/>
          <p:cNvSpPr/>
          <p:nvPr userDrawn="1"/>
        </p:nvSpPr>
        <p:spPr>
          <a:xfrm>
            <a:off x="1227138" y="2982917"/>
            <a:ext cx="10856912" cy="4826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4" name="椭圆 203"/>
          <p:cNvSpPr/>
          <p:nvPr userDrawn="1"/>
        </p:nvSpPr>
        <p:spPr>
          <a:xfrm>
            <a:off x="1867329" y="4125520"/>
            <a:ext cx="2486641" cy="2486641"/>
          </a:xfrm>
          <a:prstGeom prst="ellipse">
            <a:avLst/>
          </a:prstGeom>
          <a:solidFill>
            <a:srgbClr val="1A6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1" name="矩形 200"/>
          <p:cNvSpPr/>
          <p:nvPr userDrawn="1"/>
        </p:nvSpPr>
        <p:spPr>
          <a:xfrm>
            <a:off x="12074524" y="7836685"/>
            <a:ext cx="10856912" cy="4826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2" name="椭圆 201"/>
          <p:cNvSpPr/>
          <p:nvPr userDrawn="1"/>
        </p:nvSpPr>
        <p:spPr>
          <a:xfrm>
            <a:off x="12714715" y="8979288"/>
            <a:ext cx="2486641" cy="248664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9" name="矩形 198"/>
          <p:cNvSpPr/>
          <p:nvPr userDrawn="1"/>
        </p:nvSpPr>
        <p:spPr>
          <a:xfrm>
            <a:off x="12074524" y="2951332"/>
            <a:ext cx="10856912" cy="48269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0" name="椭圆 199"/>
          <p:cNvSpPr/>
          <p:nvPr userDrawn="1"/>
        </p:nvSpPr>
        <p:spPr>
          <a:xfrm>
            <a:off x="12714715" y="4093935"/>
            <a:ext cx="2486641" cy="24866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1203325" y="7807494"/>
            <a:ext cx="10856912" cy="4826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 userDrawn="1"/>
        </p:nvSpPr>
        <p:spPr>
          <a:xfrm>
            <a:off x="1843516" y="8950097"/>
            <a:ext cx="2486641" cy="24866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70" name="Rectangle 57"/>
          <p:cNvSpPr/>
          <p:nvPr userDrawn="1"/>
        </p:nvSpPr>
        <p:spPr>
          <a:xfrm>
            <a:off x="4586411" y="7807494"/>
            <a:ext cx="948101" cy="2077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19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45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653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84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10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306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502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5699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0" dirty="0">
                <a:solidFill>
                  <a:schemeClr val="bg1"/>
                </a:solidFill>
                <a:latin typeface="印品黑体" panose="00000500000000000000" pitchFamily="2" charset="-122"/>
                <a:ea typeface="印品黑体" panose="00000500000000000000" pitchFamily="2" charset="-122"/>
                <a:cs typeface="Open Sans" pitchFamily="34" charset="0"/>
                <a:sym typeface="Arial" panose="020B0604020202020204" pitchFamily="34" charset="0"/>
              </a:rPr>
              <a:t>“</a:t>
            </a:r>
            <a:endParaRPr lang="en-US" sz="13500" dirty="0">
              <a:solidFill>
                <a:schemeClr val="bg1"/>
              </a:solidFill>
              <a:latin typeface="印品黑体" panose="00000500000000000000" pitchFamily="2" charset="-122"/>
              <a:ea typeface="印品黑体" panose="00000500000000000000" pitchFamily="2" charset="-122"/>
              <a:cs typeface="Open Sans Light" pitchFamily="34" charset="0"/>
              <a:sym typeface="Arial" panose="020B0604020202020204" pitchFamily="34" charset="0"/>
            </a:endParaRPr>
          </a:p>
        </p:txBody>
      </p:sp>
      <p:sp>
        <p:nvSpPr>
          <p:cNvPr id="174" name="quotation-mark_32371"/>
          <p:cNvSpPr>
            <a:spLocks noChangeAspect="1"/>
          </p:cNvSpPr>
          <p:nvPr userDrawn="1"/>
        </p:nvSpPr>
        <p:spPr bwMode="auto">
          <a:xfrm>
            <a:off x="4736002" y="8136685"/>
            <a:ext cx="588552" cy="546315"/>
          </a:xfrm>
          <a:custGeom>
            <a:avLst/>
            <a:gdLst>
              <a:gd name="T0" fmla="*/ 2004 w 4654"/>
              <a:gd name="T1" fmla="*/ 191 h 4326"/>
              <a:gd name="T2" fmla="*/ 2004 w 4654"/>
              <a:gd name="T3" fmla="*/ 968 h 4326"/>
              <a:gd name="T4" fmla="*/ 1813 w 4654"/>
              <a:gd name="T5" fmla="*/ 1158 h 4326"/>
              <a:gd name="T6" fmla="*/ 1205 w 4654"/>
              <a:gd name="T7" fmla="*/ 2305 h 4326"/>
              <a:gd name="T8" fmla="*/ 1813 w 4654"/>
              <a:gd name="T9" fmla="*/ 2305 h 4326"/>
              <a:gd name="T10" fmla="*/ 2004 w 4654"/>
              <a:gd name="T11" fmla="*/ 2495 h 4326"/>
              <a:gd name="T12" fmla="*/ 2004 w 4654"/>
              <a:gd name="T13" fmla="*/ 4135 h 4326"/>
              <a:gd name="T14" fmla="*/ 1813 w 4654"/>
              <a:gd name="T15" fmla="*/ 4326 h 4326"/>
              <a:gd name="T16" fmla="*/ 191 w 4654"/>
              <a:gd name="T17" fmla="*/ 4326 h 4326"/>
              <a:gd name="T18" fmla="*/ 0 w 4654"/>
              <a:gd name="T19" fmla="*/ 4135 h 4326"/>
              <a:gd name="T20" fmla="*/ 0 w 4654"/>
              <a:gd name="T21" fmla="*/ 2495 h 4326"/>
              <a:gd name="T22" fmla="*/ 109 w 4654"/>
              <a:gd name="T23" fmla="*/ 1501 h 4326"/>
              <a:gd name="T24" fmla="*/ 448 w 4654"/>
              <a:gd name="T25" fmla="*/ 713 h 4326"/>
              <a:gd name="T26" fmla="*/ 1023 w 4654"/>
              <a:gd name="T27" fmla="*/ 187 h 4326"/>
              <a:gd name="T28" fmla="*/ 1813 w 4654"/>
              <a:gd name="T29" fmla="*/ 0 h 4326"/>
              <a:gd name="T30" fmla="*/ 2004 w 4654"/>
              <a:gd name="T31" fmla="*/ 191 h 4326"/>
              <a:gd name="T32" fmla="*/ 4464 w 4654"/>
              <a:gd name="T33" fmla="*/ 1158 h 4326"/>
              <a:gd name="T34" fmla="*/ 4654 w 4654"/>
              <a:gd name="T35" fmla="*/ 968 h 4326"/>
              <a:gd name="T36" fmla="*/ 4654 w 4654"/>
              <a:gd name="T37" fmla="*/ 191 h 4326"/>
              <a:gd name="T38" fmla="*/ 4464 w 4654"/>
              <a:gd name="T39" fmla="*/ 0 h 4326"/>
              <a:gd name="T40" fmla="*/ 3674 w 4654"/>
              <a:gd name="T41" fmla="*/ 187 h 4326"/>
              <a:gd name="T42" fmla="*/ 3098 w 4654"/>
              <a:gd name="T43" fmla="*/ 713 h 4326"/>
              <a:gd name="T44" fmla="*/ 2759 w 4654"/>
              <a:gd name="T45" fmla="*/ 1501 h 4326"/>
              <a:gd name="T46" fmla="*/ 2650 w 4654"/>
              <a:gd name="T47" fmla="*/ 2495 h 4326"/>
              <a:gd name="T48" fmla="*/ 2650 w 4654"/>
              <a:gd name="T49" fmla="*/ 4135 h 4326"/>
              <a:gd name="T50" fmla="*/ 2841 w 4654"/>
              <a:gd name="T51" fmla="*/ 4326 h 4326"/>
              <a:gd name="T52" fmla="*/ 4464 w 4654"/>
              <a:gd name="T53" fmla="*/ 4326 h 4326"/>
              <a:gd name="T54" fmla="*/ 4654 w 4654"/>
              <a:gd name="T55" fmla="*/ 4135 h 4326"/>
              <a:gd name="T56" fmla="*/ 4654 w 4654"/>
              <a:gd name="T57" fmla="*/ 2495 h 4326"/>
              <a:gd name="T58" fmla="*/ 4464 w 4654"/>
              <a:gd name="T59" fmla="*/ 2305 h 4326"/>
              <a:gd name="T60" fmla="*/ 3864 w 4654"/>
              <a:gd name="T61" fmla="*/ 2305 h 4326"/>
              <a:gd name="T62" fmla="*/ 4464 w 4654"/>
              <a:gd name="T63" fmla="*/ 1158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4" h="4326">
                <a:moveTo>
                  <a:pt x="2004" y="191"/>
                </a:moveTo>
                <a:lnTo>
                  <a:pt x="2004" y="968"/>
                </a:lnTo>
                <a:cubicBezTo>
                  <a:pt x="2004" y="1073"/>
                  <a:pt x="1919" y="1158"/>
                  <a:pt x="1813" y="1158"/>
                </a:cubicBezTo>
                <a:cubicBezTo>
                  <a:pt x="1437" y="1158"/>
                  <a:pt x="1233" y="1544"/>
                  <a:pt x="1205" y="2305"/>
                </a:cubicBezTo>
                <a:lnTo>
                  <a:pt x="1813" y="2305"/>
                </a:lnTo>
                <a:cubicBezTo>
                  <a:pt x="1919" y="2305"/>
                  <a:pt x="2004" y="2390"/>
                  <a:pt x="2004" y="2495"/>
                </a:cubicBezTo>
                <a:lnTo>
                  <a:pt x="2004" y="4135"/>
                </a:lnTo>
                <a:cubicBezTo>
                  <a:pt x="2004" y="4241"/>
                  <a:pt x="1919" y="4326"/>
                  <a:pt x="1813" y="4326"/>
                </a:cubicBezTo>
                <a:lnTo>
                  <a:pt x="191" y="4326"/>
                </a:lnTo>
                <a:cubicBezTo>
                  <a:pt x="85" y="4326"/>
                  <a:pt x="0" y="4241"/>
                  <a:pt x="0" y="4135"/>
                </a:cubicBezTo>
                <a:lnTo>
                  <a:pt x="0" y="2495"/>
                </a:lnTo>
                <a:cubicBezTo>
                  <a:pt x="0" y="2131"/>
                  <a:pt x="37" y="1796"/>
                  <a:pt x="109" y="1501"/>
                </a:cubicBezTo>
                <a:cubicBezTo>
                  <a:pt x="183" y="1198"/>
                  <a:pt x="297" y="933"/>
                  <a:pt x="448" y="713"/>
                </a:cubicBezTo>
                <a:cubicBezTo>
                  <a:pt x="602" y="488"/>
                  <a:pt x="796" y="311"/>
                  <a:pt x="1023" y="187"/>
                </a:cubicBezTo>
                <a:cubicBezTo>
                  <a:pt x="1252" y="63"/>
                  <a:pt x="1518" y="0"/>
                  <a:pt x="1813" y="0"/>
                </a:cubicBezTo>
                <a:cubicBezTo>
                  <a:pt x="1919" y="0"/>
                  <a:pt x="2004" y="86"/>
                  <a:pt x="2004" y="191"/>
                </a:cubicBezTo>
                <a:close/>
                <a:moveTo>
                  <a:pt x="4464" y="1158"/>
                </a:moveTo>
                <a:cubicBezTo>
                  <a:pt x="4569" y="1158"/>
                  <a:pt x="4654" y="1073"/>
                  <a:pt x="4654" y="968"/>
                </a:cubicBezTo>
                <a:lnTo>
                  <a:pt x="4654" y="191"/>
                </a:lnTo>
                <a:cubicBezTo>
                  <a:pt x="4654" y="86"/>
                  <a:pt x="4569" y="0"/>
                  <a:pt x="4464" y="0"/>
                </a:cubicBezTo>
                <a:cubicBezTo>
                  <a:pt x="4168" y="0"/>
                  <a:pt x="3902" y="63"/>
                  <a:pt x="3674" y="187"/>
                </a:cubicBezTo>
                <a:cubicBezTo>
                  <a:pt x="3447" y="311"/>
                  <a:pt x="3253" y="488"/>
                  <a:pt x="3098" y="713"/>
                </a:cubicBezTo>
                <a:cubicBezTo>
                  <a:pt x="2948" y="933"/>
                  <a:pt x="2834" y="1198"/>
                  <a:pt x="2759" y="1501"/>
                </a:cubicBezTo>
                <a:cubicBezTo>
                  <a:pt x="2687" y="1796"/>
                  <a:pt x="2650" y="2131"/>
                  <a:pt x="2650" y="2495"/>
                </a:cubicBezTo>
                <a:lnTo>
                  <a:pt x="2650" y="4135"/>
                </a:lnTo>
                <a:cubicBezTo>
                  <a:pt x="2650" y="4241"/>
                  <a:pt x="2736" y="4326"/>
                  <a:pt x="2841" y="4326"/>
                </a:cubicBezTo>
                <a:lnTo>
                  <a:pt x="4464" y="4326"/>
                </a:lnTo>
                <a:cubicBezTo>
                  <a:pt x="4569" y="4326"/>
                  <a:pt x="4654" y="4241"/>
                  <a:pt x="4654" y="4135"/>
                </a:cubicBezTo>
                <a:lnTo>
                  <a:pt x="4654" y="2495"/>
                </a:lnTo>
                <a:cubicBezTo>
                  <a:pt x="4654" y="2390"/>
                  <a:pt x="4569" y="2305"/>
                  <a:pt x="4464" y="2305"/>
                </a:cubicBezTo>
                <a:lnTo>
                  <a:pt x="3864" y="2305"/>
                </a:lnTo>
                <a:cubicBezTo>
                  <a:pt x="3892" y="1544"/>
                  <a:pt x="4093" y="1158"/>
                  <a:pt x="4464" y="1158"/>
                </a:cubicBezTo>
                <a:close/>
              </a:path>
            </a:pathLst>
          </a:custGeom>
          <a:solidFill>
            <a:schemeClr val="bg1">
              <a:alpha val="89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175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4736002" y="9012191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76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4736002" y="9797643"/>
            <a:ext cx="6522547" cy="20476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alpha val="7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34" hasCustomPrompt="1"/>
          </p:nvPr>
        </p:nvSpPr>
        <p:spPr>
          <a:xfrm>
            <a:off x="2498329" y="9471800"/>
            <a:ext cx="1085974" cy="1057275"/>
          </a:xfrm>
        </p:spPr>
        <p:txBody>
          <a:bodyPr>
            <a:noAutofit/>
          </a:bodyPr>
          <a:lstStyle>
            <a:lvl1pPr marL="0" indent="0" algn="ctr">
              <a:buNone/>
              <a:defRPr sz="6000" b="1"/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80" name="quotation-mark_32371"/>
          <p:cNvSpPr>
            <a:spLocks noChangeAspect="1"/>
          </p:cNvSpPr>
          <p:nvPr userDrawn="1"/>
        </p:nvSpPr>
        <p:spPr bwMode="auto">
          <a:xfrm>
            <a:off x="15550051" y="3280523"/>
            <a:ext cx="588552" cy="546315"/>
          </a:xfrm>
          <a:custGeom>
            <a:avLst/>
            <a:gdLst>
              <a:gd name="T0" fmla="*/ 2004 w 4654"/>
              <a:gd name="T1" fmla="*/ 191 h 4326"/>
              <a:gd name="T2" fmla="*/ 2004 w 4654"/>
              <a:gd name="T3" fmla="*/ 968 h 4326"/>
              <a:gd name="T4" fmla="*/ 1813 w 4654"/>
              <a:gd name="T5" fmla="*/ 1158 h 4326"/>
              <a:gd name="T6" fmla="*/ 1205 w 4654"/>
              <a:gd name="T7" fmla="*/ 2305 h 4326"/>
              <a:gd name="T8" fmla="*/ 1813 w 4654"/>
              <a:gd name="T9" fmla="*/ 2305 h 4326"/>
              <a:gd name="T10" fmla="*/ 2004 w 4654"/>
              <a:gd name="T11" fmla="*/ 2495 h 4326"/>
              <a:gd name="T12" fmla="*/ 2004 w 4654"/>
              <a:gd name="T13" fmla="*/ 4135 h 4326"/>
              <a:gd name="T14" fmla="*/ 1813 w 4654"/>
              <a:gd name="T15" fmla="*/ 4326 h 4326"/>
              <a:gd name="T16" fmla="*/ 191 w 4654"/>
              <a:gd name="T17" fmla="*/ 4326 h 4326"/>
              <a:gd name="T18" fmla="*/ 0 w 4654"/>
              <a:gd name="T19" fmla="*/ 4135 h 4326"/>
              <a:gd name="T20" fmla="*/ 0 w 4654"/>
              <a:gd name="T21" fmla="*/ 2495 h 4326"/>
              <a:gd name="T22" fmla="*/ 109 w 4654"/>
              <a:gd name="T23" fmla="*/ 1501 h 4326"/>
              <a:gd name="T24" fmla="*/ 448 w 4654"/>
              <a:gd name="T25" fmla="*/ 713 h 4326"/>
              <a:gd name="T26" fmla="*/ 1023 w 4654"/>
              <a:gd name="T27" fmla="*/ 187 h 4326"/>
              <a:gd name="T28" fmla="*/ 1813 w 4654"/>
              <a:gd name="T29" fmla="*/ 0 h 4326"/>
              <a:gd name="T30" fmla="*/ 2004 w 4654"/>
              <a:gd name="T31" fmla="*/ 191 h 4326"/>
              <a:gd name="T32" fmla="*/ 4464 w 4654"/>
              <a:gd name="T33" fmla="*/ 1158 h 4326"/>
              <a:gd name="T34" fmla="*/ 4654 w 4654"/>
              <a:gd name="T35" fmla="*/ 968 h 4326"/>
              <a:gd name="T36" fmla="*/ 4654 w 4654"/>
              <a:gd name="T37" fmla="*/ 191 h 4326"/>
              <a:gd name="T38" fmla="*/ 4464 w 4654"/>
              <a:gd name="T39" fmla="*/ 0 h 4326"/>
              <a:gd name="T40" fmla="*/ 3674 w 4654"/>
              <a:gd name="T41" fmla="*/ 187 h 4326"/>
              <a:gd name="T42" fmla="*/ 3098 w 4654"/>
              <a:gd name="T43" fmla="*/ 713 h 4326"/>
              <a:gd name="T44" fmla="*/ 2759 w 4654"/>
              <a:gd name="T45" fmla="*/ 1501 h 4326"/>
              <a:gd name="T46" fmla="*/ 2650 w 4654"/>
              <a:gd name="T47" fmla="*/ 2495 h 4326"/>
              <a:gd name="T48" fmla="*/ 2650 w 4654"/>
              <a:gd name="T49" fmla="*/ 4135 h 4326"/>
              <a:gd name="T50" fmla="*/ 2841 w 4654"/>
              <a:gd name="T51" fmla="*/ 4326 h 4326"/>
              <a:gd name="T52" fmla="*/ 4464 w 4654"/>
              <a:gd name="T53" fmla="*/ 4326 h 4326"/>
              <a:gd name="T54" fmla="*/ 4654 w 4654"/>
              <a:gd name="T55" fmla="*/ 4135 h 4326"/>
              <a:gd name="T56" fmla="*/ 4654 w 4654"/>
              <a:gd name="T57" fmla="*/ 2495 h 4326"/>
              <a:gd name="T58" fmla="*/ 4464 w 4654"/>
              <a:gd name="T59" fmla="*/ 2305 h 4326"/>
              <a:gd name="T60" fmla="*/ 3864 w 4654"/>
              <a:gd name="T61" fmla="*/ 2305 h 4326"/>
              <a:gd name="T62" fmla="*/ 4464 w 4654"/>
              <a:gd name="T63" fmla="*/ 1158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4" h="4326">
                <a:moveTo>
                  <a:pt x="2004" y="191"/>
                </a:moveTo>
                <a:lnTo>
                  <a:pt x="2004" y="968"/>
                </a:lnTo>
                <a:cubicBezTo>
                  <a:pt x="2004" y="1073"/>
                  <a:pt x="1919" y="1158"/>
                  <a:pt x="1813" y="1158"/>
                </a:cubicBezTo>
                <a:cubicBezTo>
                  <a:pt x="1437" y="1158"/>
                  <a:pt x="1233" y="1544"/>
                  <a:pt x="1205" y="2305"/>
                </a:cubicBezTo>
                <a:lnTo>
                  <a:pt x="1813" y="2305"/>
                </a:lnTo>
                <a:cubicBezTo>
                  <a:pt x="1919" y="2305"/>
                  <a:pt x="2004" y="2390"/>
                  <a:pt x="2004" y="2495"/>
                </a:cubicBezTo>
                <a:lnTo>
                  <a:pt x="2004" y="4135"/>
                </a:lnTo>
                <a:cubicBezTo>
                  <a:pt x="2004" y="4241"/>
                  <a:pt x="1919" y="4326"/>
                  <a:pt x="1813" y="4326"/>
                </a:cubicBezTo>
                <a:lnTo>
                  <a:pt x="191" y="4326"/>
                </a:lnTo>
                <a:cubicBezTo>
                  <a:pt x="85" y="4326"/>
                  <a:pt x="0" y="4241"/>
                  <a:pt x="0" y="4135"/>
                </a:cubicBezTo>
                <a:lnTo>
                  <a:pt x="0" y="2495"/>
                </a:lnTo>
                <a:cubicBezTo>
                  <a:pt x="0" y="2131"/>
                  <a:pt x="37" y="1796"/>
                  <a:pt x="109" y="1501"/>
                </a:cubicBezTo>
                <a:cubicBezTo>
                  <a:pt x="183" y="1198"/>
                  <a:pt x="297" y="933"/>
                  <a:pt x="448" y="713"/>
                </a:cubicBezTo>
                <a:cubicBezTo>
                  <a:pt x="602" y="488"/>
                  <a:pt x="796" y="311"/>
                  <a:pt x="1023" y="187"/>
                </a:cubicBezTo>
                <a:cubicBezTo>
                  <a:pt x="1252" y="63"/>
                  <a:pt x="1518" y="0"/>
                  <a:pt x="1813" y="0"/>
                </a:cubicBezTo>
                <a:cubicBezTo>
                  <a:pt x="1919" y="0"/>
                  <a:pt x="2004" y="86"/>
                  <a:pt x="2004" y="191"/>
                </a:cubicBezTo>
                <a:close/>
                <a:moveTo>
                  <a:pt x="4464" y="1158"/>
                </a:moveTo>
                <a:cubicBezTo>
                  <a:pt x="4569" y="1158"/>
                  <a:pt x="4654" y="1073"/>
                  <a:pt x="4654" y="968"/>
                </a:cubicBezTo>
                <a:lnTo>
                  <a:pt x="4654" y="191"/>
                </a:lnTo>
                <a:cubicBezTo>
                  <a:pt x="4654" y="86"/>
                  <a:pt x="4569" y="0"/>
                  <a:pt x="4464" y="0"/>
                </a:cubicBezTo>
                <a:cubicBezTo>
                  <a:pt x="4168" y="0"/>
                  <a:pt x="3902" y="63"/>
                  <a:pt x="3674" y="187"/>
                </a:cubicBezTo>
                <a:cubicBezTo>
                  <a:pt x="3447" y="311"/>
                  <a:pt x="3253" y="488"/>
                  <a:pt x="3098" y="713"/>
                </a:cubicBezTo>
                <a:cubicBezTo>
                  <a:pt x="2948" y="933"/>
                  <a:pt x="2834" y="1198"/>
                  <a:pt x="2759" y="1501"/>
                </a:cubicBezTo>
                <a:cubicBezTo>
                  <a:pt x="2687" y="1796"/>
                  <a:pt x="2650" y="2131"/>
                  <a:pt x="2650" y="2495"/>
                </a:cubicBezTo>
                <a:lnTo>
                  <a:pt x="2650" y="4135"/>
                </a:lnTo>
                <a:cubicBezTo>
                  <a:pt x="2650" y="4241"/>
                  <a:pt x="2736" y="4326"/>
                  <a:pt x="2841" y="4326"/>
                </a:cubicBezTo>
                <a:lnTo>
                  <a:pt x="4464" y="4326"/>
                </a:lnTo>
                <a:cubicBezTo>
                  <a:pt x="4569" y="4326"/>
                  <a:pt x="4654" y="4241"/>
                  <a:pt x="4654" y="4135"/>
                </a:cubicBezTo>
                <a:lnTo>
                  <a:pt x="4654" y="2495"/>
                </a:lnTo>
                <a:cubicBezTo>
                  <a:pt x="4654" y="2390"/>
                  <a:pt x="4569" y="2305"/>
                  <a:pt x="4464" y="2305"/>
                </a:cubicBezTo>
                <a:lnTo>
                  <a:pt x="3864" y="2305"/>
                </a:lnTo>
                <a:cubicBezTo>
                  <a:pt x="3892" y="1544"/>
                  <a:pt x="4093" y="1158"/>
                  <a:pt x="4464" y="1158"/>
                </a:cubicBezTo>
                <a:close/>
              </a:path>
            </a:pathLst>
          </a:custGeom>
          <a:solidFill>
            <a:schemeClr val="bg1">
              <a:alpha val="89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181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5550051" y="4156029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82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5550051" y="4941481"/>
            <a:ext cx="6522547" cy="20476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alpha val="7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83" name="文本占位符 9"/>
          <p:cNvSpPr>
            <a:spLocks noGrp="1"/>
          </p:cNvSpPr>
          <p:nvPr>
            <p:ph type="body" sz="quarter" idx="39" hasCustomPrompt="1"/>
          </p:nvPr>
        </p:nvSpPr>
        <p:spPr>
          <a:xfrm>
            <a:off x="13312378" y="4615638"/>
            <a:ext cx="1085974" cy="1057275"/>
          </a:xfrm>
        </p:spPr>
        <p:txBody>
          <a:bodyPr>
            <a:noAutofit/>
          </a:bodyPr>
          <a:lstStyle>
            <a:lvl1pPr marL="0" indent="0" algn="ctr">
              <a:buNone/>
              <a:defRPr sz="6000" b="1"/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84" name="Rectangle 57"/>
          <p:cNvSpPr/>
          <p:nvPr userDrawn="1"/>
        </p:nvSpPr>
        <p:spPr>
          <a:xfrm>
            <a:off x="4587998" y="2951332"/>
            <a:ext cx="948101" cy="2077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19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45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653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84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10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306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502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5699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0" dirty="0">
                <a:solidFill>
                  <a:schemeClr val="bg1"/>
                </a:solidFill>
                <a:latin typeface="印品黑体" panose="00000500000000000000" pitchFamily="2" charset="-122"/>
                <a:ea typeface="印品黑体" panose="00000500000000000000" pitchFamily="2" charset="-122"/>
                <a:cs typeface="Open Sans" pitchFamily="34" charset="0"/>
                <a:sym typeface="Arial" panose="020B0604020202020204" pitchFamily="34" charset="0"/>
              </a:rPr>
              <a:t>“</a:t>
            </a:r>
            <a:endParaRPr lang="en-US" sz="13500" dirty="0">
              <a:solidFill>
                <a:schemeClr val="bg1"/>
              </a:solidFill>
              <a:latin typeface="印品黑体" panose="00000500000000000000" pitchFamily="2" charset="-122"/>
              <a:ea typeface="印品黑体" panose="00000500000000000000" pitchFamily="2" charset="-122"/>
              <a:cs typeface="Open Sans Light" pitchFamily="34" charset="0"/>
              <a:sym typeface="Arial" panose="020B0604020202020204" pitchFamily="34" charset="0"/>
            </a:endParaRPr>
          </a:p>
        </p:txBody>
      </p:sp>
      <p:sp>
        <p:nvSpPr>
          <p:cNvPr id="187" name="quotation-mark_32371"/>
          <p:cNvSpPr>
            <a:spLocks noChangeAspect="1"/>
          </p:cNvSpPr>
          <p:nvPr userDrawn="1"/>
        </p:nvSpPr>
        <p:spPr bwMode="auto">
          <a:xfrm>
            <a:off x="4737589" y="3280523"/>
            <a:ext cx="588552" cy="546315"/>
          </a:xfrm>
          <a:custGeom>
            <a:avLst/>
            <a:gdLst>
              <a:gd name="T0" fmla="*/ 2004 w 4654"/>
              <a:gd name="T1" fmla="*/ 191 h 4326"/>
              <a:gd name="T2" fmla="*/ 2004 w 4654"/>
              <a:gd name="T3" fmla="*/ 968 h 4326"/>
              <a:gd name="T4" fmla="*/ 1813 w 4654"/>
              <a:gd name="T5" fmla="*/ 1158 h 4326"/>
              <a:gd name="T6" fmla="*/ 1205 w 4654"/>
              <a:gd name="T7" fmla="*/ 2305 h 4326"/>
              <a:gd name="T8" fmla="*/ 1813 w 4654"/>
              <a:gd name="T9" fmla="*/ 2305 h 4326"/>
              <a:gd name="T10" fmla="*/ 2004 w 4654"/>
              <a:gd name="T11" fmla="*/ 2495 h 4326"/>
              <a:gd name="T12" fmla="*/ 2004 w 4654"/>
              <a:gd name="T13" fmla="*/ 4135 h 4326"/>
              <a:gd name="T14" fmla="*/ 1813 w 4654"/>
              <a:gd name="T15" fmla="*/ 4326 h 4326"/>
              <a:gd name="T16" fmla="*/ 191 w 4654"/>
              <a:gd name="T17" fmla="*/ 4326 h 4326"/>
              <a:gd name="T18" fmla="*/ 0 w 4654"/>
              <a:gd name="T19" fmla="*/ 4135 h 4326"/>
              <a:gd name="T20" fmla="*/ 0 w 4654"/>
              <a:gd name="T21" fmla="*/ 2495 h 4326"/>
              <a:gd name="T22" fmla="*/ 109 w 4654"/>
              <a:gd name="T23" fmla="*/ 1501 h 4326"/>
              <a:gd name="T24" fmla="*/ 448 w 4654"/>
              <a:gd name="T25" fmla="*/ 713 h 4326"/>
              <a:gd name="T26" fmla="*/ 1023 w 4654"/>
              <a:gd name="T27" fmla="*/ 187 h 4326"/>
              <a:gd name="T28" fmla="*/ 1813 w 4654"/>
              <a:gd name="T29" fmla="*/ 0 h 4326"/>
              <a:gd name="T30" fmla="*/ 2004 w 4654"/>
              <a:gd name="T31" fmla="*/ 191 h 4326"/>
              <a:gd name="T32" fmla="*/ 4464 w 4654"/>
              <a:gd name="T33" fmla="*/ 1158 h 4326"/>
              <a:gd name="T34" fmla="*/ 4654 w 4654"/>
              <a:gd name="T35" fmla="*/ 968 h 4326"/>
              <a:gd name="T36" fmla="*/ 4654 w 4654"/>
              <a:gd name="T37" fmla="*/ 191 h 4326"/>
              <a:gd name="T38" fmla="*/ 4464 w 4654"/>
              <a:gd name="T39" fmla="*/ 0 h 4326"/>
              <a:gd name="T40" fmla="*/ 3674 w 4654"/>
              <a:gd name="T41" fmla="*/ 187 h 4326"/>
              <a:gd name="T42" fmla="*/ 3098 w 4654"/>
              <a:gd name="T43" fmla="*/ 713 h 4326"/>
              <a:gd name="T44" fmla="*/ 2759 w 4654"/>
              <a:gd name="T45" fmla="*/ 1501 h 4326"/>
              <a:gd name="T46" fmla="*/ 2650 w 4654"/>
              <a:gd name="T47" fmla="*/ 2495 h 4326"/>
              <a:gd name="T48" fmla="*/ 2650 w 4654"/>
              <a:gd name="T49" fmla="*/ 4135 h 4326"/>
              <a:gd name="T50" fmla="*/ 2841 w 4654"/>
              <a:gd name="T51" fmla="*/ 4326 h 4326"/>
              <a:gd name="T52" fmla="*/ 4464 w 4654"/>
              <a:gd name="T53" fmla="*/ 4326 h 4326"/>
              <a:gd name="T54" fmla="*/ 4654 w 4654"/>
              <a:gd name="T55" fmla="*/ 4135 h 4326"/>
              <a:gd name="T56" fmla="*/ 4654 w 4654"/>
              <a:gd name="T57" fmla="*/ 2495 h 4326"/>
              <a:gd name="T58" fmla="*/ 4464 w 4654"/>
              <a:gd name="T59" fmla="*/ 2305 h 4326"/>
              <a:gd name="T60" fmla="*/ 3864 w 4654"/>
              <a:gd name="T61" fmla="*/ 2305 h 4326"/>
              <a:gd name="T62" fmla="*/ 4464 w 4654"/>
              <a:gd name="T63" fmla="*/ 1158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4" h="4326">
                <a:moveTo>
                  <a:pt x="2004" y="191"/>
                </a:moveTo>
                <a:lnTo>
                  <a:pt x="2004" y="968"/>
                </a:lnTo>
                <a:cubicBezTo>
                  <a:pt x="2004" y="1073"/>
                  <a:pt x="1919" y="1158"/>
                  <a:pt x="1813" y="1158"/>
                </a:cubicBezTo>
                <a:cubicBezTo>
                  <a:pt x="1437" y="1158"/>
                  <a:pt x="1233" y="1544"/>
                  <a:pt x="1205" y="2305"/>
                </a:cubicBezTo>
                <a:lnTo>
                  <a:pt x="1813" y="2305"/>
                </a:lnTo>
                <a:cubicBezTo>
                  <a:pt x="1919" y="2305"/>
                  <a:pt x="2004" y="2390"/>
                  <a:pt x="2004" y="2495"/>
                </a:cubicBezTo>
                <a:lnTo>
                  <a:pt x="2004" y="4135"/>
                </a:lnTo>
                <a:cubicBezTo>
                  <a:pt x="2004" y="4241"/>
                  <a:pt x="1919" y="4326"/>
                  <a:pt x="1813" y="4326"/>
                </a:cubicBezTo>
                <a:lnTo>
                  <a:pt x="191" y="4326"/>
                </a:lnTo>
                <a:cubicBezTo>
                  <a:pt x="85" y="4326"/>
                  <a:pt x="0" y="4241"/>
                  <a:pt x="0" y="4135"/>
                </a:cubicBezTo>
                <a:lnTo>
                  <a:pt x="0" y="2495"/>
                </a:lnTo>
                <a:cubicBezTo>
                  <a:pt x="0" y="2131"/>
                  <a:pt x="37" y="1796"/>
                  <a:pt x="109" y="1501"/>
                </a:cubicBezTo>
                <a:cubicBezTo>
                  <a:pt x="183" y="1198"/>
                  <a:pt x="297" y="933"/>
                  <a:pt x="448" y="713"/>
                </a:cubicBezTo>
                <a:cubicBezTo>
                  <a:pt x="602" y="488"/>
                  <a:pt x="796" y="311"/>
                  <a:pt x="1023" y="187"/>
                </a:cubicBezTo>
                <a:cubicBezTo>
                  <a:pt x="1252" y="63"/>
                  <a:pt x="1518" y="0"/>
                  <a:pt x="1813" y="0"/>
                </a:cubicBezTo>
                <a:cubicBezTo>
                  <a:pt x="1919" y="0"/>
                  <a:pt x="2004" y="86"/>
                  <a:pt x="2004" y="191"/>
                </a:cubicBezTo>
                <a:close/>
                <a:moveTo>
                  <a:pt x="4464" y="1158"/>
                </a:moveTo>
                <a:cubicBezTo>
                  <a:pt x="4569" y="1158"/>
                  <a:pt x="4654" y="1073"/>
                  <a:pt x="4654" y="968"/>
                </a:cubicBezTo>
                <a:lnTo>
                  <a:pt x="4654" y="191"/>
                </a:lnTo>
                <a:cubicBezTo>
                  <a:pt x="4654" y="86"/>
                  <a:pt x="4569" y="0"/>
                  <a:pt x="4464" y="0"/>
                </a:cubicBezTo>
                <a:cubicBezTo>
                  <a:pt x="4168" y="0"/>
                  <a:pt x="3902" y="63"/>
                  <a:pt x="3674" y="187"/>
                </a:cubicBezTo>
                <a:cubicBezTo>
                  <a:pt x="3447" y="311"/>
                  <a:pt x="3253" y="488"/>
                  <a:pt x="3098" y="713"/>
                </a:cubicBezTo>
                <a:cubicBezTo>
                  <a:pt x="2948" y="933"/>
                  <a:pt x="2834" y="1198"/>
                  <a:pt x="2759" y="1501"/>
                </a:cubicBezTo>
                <a:cubicBezTo>
                  <a:pt x="2687" y="1796"/>
                  <a:pt x="2650" y="2131"/>
                  <a:pt x="2650" y="2495"/>
                </a:cubicBezTo>
                <a:lnTo>
                  <a:pt x="2650" y="4135"/>
                </a:lnTo>
                <a:cubicBezTo>
                  <a:pt x="2650" y="4241"/>
                  <a:pt x="2736" y="4326"/>
                  <a:pt x="2841" y="4326"/>
                </a:cubicBezTo>
                <a:lnTo>
                  <a:pt x="4464" y="4326"/>
                </a:lnTo>
                <a:cubicBezTo>
                  <a:pt x="4569" y="4326"/>
                  <a:pt x="4654" y="4241"/>
                  <a:pt x="4654" y="4135"/>
                </a:cubicBezTo>
                <a:lnTo>
                  <a:pt x="4654" y="2495"/>
                </a:lnTo>
                <a:cubicBezTo>
                  <a:pt x="4654" y="2390"/>
                  <a:pt x="4569" y="2305"/>
                  <a:pt x="4464" y="2305"/>
                </a:cubicBezTo>
                <a:lnTo>
                  <a:pt x="3864" y="2305"/>
                </a:lnTo>
                <a:cubicBezTo>
                  <a:pt x="3892" y="1544"/>
                  <a:pt x="4093" y="1158"/>
                  <a:pt x="4464" y="1158"/>
                </a:cubicBezTo>
                <a:close/>
              </a:path>
            </a:pathLst>
          </a:custGeom>
          <a:solidFill>
            <a:schemeClr val="bg1">
              <a:lumMod val="75000"/>
              <a:alpha val="89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8" name="文本占位符 8"/>
          <p:cNvSpPr>
            <a:spLocks noGrp="1"/>
          </p:cNvSpPr>
          <p:nvPr>
            <p:ph type="body" sz="quarter" idx="42" hasCustomPrompt="1"/>
          </p:nvPr>
        </p:nvSpPr>
        <p:spPr>
          <a:xfrm>
            <a:off x="4737589" y="4156029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89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4737589" y="4941481"/>
            <a:ext cx="6522547" cy="20476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90" name="文本占位符 9"/>
          <p:cNvSpPr>
            <a:spLocks noGrp="1"/>
          </p:cNvSpPr>
          <p:nvPr>
            <p:ph type="body" sz="quarter" idx="44" hasCustomPrompt="1"/>
          </p:nvPr>
        </p:nvSpPr>
        <p:spPr>
          <a:xfrm>
            <a:off x="2499916" y="4615638"/>
            <a:ext cx="1085974" cy="1057275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91" name="Rectangle 57"/>
          <p:cNvSpPr/>
          <p:nvPr userDrawn="1"/>
        </p:nvSpPr>
        <p:spPr>
          <a:xfrm>
            <a:off x="15391457" y="7836685"/>
            <a:ext cx="948101" cy="2077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19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456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653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84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109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306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5025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56990" algn="l" defTabSz="96456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0" dirty="0">
                <a:solidFill>
                  <a:schemeClr val="bg1"/>
                </a:solidFill>
                <a:latin typeface="印品黑体" panose="00000500000000000000" pitchFamily="2" charset="-122"/>
                <a:ea typeface="印品黑体" panose="00000500000000000000" pitchFamily="2" charset="-122"/>
                <a:cs typeface="Open Sans" pitchFamily="34" charset="0"/>
                <a:sym typeface="Arial" panose="020B0604020202020204" pitchFamily="34" charset="0"/>
              </a:rPr>
              <a:t>“</a:t>
            </a:r>
            <a:endParaRPr lang="en-US" sz="13500" dirty="0">
              <a:solidFill>
                <a:schemeClr val="bg1"/>
              </a:solidFill>
              <a:latin typeface="印品黑体" panose="00000500000000000000" pitchFamily="2" charset="-122"/>
              <a:ea typeface="印品黑体" panose="00000500000000000000" pitchFamily="2" charset="-122"/>
              <a:cs typeface="Open Sans Light" pitchFamily="34" charset="0"/>
              <a:sym typeface="Arial" panose="020B0604020202020204" pitchFamily="34" charset="0"/>
            </a:endParaRPr>
          </a:p>
        </p:txBody>
      </p:sp>
      <p:sp>
        <p:nvSpPr>
          <p:cNvPr id="194" name="quotation-mark_32371"/>
          <p:cNvSpPr>
            <a:spLocks noChangeAspect="1"/>
          </p:cNvSpPr>
          <p:nvPr userDrawn="1"/>
        </p:nvSpPr>
        <p:spPr bwMode="auto">
          <a:xfrm>
            <a:off x="15541048" y="8165876"/>
            <a:ext cx="588552" cy="546315"/>
          </a:xfrm>
          <a:custGeom>
            <a:avLst/>
            <a:gdLst>
              <a:gd name="T0" fmla="*/ 2004 w 4654"/>
              <a:gd name="T1" fmla="*/ 191 h 4326"/>
              <a:gd name="T2" fmla="*/ 2004 w 4654"/>
              <a:gd name="T3" fmla="*/ 968 h 4326"/>
              <a:gd name="T4" fmla="*/ 1813 w 4654"/>
              <a:gd name="T5" fmla="*/ 1158 h 4326"/>
              <a:gd name="T6" fmla="*/ 1205 w 4654"/>
              <a:gd name="T7" fmla="*/ 2305 h 4326"/>
              <a:gd name="T8" fmla="*/ 1813 w 4654"/>
              <a:gd name="T9" fmla="*/ 2305 h 4326"/>
              <a:gd name="T10" fmla="*/ 2004 w 4654"/>
              <a:gd name="T11" fmla="*/ 2495 h 4326"/>
              <a:gd name="T12" fmla="*/ 2004 w 4654"/>
              <a:gd name="T13" fmla="*/ 4135 h 4326"/>
              <a:gd name="T14" fmla="*/ 1813 w 4654"/>
              <a:gd name="T15" fmla="*/ 4326 h 4326"/>
              <a:gd name="T16" fmla="*/ 191 w 4654"/>
              <a:gd name="T17" fmla="*/ 4326 h 4326"/>
              <a:gd name="T18" fmla="*/ 0 w 4654"/>
              <a:gd name="T19" fmla="*/ 4135 h 4326"/>
              <a:gd name="T20" fmla="*/ 0 w 4654"/>
              <a:gd name="T21" fmla="*/ 2495 h 4326"/>
              <a:gd name="T22" fmla="*/ 109 w 4654"/>
              <a:gd name="T23" fmla="*/ 1501 h 4326"/>
              <a:gd name="T24" fmla="*/ 448 w 4654"/>
              <a:gd name="T25" fmla="*/ 713 h 4326"/>
              <a:gd name="T26" fmla="*/ 1023 w 4654"/>
              <a:gd name="T27" fmla="*/ 187 h 4326"/>
              <a:gd name="T28" fmla="*/ 1813 w 4654"/>
              <a:gd name="T29" fmla="*/ 0 h 4326"/>
              <a:gd name="T30" fmla="*/ 2004 w 4654"/>
              <a:gd name="T31" fmla="*/ 191 h 4326"/>
              <a:gd name="T32" fmla="*/ 4464 w 4654"/>
              <a:gd name="T33" fmla="*/ 1158 h 4326"/>
              <a:gd name="T34" fmla="*/ 4654 w 4654"/>
              <a:gd name="T35" fmla="*/ 968 h 4326"/>
              <a:gd name="T36" fmla="*/ 4654 w 4654"/>
              <a:gd name="T37" fmla="*/ 191 h 4326"/>
              <a:gd name="T38" fmla="*/ 4464 w 4654"/>
              <a:gd name="T39" fmla="*/ 0 h 4326"/>
              <a:gd name="T40" fmla="*/ 3674 w 4654"/>
              <a:gd name="T41" fmla="*/ 187 h 4326"/>
              <a:gd name="T42" fmla="*/ 3098 w 4654"/>
              <a:gd name="T43" fmla="*/ 713 h 4326"/>
              <a:gd name="T44" fmla="*/ 2759 w 4654"/>
              <a:gd name="T45" fmla="*/ 1501 h 4326"/>
              <a:gd name="T46" fmla="*/ 2650 w 4654"/>
              <a:gd name="T47" fmla="*/ 2495 h 4326"/>
              <a:gd name="T48" fmla="*/ 2650 w 4654"/>
              <a:gd name="T49" fmla="*/ 4135 h 4326"/>
              <a:gd name="T50" fmla="*/ 2841 w 4654"/>
              <a:gd name="T51" fmla="*/ 4326 h 4326"/>
              <a:gd name="T52" fmla="*/ 4464 w 4654"/>
              <a:gd name="T53" fmla="*/ 4326 h 4326"/>
              <a:gd name="T54" fmla="*/ 4654 w 4654"/>
              <a:gd name="T55" fmla="*/ 4135 h 4326"/>
              <a:gd name="T56" fmla="*/ 4654 w 4654"/>
              <a:gd name="T57" fmla="*/ 2495 h 4326"/>
              <a:gd name="T58" fmla="*/ 4464 w 4654"/>
              <a:gd name="T59" fmla="*/ 2305 h 4326"/>
              <a:gd name="T60" fmla="*/ 3864 w 4654"/>
              <a:gd name="T61" fmla="*/ 2305 h 4326"/>
              <a:gd name="T62" fmla="*/ 4464 w 4654"/>
              <a:gd name="T63" fmla="*/ 1158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4" h="4326">
                <a:moveTo>
                  <a:pt x="2004" y="191"/>
                </a:moveTo>
                <a:lnTo>
                  <a:pt x="2004" y="968"/>
                </a:lnTo>
                <a:cubicBezTo>
                  <a:pt x="2004" y="1073"/>
                  <a:pt x="1919" y="1158"/>
                  <a:pt x="1813" y="1158"/>
                </a:cubicBezTo>
                <a:cubicBezTo>
                  <a:pt x="1437" y="1158"/>
                  <a:pt x="1233" y="1544"/>
                  <a:pt x="1205" y="2305"/>
                </a:cubicBezTo>
                <a:lnTo>
                  <a:pt x="1813" y="2305"/>
                </a:lnTo>
                <a:cubicBezTo>
                  <a:pt x="1919" y="2305"/>
                  <a:pt x="2004" y="2390"/>
                  <a:pt x="2004" y="2495"/>
                </a:cubicBezTo>
                <a:lnTo>
                  <a:pt x="2004" y="4135"/>
                </a:lnTo>
                <a:cubicBezTo>
                  <a:pt x="2004" y="4241"/>
                  <a:pt x="1919" y="4326"/>
                  <a:pt x="1813" y="4326"/>
                </a:cubicBezTo>
                <a:lnTo>
                  <a:pt x="191" y="4326"/>
                </a:lnTo>
                <a:cubicBezTo>
                  <a:pt x="85" y="4326"/>
                  <a:pt x="0" y="4241"/>
                  <a:pt x="0" y="4135"/>
                </a:cubicBezTo>
                <a:lnTo>
                  <a:pt x="0" y="2495"/>
                </a:lnTo>
                <a:cubicBezTo>
                  <a:pt x="0" y="2131"/>
                  <a:pt x="37" y="1796"/>
                  <a:pt x="109" y="1501"/>
                </a:cubicBezTo>
                <a:cubicBezTo>
                  <a:pt x="183" y="1198"/>
                  <a:pt x="297" y="933"/>
                  <a:pt x="448" y="713"/>
                </a:cubicBezTo>
                <a:cubicBezTo>
                  <a:pt x="602" y="488"/>
                  <a:pt x="796" y="311"/>
                  <a:pt x="1023" y="187"/>
                </a:cubicBezTo>
                <a:cubicBezTo>
                  <a:pt x="1252" y="63"/>
                  <a:pt x="1518" y="0"/>
                  <a:pt x="1813" y="0"/>
                </a:cubicBezTo>
                <a:cubicBezTo>
                  <a:pt x="1919" y="0"/>
                  <a:pt x="2004" y="86"/>
                  <a:pt x="2004" y="191"/>
                </a:cubicBezTo>
                <a:close/>
                <a:moveTo>
                  <a:pt x="4464" y="1158"/>
                </a:moveTo>
                <a:cubicBezTo>
                  <a:pt x="4569" y="1158"/>
                  <a:pt x="4654" y="1073"/>
                  <a:pt x="4654" y="968"/>
                </a:cubicBezTo>
                <a:lnTo>
                  <a:pt x="4654" y="191"/>
                </a:lnTo>
                <a:cubicBezTo>
                  <a:pt x="4654" y="86"/>
                  <a:pt x="4569" y="0"/>
                  <a:pt x="4464" y="0"/>
                </a:cubicBezTo>
                <a:cubicBezTo>
                  <a:pt x="4168" y="0"/>
                  <a:pt x="3902" y="63"/>
                  <a:pt x="3674" y="187"/>
                </a:cubicBezTo>
                <a:cubicBezTo>
                  <a:pt x="3447" y="311"/>
                  <a:pt x="3253" y="488"/>
                  <a:pt x="3098" y="713"/>
                </a:cubicBezTo>
                <a:cubicBezTo>
                  <a:pt x="2948" y="933"/>
                  <a:pt x="2834" y="1198"/>
                  <a:pt x="2759" y="1501"/>
                </a:cubicBezTo>
                <a:cubicBezTo>
                  <a:pt x="2687" y="1796"/>
                  <a:pt x="2650" y="2131"/>
                  <a:pt x="2650" y="2495"/>
                </a:cubicBezTo>
                <a:lnTo>
                  <a:pt x="2650" y="4135"/>
                </a:lnTo>
                <a:cubicBezTo>
                  <a:pt x="2650" y="4241"/>
                  <a:pt x="2736" y="4326"/>
                  <a:pt x="2841" y="4326"/>
                </a:cubicBezTo>
                <a:lnTo>
                  <a:pt x="4464" y="4326"/>
                </a:lnTo>
                <a:cubicBezTo>
                  <a:pt x="4569" y="4326"/>
                  <a:pt x="4654" y="4241"/>
                  <a:pt x="4654" y="4135"/>
                </a:cubicBezTo>
                <a:lnTo>
                  <a:pt x="4654" y="2495"/>
                </a:lnTo>
                <a:cubicBezTo>
                  <a:pt x="4654" y="2390"/>
                  <a:pt x="4569" y="2305"/>
                  <a:pt x="4464" y="2305"/>
                </a:cubicBezTo>
                <a:lnTo>
                  <a:pt x="3864" y="2305"/>
                </a:lnTo>
                <a:cubicBezTo>
                  <a:pt x="3892" y="1544"/>
                  <a:pt x="4093" y="1158"/>
                  <a:pt x="4464" y="1158"/>
                </a:cubicBezTo>
                <a:close/>
              </a:path>
            </a:pathLst>
          </a:custGeom>
          <a:solidFill>
            <a:schemeClr val="bg1">
              <a:lumMod val="75000"/>
              <a:alpha val="89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5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5541048" y="9041382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96" name="文本占位符 8"/>
          <p:cNvSpPr>
            <a:spLocks noGrp="1"/>
          </p:cNvSpPr>
          <p:nvPr>
            <p:ph type="body" sz="quarter" idx="48" hasCustomPrompt="1"/>
          </p:nvPr>
        </p:nvSpPr>
        <p:spPr>
          <a:xfrm>
            <a:off x="15541048" y="9826834"/>
            <a:ext cx="6522547" cy="20476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97" name="文本占位符 9"/>
          <p:cNvSpPr>
            <a:spLocks noGrp="1"/>
          </p:cNvSpPr>
          <p:nvPr>
            <p:ph type="body" sz="quarter" idx="49" hasCustomPrompt="1"/>
          </p:nvPr>
        </p:nvSpPr>
        <p:spPr>
          <a:xfrm>
            <a:off x="13303375" y="9500991"/>
            <a:ext cx="1085974" cy="1057275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类时间轴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直接连接符 40"/>
          <p:cNvCxnSpPr>
            <a:endCxn id="42" idx="0"/>
          </p:cNvCxnSpPr>
          <p:nvPr userDrawn="1"/>
        </p:nvCxnSpPr>
        <p:spPr>
          <a:xfrm>
            <a:off x="2903903" y="7646422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菱形 41"/>
          <p:cNvSpPr/>
          <p:nvPr userDrawn="1"/>
        </p:nvSpPr>
        <p:spPr>
          <a:xfrm>
            <a:off x="2792778" y="8785051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45" name="直接连接符 44"/>
          <p:cNvCxnSpPr>
            <a:endCxn id="46" idx="0"/>
          </p:cNvCxnSpPr>
          <p:nvPr userDrawn="1"/>
        </p:nvCxnSpPr>
        <p:spPr>
          <a:xfrm flipV="1">
            <a:off x="9604490" y="3706649"/>
            <a:ext cx="0" cy="2702324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菱形 45"/>
          <p:cNvSpPr/>
          <p:nvPr userDrawn="1"/>
        </p:nvSpPr>
        <p:spPr>
          <a:xfrm rot="10800000">
            <a:off x="9493365" y="3484399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" name="任意多边形: 形状 46"/>
          <p:cNvSpPr>
            <a:spLocks noChangeAspect="1"/>
          </p:cNvSpPr>
          <p:nvPr userDrawn="1"/>
        </p:nvSpPr>
        <p:spPr>
          <a:xfrm>
            <a:off x="1831237" y="6435662"/>
            <a:ext cx="68208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8" name="任意多边形: 形状 67"/>
          <p:cNvSpPr>
            <a:spLocks noChangeAspect="1"/>
          </p:cNvSpPr>
          <p:nvPr userDrawn="1"/>
        </p:nvSpPr>
        <p:spPr>
          <a:xfrm>
            <a:off x="8384339" y="6408973"/>
            <a:ext cx="68208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71" name="直接连接符 70"/>
          <p:cNvCxnSpPr>
            <a:endCxn id="72" idx="0"/>
          </p:cNvCxnSpPr>
          <p:nvPr userDrawn="1"/>
        </p:nvCxnSpPr>
        <p:spPr>
          <a:xfrm>
            <a:off x="16010107" y="7619733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菱形 71"/>
          <p:cNvSpPr/>
          <p:nvPr userDrawn="1"/>
        </p:nvSpPr>
        <p:spPr>
          <a:xfrm>
            <a:off x="15898982" y="8758362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5" name="任意多边形: 形状 74"/>
          <p:cNvSpPr>
            <a:spLocks noChangeAspect="1"/>
          </p:cNvSpPr>
          <p:nvPr userDrawn="1"/>
        </p:nvSpPr>
        <p:spPr>
          <a:xfrm>
            <a:off x="14937441" y="6408973"/>
            <a:ext cx="68208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3144118" y="9423464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9826740" y="4090035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26"/>
          </p:nvPr>
        </p:nvSpPr>
        <p:spPr>
          <a:xfrm>
            <a:off x="16177112" y="9423464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27" hasCustomPrompt="1"/>
          </p:nvPr>
        </p:nvSpPr>
        <p:spPr>
          <a:xfrm>
            <a:off x="3120138" y="8484922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7" name="文本占位符 8"/>
          <p:cNvSpPr>
            <a:spLocks noGrp="1"/>
          </p:cNvSpPr>
          <p:nvPr>
            <p:ph type="body" sz="quarter" idx="28" hasCustomPrompt="1"/>
          </p:nvPr>
        </p:nvSpPr>
        <p:spPr>
          <a:xfrm>
            <a:off x="9826740" y="3132515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9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6172665" y="8449777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>
            <p:ph type="body" sz="quarter" idx="30" hasCustomPrompt="1"/>
          </p:nvPr>
        </p:nvSpPr>
        <p:spPr>
          <a:xfrm>
            <a:off x="2766025" y="6514644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2" name="文本占位符 8"/>
          <p:cNvSpPr>
            <a:spLocks noGrp="1"/>
          </p:cNvSpPr>
          <p:nvPr>
            <p:ph type="body" sz="quarter" idx="31" hasCustomPrompt="1"/>
          </p:nvPr>
        </p:nvSpPr>
        <p:spPr>
          <a:xfrm>
            <a:off x="9515888" y="6513970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3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5856411" y="6490833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4" name="平行四边形 93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3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25" name="文本占位符 6"/>
          <p:cNvSpPr>
            <a:spLocks noGrp="1"/>
          </p:cNvSpPr>
          <p:nvPr>
            <p:ph type="body" sz="quarter" idx="33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时间轴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直接连接符 40"/>
          <p:cNvCxnSpPr>
            <a:endCxn id="42" idx="0"/>
          </p:cNvCxnSpPr>
          <p:nvPr userDrawn="1"/>
        </p:nvCxnSpPr>
        <p:spPr>
          <a:xfrm>
            <a:off x="1871517" y="7669868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菱形 41"/>
          <p:cNvSpPr/>
          <p:nvPr userDrawn="1"/>
        </p:nvSpPr>
        <p:spPr>
          <a:xfrm>
            <a:off x="1760392" y="8808497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45" name="直接连接符 44"/>
          <p:cNvCxnSpPr>
            <a:endCxn id="46" idx="0"/>
          </p:cNvCxnSpPr>
          <p:nvPr userDrawn="1"/>
        </p:nvCxnSpPr>
        <p:spPr>
          <a:xfrm flipV="1">
            <a:off x="7335574" y="3650818"/>
            <a:ext cx="0" cy="2702324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菱形 45"/>
          <p:cNvSpPr/>
          <p:nvPr userDrawn="1"/>
        </p:nvSpPr>
        <p:spPr>
          <a:xfrm rot="10800000">
            <a:off x="7224449" y="3428568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" name="任意多边形: 形状 46"/>
          <p:cNvSpPr>
            <a:spLocks noChangeAspect="1"/>
          </p:cNvSpPr>
          <p:nvPr userDrawn="1"/>
        </p:nvSpPr>
        <p:spPr>
          <a:xfrm>
            <a:off x="916839" y="6459108"/>
            <a:ext cx="5689296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2111732" y="9446910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7557824" y="4034204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27" hasCustomPrompt="1"/>
          </p:nvPr>
        </p:nvSpPr>
        <p:spPr>
          <a:xfrm>
            <a:off x="2087752" y="8508368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7" name="文本占位符 8"/>
          <p:cNvSpPr>
            <a:spLocks noGrp="1"/>
          </p:cNvSpPr>
          <p:nvPr>
            <p:ph type="body" sz="quarter" idx="28" hasCustomPrompt="1"/>
          </p:nvPr>
        </p:nvSpPr>
        <p:spPr>
          <a:xfrm>
            <a:off x="7557824" y="3076684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>
            <p:ph type="body" sz="quarter" idx="30" hasCustomPrompt="1"/>
          </p:nvPr>
        </p:nvSpPr>
        <p:spPr>
          <a:xfrm>
            <a:off x="1851627" y="6567587"/>
            <a:ext cx="366427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25" name="任意多边形: 形状 24"/>
          <p:cNvSpPr>
            <a:spLocks noChangeAspect="1"/>
          </p:cNvSpPr>
          <p:nvPr userDrawn="1"/>
        </p:nvSpPr>
        <p:spPr>
          <a:xfrm>
            <a:off x="6378152" y="6459108"/>
            <a:ext cx="5689296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8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7312940" y="6567587"/>
            <a:ext cx="366427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cxnSp>
        <p:nvCxnSpPr>
          <p:cNvPr id="29" name="直接连接符 28"/>
          <p:cNvCxnSpPr>
            <a:endCxn id="30" idx="0"/>
          </p:cNvCxnSpPr>
          <p:nvPr userDrawn="1"/>
        </p:nvCxnSpPr>
        <p:spPr>
          <a:xfrm>
            <a:off x="12794142" y="7643179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菱形 29"/>
          <p:cNvSpPr/>
          <p:nvPr userDrawn="1"/>
        </p:nvSpPr>
        <p:spPr>
          <a:xfrm>
            <a:off x="12683017" y="8781808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1" name="任意多边形: 形状 30"/>
          <p:cNvSpPr>
            <a:spLocks noChangeAspect="1"/>
          </p:cNvSpPr>
          <p:nvPr userDrawn="1"/>
        </p:nvSpPr>
        <p:spPr>
          <a:xfrm>
            <a:off x="11839464" y="6432419"/>
            <a:ext cx="5689296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文本占位符 8"/>
          <p:cNvSpPr>
            <a:spLocks noGrp="1"/>
          </p:cNvSpPr>
          <p:nvPr>
            <p:ph type="body" sz="quarter" idx="34"/>
          </p:nvPr>
        </p:nvSpPr>
        <p:spPr>
          <a:xfrm>
            <a:off x="13034357" y="9420221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33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3010377" y="8481679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34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2774252" y="6540898"/>
            <a:ext cx="366427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37" name="任意多边形: 形状 36"/>
          <p:cNvSpPr>
            <a:spLocks noChangeAspect="1"/>
          </p:cNvSpPr>
          <p:nvPr userDrawn="1"/>
        </p:nvSpPr>
        <p:spPr>
          <a:xfrm>
            <a:off x="17276796" y="6432419"/>
            <a:ext cx="5689296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0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8211584" y="6540898"/>
            <a:ext cx="366427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cxnSp>
        <p:nvCxnSpPr>
          <p:cNvPr id="43" name="直接连接符 42"/>
          <p:cNvCxnSpPr>
            <a:endCxn id="44" idx="0"/>
          </p:cNvCxnSpPr>
          <p:nvPr userDrawn="1"/>
        </p:nvCxnSpPr>
        <p:spPr>
          <a:xfrm flipV="1">
            <a:off x="18186090" y="3654974"/>
            <a:ext cx="0" cy="2702324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菱形 43"/>
          <p:cNvSpPr/>
          <p:nvPr userDrawn="1"/>
        </p:nvSpPr>
        <p:spPr>
          <a:xfrm rot="10800000">
            <a:off x="18074965" y="3432724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8" name="文本占位符 8"/>
          <p:cNvSpPr>
            <a:spLocks noGrp="1"/>
          </p:cNvSpPr>
          <p:nvPr>
            <p:ph type="body" sz="quarter" idx="40"/>
          </p:nvPr>
        </p:nvSpPr>
        <p:spPr>
          <a:xfrm>
            <a:off x="18408340" y="4038360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9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8408340" y="3080840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50" name="平行四边形 49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6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42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类时间轴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直接连接符 40"/>
          <p:cNvCxnSpPr>
            <a:endCxn id="42" idx="0"/>
          </p:cNvCxnSpPr>
          <p:nvPr userDrawn="1"/>
        </p:nvCxnSpPr>
        <p:spPr>
          <a:xfrm>
            <a:off x="1266215" y="7663817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菱形 41"/>
          <p:cNvSpPr/>
          <p:nvPr userDrawn="1"/>
        </p:nvSpPr>
        <p:spPr>
          <a:xfrm>
            <a:off x="1155090" y="8802446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45" name="直接连接符 44"/>
          <p:cNvCxnSpPr>
            <a:endCxn id="46" idx="0"/>
          </p:cNvCxnSpPr>
          <p:nvPr userDrawn="1"/>
        </p:nvCxnSpPr>
        <p:spPr>
          <a:xfrm flipV="1">
            <a:off x="5625372" y="3644767"/>
            <a:ext cx="0" cy="2702324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菱形 45"/>
          <p:cNvSpPr/>
          <p:nvPr userDrawn="1"/>
        </p:nvSpPr>
        <p:spPr>
          <a:xfrm rot="10800000">
            <a:off x="5514247" y="3422517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" name="任意多边形: 形状 46"/>
          <p:cNvSpPr>
            <a:spLocks noChangeAspect="1"/>
          </p:cNvSpPr>
          <p:nvPr userDrawn="1"/>
        </p:nvSpPr>
        <p:spPr>
          <a:xfrm>
            <a:off x="292487" y="6453057"/>
            <a:ext cx="45577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1506430" y="9440859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25"/>
          </p:nvPr>
        </p:nvSpPr>
        <p:spPr>
          <a:xfrm>
            <a:off x="5847622" y="4028153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27" hasCustomPrompt="1"/>
          </p:nvPr>
        </p:nvSpPr>
        <p:spPr>
          <a:xfrm>
            <a:off x="1482450" y="8502317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7" name="文本占位符 8"/>
          <p:cNvSpPr>
            <a:spLocks noGrp="1"/>
          </p:cNvSpPr>
          <p:nvPr>
            <p:ph type="body" sz="quarter" idx="28" hasCustomPrompt="1"/>
          </p:nvPr>
        </p:nvSpPr>
        <p:spPr>
          <a:xfrm>
            <a:off x="5847622" y="3070633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>
            <p:ph type="body" sz="quarter" idx="30" hasCustomPrompt="1"/>
          </p:nvPr>
        </p:nvSpPr>
        <p:spPr>
          <a:xfrm>
            <a:off x="1227275" y="6561536"/>
            <a:ext cx="3074334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cxnSp>
        <p:nvCxnSpPr>
          <p:cNvPr id="29" name="直接连接符 28"/>
          <p:cNvCxnSpPr>
            <a:endCxn id="30" idx="0"/>
          </p:cNvCxnSpPr>
          <p:nvPr userDrawn="1"/>
        </p:nvCxnSpPr>
        <p:spPr>
          <a:xfrm>
            <a:off x="9959990" y="7637128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菱形 29"/>
          <p:cNvSpPr/>
          <p:nvPr userDrawn="1"/>
        </p:nvSpPr>
        <p:spPr>
          <a:xfrm>
            <a:off x="9848865" y="8775757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文本占位符 8"/>
          <p:cNvSpPr>
            <a:spLocks noGrp="1"/>
          </p:cNvSpPr>
          <p:nvPr>
            <p:ph type="body" sz="quarter" idx="34"/>
          </p:nvPr>
        </p:nvSpPr>
        <p:spPr>
          <a:xfrm>
            <a:off x="10200205" y="9414170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33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0176225" y="8475628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cxnSp>
        <p:nvCxnSpPr>
          <p:cNvPr id="43" name="直接连接符 42"/>
          <p:cNvCxnSpPr>
            <a:endCxn id="44" idx="0"/>
          </p:cNvCxnSpPr>
          <p:nvPr userDrawn="1"/>
        </p:nvCxnSpPr>
        <p:spPr>
          <a:xfrm flipV="1">
            <a:off x="14323238" y="3648923"/>
            <a:ext cx="0" cy="2702324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菱形 43"/>
          <p:cNvSpPr/>
          <p:nvPr userDrawn="1"/>
        </p:nvSpPr>
        <p:spPr>
          <a:xfrm rot="10800000">
            <a:off x="14212113" y="3426673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8" name="文本占位符 8"/>
          <p:cNvSpPr>
            <a:spLocks noGrp="1"/>
          </p:cNvSpPr>
          <p:nvPr>
            <p:ph type="body" sz="quarter" idx="40"/>
          </p:nvPr>
        </p:nvSpPr>
        <p:spPr>
          <a:xfrm>
            <a:off x="14545488" y="4032309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9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4545488" y="3074789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35" name="任意多边形: 形状 34"/>
          <p:cNvSpPr>
            <a:spLocks noChangeAspect="1"/>
          </p:cNvSpPr>
          <p:nvPr userDrawn="1"/>
        </p:nvSpPr>
        <p:spPr>
          <a:xfrm>
            <a:off x="4654597" y="6453057"/>
            <a:ext cx="45577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文本占位符 8"/>
          <p:cNvSpPr>
            <a:spLocks noGrp="1"/>
          </p:cNvSpPr>
          <p:nvPr>
            <p:ph type="body" sz="quarter" idx="42" hasCustomPrompt="1"/>
          </p:nvPr>
        </p:nvSpPr>
        <p:spPr>
          <a:xfrm>
            <a:off x="5589385" y="6561536"/>
            <a:ext cx="3074334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38" name="任意多边形: 形状 37"/>
          <p:cNvSpPr>
            <a:spLocks noChangeAspect="1"/>
          </p:cNvSpPr>
          <p:nvPr userDrawn="1"/>
        </p:nvSpPr>
        <p:spPr>
          <a:xfrm>
            <a:off x="9016707" y="6453057"/>
            <a:ext cx="45577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9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9951495" y="6561536"/>
            <a:ext cx="3074334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50" name="任意多边形: 形状 49"/>
          <p:cNvSpPr>
            <a:spLocks noChangeAspect="1"/>
          </p:cNvSpPr>
          <p:nvPr userDrawn="1"/>
        </p:nvSpPr>
        <p:spPr>
          <a:xfrm>
            <a:off x="13378817" y="6469347"/>
            <a:ext cx="45577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1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14313605" y="6577826"/>
            <a:ext cx="3074334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52" name="任意多边形: 形状 51"/>
          <p:cNvSpPr>
            <a:spLocks noChangeAspect="1"/>
          </p:cNvSpPr>
          <p:nvPr userDrawn="1"/>
        </p:nvSpPr>
        <p:spPr>
          <a:xfrm>
            <a:off x="17755140" y="6469347"/>
            <a:ext cx="4557750" cy="1061670"/>
          </a:xfrm>
          <a:custGeom>
            <a:avLst/>
            <a:gdLst>
              <a:gd name="connsiteX0" fmla="*/ 3420428 w 3708400"/>
              <a:gd name="connsiteY0" fmla="*/ 0 h 577215"/>
              <a:gd name="connsiteX1" fmla="*/ 3708400 w 3708400"/>
              <a:gd name="connsiteY1" fmla="*/ 287973 h 577215"/>
              <a:gd name="connsiteX2" fmla="*/ 3420428 w 3708400"/>
              <a:gd name="connsiteY2" fmla="*/ 575945 h 577215"/>
              <a:gd name="connsiteX3" fmla="*/ 3420110 w 3708400"/>
              <a:gd name="connsiteY3" fmla="*/ 575627 h 577215"/>
              <a:gd name="connsiteX4" fmla="*/ 3420110 w 3708400"/>
              <a:gd name="connsiteY4" fmla="*/ 577215 h 577215"/>
              <a:gd name="connsiteX5" fmla="*/ 298450 w 3708400"/>
              <a:gd name="connsiteY5" fmla="*/ 577215 h 577215"/>
              <a:gd name="connsiteX6" fmla="*/ 298450 w 3708400"/>
              <a:gd name="connsiteY6" fmla="*/ 576580 h 577215"/>
              <a:gd name="connsiteX7" fmla="*/ 0 w 3708400"/>
              <a:gd name="connsiteY7" fmla="*/ 576580 h 577215"/>
              <a:gd name="connsiteX8" fmla="*/ 288043 w 3708400"/>
              <a:gd name="connsiteY8" fmla="*/ 288608 h 577215"/>
              <a:gd name="connsiteX9" fmla="*/ 0 w 3708400"/>
              <a:gd name="connsiteY9" fmla="*/ 635 h 577215"/>
              <a:gd name="connsiteX10" fmla="*/ 344805 w 3708400"/>
              <a:gd name="connsiteY10" fmla="*/ 635 h 577215"/>
              <a:gd name="connsiteX11" fmla="*/ 344805 w 3708400"/>
              <a:gd name="connsiteY11" fmla="*/ 1270 h 577215"/>
              <a:gd name="connsiteX12" fmla="*/ 3419158 w 3708400"/>
              <a:gd name="connsiteY12" fmla="*/ 1270 h 57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08400" h="577215">
                <a:moveTo>
                  <a:pt x="3420428" y="0"/>
                </a:moveTo>
                <a:lnTo>
                  <a:pt x="3708400" y="287973"/>
                </a:lnTo>
                <a:lnTo>
                  <a:pt x="3420428" y="575945"/>
                </a:lnTo>
                <a:lnTo>
                  <a:pt x="3420110" y="575627"/>
                </a:lnTo>
                <a:lnTo>
                  <a:pt x="3420110" y="577215"/>
                </a:lnTo>
                <a:lnTo>
                  <a:pt x="298450" y="577215"/>
                </a:lnTo>
                <a:lnTo>
                  <a:pt x="298450" y="576580"/>
                </a:lnTo>
                <a:lnTo>
                  <a:pt x="0" y="576580"/>
                </a:lnTo>
                <a:lnTo>
                  <a:pt x="288043" y="288608"/>
                </a:lnTo>
                <a:lnTo>
                  <a:pt x="0" y="635"/>
                </a:lnTo>
                <a:lnTo>
                  <a:pt x="344805" y="635"/>
                </a:lnTo>
                <a:lnTo>
                  <a:pt x="344805" y="1270"/>
                </a:lnTo>
                <a:lnTo>
                  <a:pt x="3419158" y="12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3" name="文本占位符 8"/>
          <p:cNvSpPr>
            <a:spLocks noGrp="1"/>
          </p:cNvSpPr>
          <p:nvPr>
            <p:ph type="body" sz="quarter" idx="45" hasCustomPrompt="1"/>
          </p:nvPr>
        </p:nvSpPr>
        <p:spPr>
          <a:xfrm>
            <a:off x="18689928" y="6577826"/>
            <a:ext cx="3074334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5</a:t>
            </a:r>
            <a:endParaRPr lang="zh-CN" altLang="en-US" dirty="0"/>
          </a:p>
        </p:txBody>
      </p:sp>
      <p:cxnSp>
        <p:nvCxnSpPr>
          <p:cNvPr id="54" name="直接连接符 53"/>
          <p:cNvCxnSpPr>
            <a:endCxn id="55" idx="0"/>
          </p:cNvCxnSpPr>
          <p:nvPr userDrawn="1"/>
        </p:nvCxnSpPr>
        <p:spPr>
          <a:xfrm>
            <a:off x="18677745" y="7663817"/>
            <a:ext cx="0" cy="1138629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菱形 54"/>
          <p:cNvSpPr/>
          <p:nvPr userDrawn="1"/>
        </p:nvSpPr>
        <p:spPr>
          <a:xfrm>
            <a:off x="18566620" y="8802446"/>
            <a:ext cx="222250" cy="2222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46"/>
          </p:nvPr>
        </p:nvSpPr>
        <p:spPr>
          <a:xfrm>
            <a:off x="18917960" y="9440859"/>
            <a:ext cx="4557752" cy="2059544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7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8893980" y="8502317"/>
            <a:ext cx="4557752" cy="83942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58" name="平行四边形 57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40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59" name="文本占位符 6"/>
          <p:cNvSpPr>
            <a:spLocks noGrp="1"/>
          </p:cNvSpPr>
          <p:nvPr>
            <p:ph type="body" sz="quarter" idx="48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-五标题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平行四边形 4"/>
          <p:cNvSpPr/>
          <p:nvPr userDrawn="1"/>
        </p:nvSpPr>
        <p:spPr>
          <a:xfrm>
            <a:off x="-6759" y="2715895"/>
            <a:ext cx="19502551" cy="10963593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6" name="平行四边形 5"/>
          <p:cNvSpPr/>
          <p:nvPr userDrawn="1"/>
        </p:nvSpPr>
        <p:spPr>
          <a:xfrm>
            <a:off x="532602" y="2908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7049893" y="5191265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sp>
        <p:nvSpPr>
          <p:cNvPr id="9" name="文本框 8"/>
          <p:cNvSpPr txBox="1"/>
          <p:nvPr userDrawn="1"/>
        </p:nvSpPr>
        <p:spPr>
          <a:xfrm>
            <a:off x="1275941" y="962610"/>
            <a:ext cx="5848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/>
              <a:t>目录</a:t>
            </a:r>
            <a:endParaRPr lang="zh-CN" altLang="en-US" sz="8000" dirty="0"/>
          </a:p>
        </p:txBody>
      </p:sp>
      <p:sp>
        <p:nvSpPr>
          <p:cNvPr id="10" name="文本框 9"/>
          <p:cNvSpPr txBox="1"/>
          <p:nvPr userDrawn="1"/>
        </p:nvSpPr>
        <p:spPr>
          <a:xfrm>
            <a:off x="1897658" y="2879843"/>
            <a:ext cx="1448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3"/>
                </a:solidFill>
              </a:rPr>
              <a:t>CO</a:t>
            </a:r>
            <a:endParaRPr lang="zh-CN" altLang="en-US" sz="6000" b="1" dirty="0">
              <a:solidFill>
                <a:schemeClr val="accent3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3174591" y="2879843"/>
            <a:ext cx="37972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</a:rPr>
              <a:t>NTENTS</a:t>
            </a:r>
            <a:endParaRPr lang="zh-CN" altLang="en-US" sz="6000" b="1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5476071" y="5144038"/>
            <a:ext cx="1524498" cy="1027906"/>
            <a:chOff x="3980952" y="5140960"/>
            <a:chExt cx="1524498" cy="1027906"/>
          </a:xfrm>
        </p:grpSpPr>
        <p:sp>
          <p:nvSpPr>
            <p:cNvPr id="12" name="平行四边形 11"/>
            <p:cNvSpPr/>
            <p:nvPr userDrawn="1"/>
          </p:nvSpPr>
          <p:spPr>
            <a:xfrm>
              <a:off x="3980952" y="5140960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4248150" y="5150017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1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4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589293" y="6674974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5015129" y="6628928"/>
            <a:ext cx="1524498" cy="1027906"/>
            <a:chOff x="3520352" y="6624669"/>
            <a:chExt cx="1524498" cy="1027906"/>
          </a:xfrm>
        </p:grpSpPr>
        <p:sp>
          <p:nvSpPr>
            <p:cNvPr id="15" name="平行四边形 14"/>
            <p:cNvSpPr/>
            <p:nvPr userDrawn="1"/>
          </p:nvSpPr>
          <p:spPr>
            <a:xfrm>
              <a:off x="3520352" y="662466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6" name="文本框 15"/>
            <p:cNvSpPr txBox="1"/>
            <p:nvPr userDrawn="1"/>
          </p:nvSpPr>
          <p:spPr>
            <a:xfrm>
              <a:off x="3749450" y="663372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2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7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6113043" y="8200818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0" name="组合 19"/>
          <p:cNvGrpSpPr/>
          <p:nvPr userDrawn="1"/>
        </p:nvGrpSpPr>
        <p:grpSpPr>
          <a:xfrm>
            <a:off x="4554188" y="8172812"/>
            <a:ext cx="1524498" cy="1027906"/>
            <a:chOff x="3044102" y="8091519"/>
            <a:chExt cx="1524498" cy="1027906"/>
          </a:xfrm>
        </p:grpSpPr>
        <p:sp>
          <p:nvSpPr>
            <p:cNvPr id="18" name="平行四边形 17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9" name="文本框 18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3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1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5628969" y="9734426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2" name="组合 21"/>
          <p:cNvGrpSpPr/>
          <p:nvPr userDrawn="1"/>
        </p:nvGrpSpPr>
        <p:grpSpPr>
          <a:xfrm>
            <a:off x="4093247" y="9687199"/>
            <a:ext cx="1524498" cy="1027906"/>
            <a:chOff x="3044102" y="8091519"/>
            <a:chExt cx="1524498" cy="1027906"/>
          </a:xfrm>
        </p:grpSpPr>
        <p:sp>
          <p:nvSpPr>
            <p:cNvPr id="23" name="平行四边形 22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24" name="文本框 23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4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7" name="平行四边形 26"/>
          <p:cNvSpPr/>
          <p:nvPr userDrawn="1"/>
        </p:nvSpPr>
        <p:spPr>
          <a:xfrm>
            <a:off x="19418729" y="8605472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 userDrawn="1"/>
        </p:nvSpPr>
        <p:spPr>
          <a:xfrm>
            <a:off x="22485077" y="5524499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8416" y="11171780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3612694" y="11124553"/>
            <a:ext cx="1524498" cy="1027906"/>
            <a:chOff x="3044102" y="8091519"/>
            <a:chExt cx="1524498" cy="1027906"/>
          </a:xfrm>
        </p:grpSpPr>
        <p:sp>
          <p:nvSpPr>
            <p:cNvPr id="31" name="平行四边形 30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32" name="文本框 31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5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平行四边形 57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3754328" y="5541001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0" name="文本占位符 8"/>
          <p:cNvSpPr>
            <a:spLocks noGrp="1"/>
          </p:cNvSpPr>
          <p:nvPr>
            <p:ph type="body" sz="quarter" idx="27" hasCustomPrompt="1"/>
          </p:nvPr>
        </p:nvSpPr>
        <p:spPr>
          <a:xfrm>
            <a:off x="3754328" y="4838819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grpSp>
        <p:nvGrpSpPr>
          <p:cNvPr id="59" name="组合 58"/>
          <p:cNvGrpSpPr/>
          <p:nvPr userDrawn="1"/>
        </p:nvGrpSpPr>
        <p:grpSpPr>
          <a:xfrm>
            <a:off x="10163208" y="3246946"/>
            <a:ext cx="3781554" cy="8388399"/>
            <a:chOff x="10996419" y="2838407"/>
            <a:chExt cx="3781554" cy="8388399"/>
          </a:xfrm>
        </p:grpSpPr>
        <p:cxnSp>
          <p:nvCxnSpPr>
            <p:cNvPr id="60" name="直接连接符 59"/>
            <p:cNvCxnSpPr/>
            <p:nvPr userDrawn="1"/>
          </p:nvCxnSpPr>
          <p:spPr>
            <a:xfrm flipV="1">
              <a:off x="12887196" y="3060657"/>
              <a:ext cx="0" cy="7943899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菱形 60"/>
            <p:cNvSpPr/>
            <p:nvPr userDrawn="1"/>
          </p:nvSpPr>
          <p:spPr>
            <a:xfrm rot="5400000">
              <a:off x="12776071" y="2838407"/>
              <a:ext cx="222250" cy="22225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grpSp>
          <p:nvGrpSpPr>
            <p:cNvPr id="62" name="组合 61"/>
            <p:cNvGrpSpPr/>
            <p:nvPr userDrawn="1"/>
          </p:nvGrpSpPr>
          <p:grpSpPr>
            <a:xfrm>
              <a:off x="12776071" y="4913490"/>
              <a:ext cx="222250" cy="4282622"/>
              <a:chOff x="12776071" y="4564409"/>
              <a:chExt cx="222250" cy="4282622"/>
            </a:xfrm>
          </p:grpSpPr>
          <p:sp>
            <p:nvSpPr>
              <p:cNvPr id="66" name="菱形 65"/>
              <p:cNvSpPr/>
              <p:nvPr userDrawn="1"/>
            </p:nvSpPr>
            <p:spPr>
              <a:xfrm rot="5400000">
                <a:off x="12776071" y="4564409"/>
                <a:ext cx="222250" cy="222250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7" name="菱形 66"/>
              <p:cNvSpPr/>
              <p:nvPr userDrawn="1"/>
            </p:nvSpPr>
            <p:spPr>
              <a:xfrm rot="5400000">
                <a:off x="12776071" y="8624781"/>
                <a:ext cx="222250" cy="222250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63" name="菱形 62"/>
            <p:cNvSpPr/>
            <p:nvPr userDrawn="1"/>
          </p:nvSpPr>
          <p:spPr>
            <a:xfrm rot="5400000">
              <a:off x="12776071" y="11004556"/>
              <a:ext cx="222250" cy="22225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64" name="直接连接符 63"/>
            <p:cNvCxnSpPr/>
            <p:nvPr userDrawn="1"/>
          </p:nvCxnSpPr>
          <p:spPr>
            <a:xfrm flipV="1">
              <a:off x="10996419" y="5024615"/>
              <a:ext cx="3781554" cy="1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/>
            <p:cNvCxnSpPr/>
            <p:nvPr userDrawn="1"/>
          </p:nvCxnSpPr>
          <p:spPr>
            <a:xfrm flipV="1">
              <a:off x="10996419" y="9065960"/>
              <a:ext cx="3781554" cy="1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SmartArt 占位符 44"/>
          <p:cNvSpPr>
            <a:spLocks noGrp="1"/>
          </p:cNvSpPr>
          <p:nvPr>
            <p:ph type="pic" sz="quarter" idx="28"/>
          </p:nvPr>
        </p:nvSpPr>
        <p:spPr>
          <a:xfrm>
            <a:off x="8923020" y="4835759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69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8923020" y="5022474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0" name="SmartArt 占位符 44"/>
          <p:cNvSpPr>
            <a:spLocks noGrp="1"/>
          </p:cNvSpPr>
          <p:nvPr>
            <p:ph type="pic" sz="quarter" idx="30"/>
          </p:nvPr>
        </p:nvSpPr>
        <p:spPr>
          <a:xfrm>
            <a:off x="13951145" y="4831924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1" name="文本占位符 8"/>
          <p:cNvSpPr>
            <a:spLocks noGrp="1"/>
          </p:cNvSpPr>
          <p:nvPr>
            <p:ph type="body" sz="quarter" idx="31" hasCustomPrompt="1"/>
          </p:nvPr>
        </p:nvSpPr>
        <p:spPr>
          <a:xfrm>
            <a:off x="13951145" y="5018639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72" name="SmartArt 占位符 44"/>
          <p:cNvSpPr>
            <a:spLocks noGrp="1"/>
          </p:cNvSpPr>
          <p:nvPr>
            <p:ph type="pic" sz="quarter" idx="32"/>
          </p:nvPr>
        </p:nvSpPr>
        <p:spPr>
          <a:xfrm>
            <a:off x="8916637" y="8890518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3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8916637" y="9077233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74" name="SmartArt 占位符 44"/>
          <p:cNvSpPr>
            <a:spLocks noGrp="1"/>
          </p:cNvSpPr>
          <p:nvPr>
            <p:ph type="pic" sz="quarter" idx="34"/>
          </p:nvPr>
        </p:nvSpPr>
        <p:spPr>
          <a:xfrm>
            <a:off x="13944762" y="8890518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5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3944762" y="9077233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76" name="文本占位符 8"/>
          <p:cNvSpPr>
            <a:spLocks noGrp="1"/>
          </p:cNvSpPr>
          <p:nvPr>
            <p:ph type="body" sz="quarter" idx="40"/>
          </p:nvPr>
        </p:nvSpPr>
        <p:spPr>
          <a:xfrm>
            <a:off x="3754328" y="9601169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77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3754328" y="8898987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78" name="文本占位符 8"/>
          <p:cNvSpPr>
            <a:spLocks noGrp="1"/>
          </p:cNvSpPr>
          <p:nvPr>
            <p:ph type="body" sz="quarter" idx="44"/>
          </p:nvPr>
        </p:nvSpPr>
        <p:spPr>
          <a:xfrm>
            <a:off x="15673265" y="5525433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0" name="文本占位符 8"/>
          <p:cNvSpPr>
            <a:spLocks noGrp="1"/>
          </p:cNvSpPr>
          <p:nvPr>
            <p:ph type="body" sz="quarter" idx="45" hasCustomPrompt="1"/>
          </p:nvPr>
        </p:nvSpPr>
        <p:spPr>
          <a:xfrm>
            <a:off x="15673265" y="4823251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46"/>
          </p:nvPr>
        </p:nvSpPr>
        <p:spPr>
          <a:xfrm>
            <a:off x="15673265" y="9585601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5673265" y="8883419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29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0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1" name="文本占位符 6"/>
          <p:cNvSpPr>
            <a:spLocks noGrp="1"/>
          </p:cNvSpPr>
          <p:nvPr>
            <p:ph type="body" sz="quarter" idx="48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类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平行四边形 57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占位符 8"/>
          <p:cNvSpPr>
            <a:spLocks noGrp="1"/>
          </p:cNvSpPr>
          <p:nvPr>
            <p:ph type="body" sz="quarter" idx="24"/>
          </p:nvPr>
        </p:nvSpPr>
        <p:spPr>
          <a:xfrm>
            <a:off x="3754328" y="5063258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30" name="文本占位符 8"/>
          <p:cNvSpPr>
            <a:spLocks noGrp="1"/>
          </p:cNvSpPr>
          <p:nvPr>
            <p:ph type="body" sz="quarter" idx="27" hasCustomPrompt="1"/>
          </p:nvPr>
        </p:nvSpPr>
        <p:spPr>
          <a:xfrm>
            <a:off x="3754328" y="4361076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grpSp>
        <p:nvGrpSpPr>
          <p:cNvPr id="31" name="组合 30"/>
          <p:cNvGrpSpPr/>
          <p:nvPr userDrawn="1"/>
        </p:nvGrpSpPr>
        <p:grpSpPr>
          <a:xfrm>
            <a:off x="10163208" y="3522540"/>
            <a:ext cx="3781554" cy="8388399"/>
            <a:chOff x="10996419" y="3591744"/>
            <a:chExt cx="3781554" cy="8388399"/>
          </a:xfrm>
        </p:grpSpPr>
        <p:cxnSp>
          <p:nvCxnSpPr>
            <p:cNvPr id="32" name="直接连接符 31"/>
            <p:cNvCxnSpPr/>
            <p:nvPr userDrawn="1"/>
          </p:nvCxnSpPr>
          <p:spPr>
            <a:xfrm flipV="1">
              <a:off x="12887196" y="3813994"/>
              <a:ext cx="0" cy="7943899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菱形 32"/>
            <p:cNvSpPr/>
            <p:nvPr userDrawn="1"/>
          </p:nvSpPr>
          <p:spPr>
            <a:xfrm rot="5400000">
              <a:off x="12776071" y="3591744"/>
              <a:ext cx="222250" cy="22225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grpSp>
          <p:nvGrpSpPr>
            <p:cNvPr id="34" name="组合 33"/>
            <p:cNvGrpSpPr/>
            <p:nvPr userDrawn="1"/>
          </p:nvGrpSpPr>
          <p:grpSpPr>
            <a:xfrm>
              <a:off x="12776071" y="4913490"/>
              <a:ext cx="222250" cy="5744906"/>
              <a:chOff x="12776071" y="4564409"/>
              <a:chExt cx="222250" cy="5744906"/>
            </a:xfrm>
          </p:grpSpPr>
          <p:sp>
            <p:nvSpPr>
              <p:cNvPr id="41" name="菱形 40"/>
              <p:cNvSpPr/>
              <p:nvPr userDrawn="1"/>
            </p:nvSpPr>
            <p:spPr>
              <a:xfrm rot="5400000">
                <a:off x="12776071" y="4564409"/>
                <a:ext cx="222250" cy="222250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菱形 41"/>
              <p:cNvSpPr/>
              <p:nvPr userDrawn="1"/>
            </p:nvSpPr>
            <p:spPr>
              <a:xfrm rot="5400000">
                <a:off x="12776071" y="7325737"/>
                <a:ext cx="222250" cy="222250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菱形 42"/>
              <p:cNvSpPr/>
              <p:nvPr userDrawn="1"/>
            </p:nvSpPr>
            <p:spPr>
              <a:xfrm rot="5400000">
                <a:off x="12776071" y="10087065"/>
                <a:ext cx="222250" cy="222250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5" name="菱形 34"/>
            <p:cNvSpPr/>
            <p:nvPr userDrawn="1"/>
          </p:nvSpPr>
          <p:spPr>
            <a:xfrm rot="5400000">
              <a:off x="12776071" y="11757893"/>
              <a:ext cx="222250" cy="22225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36" name="直接连接符 35"/>
            <p:cNvCxnSpPr/>
            <p:nvPr userDrawn="1"/>
          </p:nvCxnSpPr>
          <p:spPr>
            <a:xfrm flipV="1">
              <a:off x="10996419" y="5024615"/>
              <a:ext cx="3781554" cy="1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 userDrawn="1"/>
          </p:nvCxnSpPr>
          <p:spPr>
            <a:xfrm flipV="1">
              <a:off x="10996419" y="7785943"/>
              <a:ext cx="3781554" cy="1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 userDrawn="1"/>
          </p:nvCxnSpPr>
          <p:spPr>
            <a:xfrm flipV="1">
              <a:off x="10996419" y="10536999"/>
              <a:ext cx="3781554" cy="1"/>
            </a:xfrm>
            <a:prstGeom prst="line">
              <a:avLst/>
            </a:prstGeom>
            <a:ln w="254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SmartArt 占位符 44"/>
          <p:cNvSpPr>
            <a:spLocks noGrp="1"/>
          </p:cNvSpPr>
          <p:nvPr>
            <p:ph type="pic" sz="quarter" idx="28"/>
          </p:nvPr>
        </p:nvSpPr>
        <p:spPr>
          <a:xfrm>
            <a:off x="8923020" y="4358016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45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8923020" y="4544731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46" name="SmartArt 占位符 44"/>
          <p:cNvSpPr>
            <a:spLocks noGrp="1"/>
          </p:cNvSpPr>
          <p:nvPr>
            <p:ph type="pic" sz="quarter" idx="30"/>
          </p:nvPr>
        </p:nvSpPr>
        <p:spPr>
          <a:xfrm>
            <a:off x="13951145" y="4354181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47" name="文本占位符 8"/>
          <p:cNvSpPr>
            <a:spLocks noGrp="1"/>
          </p:cNvSpPr>
          <p:nvPr>
            <p:ph type="body" sz="quarter" idx="31" hasCustomPrompt="1"/>
          </p:nvPr>
        </p:nvSpPr>
        <p:spPr>
          <a:xfrm>
            <a:off x="13951145" y="4540896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48" name="SmartArt 占位符 44"/>
          <p:cNvSpPr>
            <a:spLocks noGrp="1"/>
          </p:cNvSpPr>
          <p:nvPr>
            <p:ph type="pic" sz="quarter" idx="32"/>
          </p:nvPr>
        </p:nvSpPr>
        <p:spPr>
          <a:xfrm>
            <a:off x="8916637" y="7107543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49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8916637" y="7294258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50" name="SmartArt 占位符 44"/>
          <p:cNvSpPr>
            <a:spLocks noGrp="1"/>
          </p:cNvSpPr>
          <p:nvPr>
            <p:ph type="pic" sz="quarter" idx="34"/>
          </p:nvPr>
        </p:nvSpPr>
        <p:spPr>
          <a:xfrm>
            <a:off x="13944762" y="7107543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51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3944762" y="7294258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</a:t>
            </a:r>
            <a:endParaRPr lang="zh-CN" altLang="en-US" dirty="0"/>
          </a:p>
        </p:txBody>
      </p:sp>
      <p:sp>
        <p:nvSpPr>
          <p:cNvPr id="52" name="SmartArt 占位符 44"/>
          <p:cNvSpPr>
            <a:spLocks noGrp="1"/>
          </p:cNvSpPr>
          <p:nvPr>
            <p:ph type="pic" sz="quarter" idx="36"/>
          </p:nvPr>
        </p:nvSpPr>
        <p:spPr>
          <a:xfrm>
            <a:off x="8916636" y="9864078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53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8916636" y="10050793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54" name="SmartArt 占位符 44"/>
          <p:cNvSpPr>
            <a:spLocks noGrp="1"/>
          </p:cNvSpPr>
          <p:nvPr>
            <p:ph type="pic" sz="quarter" idx="38"/>
          </p:nvPr>
        </p:nvSpPr>
        <p:spPr>
          <a:xfrm>
            <a:off x="13944761" y="9864078"/>
            <a:ext cx="1212850" cy="121285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55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3944761" y="10050793"/>
            <a:ext cx="1212849" cy="839420"/>
          </a:xfrm>
        </p:spPr>
        <p:txBody>
          <a:bodyPr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6</a:t>
            </a:r>
            <a:endParaRPr lang="zh-CN" altLang="en-US" dirty="0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40"/>
          </p:nvPr>
        </p:nvSpPr>
        <p:spPr>
          <a:xfrm>
            <a:off x="3754328" y="7818194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7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3754328" y="7116012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42"/>
          </p:nvPr>
        </p:nvSpPr>
        <p:spPr>
          <a:xfrm>
            <a:off x="3754328" y="10560074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3754328" y="9857892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4" name="文本占位符 8"/>
          <p:cNvSpPr>
            <a:spLocks noGrp="1"/>
          </p:cNvSpPr>
          <p:nvPr>
            <p:ph type="body" sz="quarter" idx="44"/>
          </p:nvPr>
        </p:nvSpPr>
        <p:spPr>
          <a:xfrm>
            <a:off x="15673265" y="5047690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45" hasCustomPrompt="1"/>
          </p:nvPr>
        </p:nvSpPr>
        <p:spPr>
          <a:xfrm>
            <a:off x="15673265" y="4345508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6" name="文本占位符 8"/>
          <p:cNvSpPr>
            <a:spLocks noGrp="1"/>
          </p:cNvSpPr>
          <p:nvPr>
            <p:ph type="body" sz="quarter" idx="46"/>
          </p:nvPr>
        </p:nvSpPr>
        <p:spPr>
          <a:xfrm>
            <a:off x="15673265" y="7802626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7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5673265" y="7100444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88" name="文本占位符 8"/>
          <p:cNvSpPr>
            <a:spLocks noGrp="1"/>
          </p:cNvSpPr>
          <p:nvPr>
            <p:ph type="body" sz="quarter" idx="48"/>
          </p:nvPr>
        </p:nvSpPr>
        <p:spPr>
          <a:xfrm>
            <a:off x="15673265" y="10544506"/>
            <a:ext cx="4557752" cy="1628208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89" name="文本占位符 8"/>
          <p:cNvSpPr>
            <a:spLocks noGrp="1"/>
          </p:cNvSpPr>
          <p:nvPr>
            <p:ph type="body" sz="quarter" idx="49" hasCustomPrompt="1"/>
          </p:nvPr>
        </p:nvSpPr>
        <p:spPr>
          <a:xfrm>
            <a:off x="15673265" y="9842324"/>
            <a:ext cx="4557752" cy="609903"/>
          </a:xfrm>
        </p:spPr>
        <p:txBody>
          <a:bodyPr>
            <a:normAutofit/>
          </a:bodyPr>
          <a:lstStyle>
            <a:lvl1pPr marL="0" indent="0" algn="r">
              <a:buNone/>
              <a:defRPr sz="30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标题</a:t>
            </a:r>
            <a:endParaRPr lang="zh-CN" altLang="en-US" dirty="0"/>
          </a:p>
        </p:txBody>
      </p:sp>
      <p:sp>
        <p:nvSpPr>
          <p:cNvPr id="40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9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60" name="文本占位符 6"/>
          <p:cNvSpPr>
            <a:spLocks noGrp="1"/>
          </p:cNvSpPr>
          <p:nvPr>
            <p:ph type="body" sz="quarter" idx="50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类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8" name="Freeform 3"/>
          <p:cNvSpPr/>
          <p:nvPr userDrawn="1"/>
        </p:nvSpPr>
        <p:spPr bwMode="auto">
          <a:xfrm>
            <a:off x="9318381" y="4282274"/>
            <a:ext cx="4433642" cy="4556007"/>
          </a:xfrm>
          <a:custGeom>
            <a:avLst/>
            <a:gdLst>
              <a:gd name="T0" fmla="*/ 547 w 1071"/>
              <a:gd name="T1" fmla="*/ 0 h 1101"/>
              <a:gd name="T2" fmla="*/ 0 w 1071"/>
              <a:gd name="T3" fmla="*/ 547 h 1101"/>
              <a:gd name="T4" fmla="*/ 263 w 1071"/>
              <a:gd name="T5" fmla="*/ 1015 h 1101"/>
              <a:gd name="T6" fmla="*/ 213 w 1071"/>
              <a:gd name="T7" fmla="*/ 1101 h 1101"/>
              <a:gd name="T8" fmla="*/ 604 w 1071"/>
              <a:gd name="T9" fmla="*/ 1101 h 1101"/>
              <a:gd name="T10" fmla="*/ 409 w 1071"/>
              <a:gd name="T11" fmla="*/ 762 h 1101"/>
              <a:gd name="T12" fmla="*/ 359 w 1071"/>
              <a:gd name="T13" fmla="*/ 847 h 1101"/>
              <a:gd name="T14" fmla="*/ 193 w 1071"/>
              <a:gd name="T15" fmla="*/ 547 h 1101"/>
              <a:gd name="T16" fmla="*/ 547 w 1071"/>
              <a:gd name="T17" fmla="*/ 194 h 1101"/>
              <a:gd name="T18" fmla="*/ 859 w 1071"/>
              <a:gd name="T19" fmla="*/ 381 h 1101"/>
              <a:gd name="T20" fmla="*/ 938 w 1071"/>
              <a:gd name="T21" fmla="*/ 375 h 1101"/>
              <a:gd name="T22" fmla="*/ 1071 w 1071"/>
              <a:gd name="T23" fmla="*/ 390 h 1101"/>
              <a:gd name="T24" fmla="*/ 547 w 1071"/>
              <a:gd name="T25" fmla="*/ 0 h 1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71" h="1101">
                <a:moveTo>
                  <a:pt x="547" y="0"/>
                </a:moveTo>
                <a:cubicBezTo>
                  <a:pt x="245" y="0"/>
                  <a:pt x="0" y="245"/>
                  <a:pt x="0" y="547"/>
                </a:cubicBezTo>
                <a:cubicBezTo>
                  <a:pt x="0" y="745"/>
                  <a:pt x="105" y="919"/>
                  <a:pt x="263" y="1015"/>
                </a:cubicBezTo>
                <a:cubicBezTo>
                  <a:pt x="213" y="1101"/>
                  <a:pt x="213" y="1101"/>
                  <a:pt x="213" y="1101"/>
                </a:cubicBezTo>
                <a:cubicBezTo>
                  <a:pt x="604" y="1101"/>
                  <a:pt x="604" y="1101"/>
                  <a:pt x="604" y="1101"/>
                </a:cubicBezTo>
                <a:cubicBezTo>
                  <a:pt x="409" y="762"/>
                  <a:pt x="409" y="762"/>
                  <a:pt x="409" y="762"/>
                </a:cubicBezTo>
                <a:cubicBezTo>
                  <a:pt x="359" y="847"/>
                  <a:pt x="359" y="847"/>
                  <a:pt x="359" y="847"/>
                </a:cubicBezTo>
                <a:cubicBezTo>
                  <a:pt x="260" y="785"/>
                  <a:pt x="193" y="674"/>
                  <a:pt x="193" y="547"/>
                </a:cubicBezTo>
                <a:cubicBezTo>
                  <a:pt x="193" y="352"/>
                  <a:pt x="352" y="194"/>
                  <a:pt x="547" y="194"/>
                </a:cubicBezTo>
                <a:cubicBezTo>
                  <a:pt x="682" y="194"/>
                  <a:pt x="799" y="269"/>
                  <a:pt x="859" y="381"/>
                </a:cubicBezTo>
                <a:cubicBezTo>
                  <a:pt x="885" y="377"/>
                  <a:pt x="911" y="375"/>
                  <a:pt x="938" y="375"/>
                </a:cubicBezTo>
                <a:cubicBezTo>
                  <a:pt x="984" y="375"/>
                  <a:pt x="1029" y="380"/>
                  <a:pt x="1071" y="390"/>
                </a:cubicBezTo>
                <a:cubicBezTo>
                  <a:pt x="1004" y="165"/>
                  <a:pt x="795" y="0"/>
                  <a:pt x="54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55827" tIns="27914" rIns="55827" bIns="27914" numCol="1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</a:pPr>
            <a:endParaRPr lang="en-US" sz="800" dirty="0">
              <a:latin typeface="印品黑体" panose="00000500000000000000" pitchFamily="2" charset="-122"/>
              <a:ea typeface="印品黑体" panose="00000500000000000000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60" name="Freeform 4"/>
          <p:cNvSpPr/>
          <p:nvPr userDrawn="1"/>
        </p:nvSpPr>
        <p:spPr bwMode="auto">
          <a:xfrm>
            <a:off x="11057119" y="5941331"/>
            <a:ext cx="4410876" cy="4587309"/>
          </a:xfrm>
          <a:custGeom>
            <a:avLst/>
            <a:gdLst>
              <a:gd name="T0" fmla="*/ 518 w 1065"/>
              <a:gd name="T1" fmla="*/ 14 h 1108"/>
              <a:gd name="T2" fmla="*/ 245 w 1065"/>
              <a:gd name="T3" fmla="*/ 87 h 1108"/>
              <a:gd name="T4" fmla="*/ 195 w 1065"/>
              <a:gd name="T5" fmla="*/ 0 h 1108"/>
              <a:gd name="T6" fmla="*/ 0 w 1065"/>
              <a:gd name="T7" fmla="*/ 339 h 1108"/>
              <a:gd name="T8" fmla="*/ 391 w 1065"/>
              <a:gd name="T9" fmla="*/ 339 h 1108"/>
              <a:gd name="T10" fmla="*/ 342 w 1065"/>
              <a:gd name="T11" fmla="*/ 254 h 1108"/>
              <a:gd name="T12" fmla="*/ 518 w 1065"/>
              <a:gd name="T13" fmla="*/ 208 h 1108"/>
              <a:gd name="T14" fmla="*/ 872 w 1065"/>
              <a:gd name="T15" fmla="*/ 561 h 1108"/>
              <a:gd name="T16" fmla="*/ 518 w 1065"/>
              <a:gd name="T17" fmla="*/ 915 h 1108"/>
              <a:gd name="T18" fmla="*/ 505 w 1065"/>
              <a:gd name="T19" fmla="*/ 915 h 1108"/>
              <a:gd name="T20" fmla="*/ 385 w 1065"/>
              <a:gd name="T21" fmla="*/ 1092 h 1108"/>
              <a:gd name="T22" fmla="*/ 518 w 1065"/>
              <a:gd name="T23" fmla="*/ 1108 h 1108"/>
              <a:gd name="T24" fmla="*/ 1065 w 1065"/>
              <a:gd name="T25" fmla="*/ 561 h 1108"/>
              <a:gd name="T26" fmla="*/ 518 w 1065"/>
              <a:gd name="T27" fmla="*/ 14 h 1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65" h="1108">
                <a:moveTo>
                  <a:pt x="518" y="14"/>
                </a:moveTo>
                <a:cubicBezTo>
                  <a:pt x="419" y="14"/>
                  <a:pt x="326" y="41"/>
                  <a:pt x="245" y="87"/>
                </a:cubicBezTo>
                <a:cubicBezTo>
                  <a:pt x="195" y="0"/>
                  <a:pt x="195" y="0"/>
                  <a:pt x="195" y="0"/>
                </a:cubicBezTo>
                <a:cubicBezTo>
                  <a:pt x="0" y="339"/>
                  <a:pt x="0" y="339"/>
                  <a:pt x="0" y="339"/>
                </a:cubicBezTo>
                <a:cubicBezTo>
                  <a:pt x="391" y="339"/>
                  <a:pt x="391" y="339"/>
                  <a:pt x="391" y="339"/>
                </a:cubicBezTo>
                <a:cubicBezTo>
                  <a:pt x="342" y="254"/>
                  <a:pt x="342" y="254"/>
                  <a:pt x="342" y="254"/>
                </a:cubicBezTo>
                <a:cubicBezTo>
                  <a:pt x="394" y="225"/>
                  <a:pt x="454" y="208"/>
                  <a:pt x="518" y="208"/>
                </a:cubicBezTo>
                <a:cubicBezTo>
                  <a:pt x="713" y="208"/>
                  <a:pt x="872" y="366"/>
                  <a:pt x="872" y="561"/>
                </a:cubicBezTo>
                <a:cubicBezTo>
                  <a:pt x="872" y="757"/>
                  <a:pt x="713" y="915"/>
                  <a:pt x="518" y="915"/>
                </a:cubicBezTo>
                <a:cubicBezTo>
                  <a:pt x="514" y="915"/>
                  <a:pt x="509" y="915"/>
                  <a:pt x="505" y="915"/>
                </a:cubicBezTo>
                <a:cubicBezTo>
                  <a:pt x="476" y="981"/>
                  <a:pt x="435" y="1041"/>
                  <a:pt x="385" y="1092"/>
                </a:cubicBezTo>
                <a:cubicBezTo>
                  <a:pt x="428" y="1103"/>
                  <a:pt x="472" y="1108"/>
                  <a:pt x="518" y="1108"/>
                </a:cubicBezTo>
                <a:cubicBezTo>
                  <a:pt x="820" y="1108"/>
                  <a:pt x="1065" y="863"/>
                  <a:pt x="1065" y="561"/>
                </a:cubicBezTo>
                <a:cubicBezTo>
                  <a:pt x="1065" y="259"/>
                  <a:pt x="820" y="14"/>
                  <a:pt x="518" y="1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5827" tIns="27914" rIns="55827" bIns="27914" numCol="1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</a:pPr>
            <a:endParaRPr lang="en-US" sz="800" dirty="0">
              <a:latin typeface="印品黑体" panose="00000500000000000000" pitchFamily="2" charset="-122"/>
              <a:ea typeface="印品黑体" panose="00000500000000000000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63" name="Freeform 5"/>
          <p:cNvSpPr/>
          <p:nvPr userDrawn="1"/>
        </p:nvSpPr>
        <p:spPr bwMode="auto">
          <a:xfrm>
            <a:off x="8652481" y="7227600"/>
            <a:ext cx="4900341" cy="3799044"/>
          </a:xfrm>
          <a:custGeom>
            <a:avLst/>
            <a:gdLst>
              <a:gd name="T0" fmla="*/ 1184 w 1184"/>
              <a:gd name="T1" fmla="*/ 388 h 917"/>
              <a:gd name="T2" fmla="*/ 988 w 1184"/>
              <a:gd name="T3" fmla="*/ 49 h 917"/>
              <a:gd name="T4" fmla="*/ 793 w 1184"/>
              <a:gd name="T5" fmla="*/ 388 h 917"/>
              <a:gd name="T6" fmla="*/ 900 w 1184"/>
              <a:gd name="T7" fmla="*/ 388 h 917"/>
              <a:gd name="T8" fmla="*/ 547 w 1184"/>
              <a:gd name="T9" fmla="*/ 724 h 917"/>
              <a:gd name="T10" fmla="*/ 193 w 1184"/>
              <a:gd name="T11" fmla="*/ 370 h 917"/>
              <a:gd name="T12" fmla="*/ 242 w 1184"/>
              <a:gd name="T13" fmla="*/ 192 h 917"/>
              <a:gd name="T14" fmla="*/ 145 w 1184"/>
              <a:gd name="T15" fmla="*/ 0 h 917"/>
              <a:gd name="T16" fmla="*/ 0 w 1184"/>
              <a:gd name="T17" fmla="*/ 370 h 917"/>
              <a:gd name="T18" fmla="*/ 547 w 1184"/>
              <a:gd name="T19" fmla="*/ 917 h 917"/>
              <a:gd name="T20" fmla="*/ 1094 w 1184"/>
              <a:gd name="T21" fmla="*/ 388 h 917"/>
              <a:gd name="T22" fmla="*/ 1184 w 1184"/>
              <a:gd name="T23" fmla="*/ 388 h 9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84" h="917">
                <a:moveTo>
                  <a:pt x="1184" y="388"/>
                </a:moveTo>
                <a:cubicBezTo>
                  <a:pt x="988" y="49"/>
                  <a:pt x="988" y="49"/>
                  <a:pt x="988" y="49"/>
                </a:cubicBezTo>
                <a:cubicBezTo>
                  <a:pt x="793" y="388"/>
                  <a:pt x="793" y="388"/>
                  <a:pt x="793" y="388"/>
                </a:cubicBezTo>
                <a:cubicBezTo>
                  <a:pt x="900" y="388"/>
                  <a:pt x="900" y="388"/>
                  <a:pt x="900" y="388"/>
                </a:cubicBezTo>
                <a:cubicBezTo>
                  <a:pt x="891" y="575"/>
                  <a:pt x="737" y="724"/>
                  <a:pt x="547" y="724"/>
                </a:cubicBezTo>
                <a:cubicBezTo>
                  <a:pt x="352" y="724"/>
                  <a:pt x="193" y="566"/>
                  <a:pt x="193" y="370"/>
                </a:cubicBezTo>
                <a:cubicBezTo>
                  <a:pt x="193" y="305"/>
                  <a:pt x="211" y="244"/>
                  <a:pt x="242" y="192"/>
                </a:cubicBezTo>
                <a:cubicBezTo>
                  <a:pt x="198" y="134"/>
                  <a:pt x="165" y="69"/>
                  <a:pt x="145" y="0"/>
                </a:cubicBezTo>
                <a:cubicBezTo>
                  <a:pt x="55" y="97"/>
                  <a:pt x="0" y="227"/>
                  <a:pt x="0" y="370"/>
                </a:cubicBezTo>
                <a:cubicBezTo>
                  <a:pt x="0" y="672"/>
                  <a:pt x="245" y="917"/>
                  <a:pt x="547" y="917"/>
                </a:cubicBezTo>
                <a:cubicBezTo>
                  <a:pt x="843" y="917"/>
                  <a:pt x="1085" y="682"/>
                  <a:pt x="1094" y="388"/>
                </a:cubicBezTo>
                <a:lnTo>
                  <a:pt x="1184" y="38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55827" tIns="27914" rIns="55827" bIns="27914" numCol="1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</a:pPr>
            <a:endParaRPr lang="en-US" sz="800" dirty="0">
              <a:latin typeface="印品黑体" panose="00000500000000000000" pitchFamily="2" charset="-122"/>
              <a:ea typeface="印品黑体" panose="00000500000000000000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32" hasCustomPrompt="1"/>
          </p:nvPr>
        </p:nvSpPr>
        <p:spPr>
          <a:xfrm rot="17969049">
            <a:off x="9063160" y="5280397"/>
            <a:ext cx="2295525" cy="7508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76" name="文本占位符 2"/>
          <p:cNvSpPr>
            <a:spLocks noGrp="1"/>
          </p:cNvSpPr>
          <p:nvPr>
            <p:ph type="body" sz="quarter" idx="33" hasCustomPrompt="1"/>
          </p:nvPr>
        </p:nvSpPr>
        <p:spPr>
          <a:xfrm>
            <a:off x="9764713" y="10307677"/>
            <a:ext cx="2295525" cy="7508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77" name="文本占位符 2"/>
          <p:cNvSpPr>
            <a:spLocks noGrp="1"/>
          </p:cNvSpPr>
          <p:nvPr>
            <p:ph type="body" sz="quarter" idx="34" hasCustomPrompt="1"/>
          </p:nvPr>
        </p:nvSpPr>
        <p:spPr>
          <a:xfrm rot="17563896">
            <a:off x="13926143" y="8462838"/>
            <a:ext cx="2295525" cy="7508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13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5862401" y="7884399"/>
            <a:ext cx="6912412" cy="21575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进行补充说明；请输入文字内容进行补充说明；请输入文字内容进行补充说明；请输入文字内容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959294" y="4282274"/>
            <a:ext cx="7223177" cy="2157570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进行补充说明；请输入文字内容进行补充说明；请输入文字内容进行补充说明；请输入文字内容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310681" y="8804410"/>
            <a:ext cx="7223177" cy="2157570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进行补充说明；请输入文字内容进行补充说明；请输入文字内容进行补充说明；请输入文字内容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电脑展示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grpSp>
        <p:nvGrpSpPr>
          <p:cNvPr id="17" name="Group 117"/>
          <p:cNvGrpSpPr/>
          <p:nvPr userDrawn="1"/>
        </p:nvGrpSpPr>
        <p:grpSpPr>
          <a:xfrm>
            <a:off x="1332445" y="3924716"/>
            <a:ext cx="9006404" cy="7224902"/>
            <a:chOff x="12304060" y="1166421"/>
            <a:chExt cx="8305292" cy="6662472"/>
          </a:xfrm>
        </p:grpSpPr>
        <p:sp>
          <p:nvSpPr>
            <p:cNvPr id="18" name="Freeform 10"/>
            <p:cNvSpPr/>
            <p:nvPr/>
          </p:nvSpPr>
          <p:spPr bwMode="auto">
            <a:xfrm>
              <a:off x="15029635" y="6862944"/>
              <a:ext cx="2821081" cy="965949"/>
            </a:xfrm>
            <a:custGeom>
              <a:avLst/>
              <a:gdLst>
                <a:gd name="T0" fmla="*/ 790 w 861"/>
                <a:gd name="T1" fmla="*/ 274 h 295"/>
                <a:gd name="T2" fmla="*/ 738 w 861"/>
                <a:gd name="T3" fmla="*/ 224 h 295"/>
                <a:gd name="T4" fmla="*/ 714 w 861"/>
                <a:gd name="T5" fmla="*/ 0 h 295"/>
                <a:gd name="T6" fmla="*/ 431 w 861"/>
                <a:gd name="T7" fmla="*/ 4 h 295"/>
                <a:gd name="T8" fmla="*/ 147 w 861"/>
                <a:gd name="T9" fmla="*/ 0 h 295"/>
                <a:gd name="T10" fmla="*/ 124 w 861"/>
                <a:gd name="T11" fmla="*/ 224 h 295"/>
                <a:gd name="T12" fmla="*/ 72 w 861"/>
                <a:gd name="T13" fmla="*/ 274 h 295"/>
                <a:gd name="T14" fmla="*/ 0 w 861"/>
                <a:gd name="T15" fmla="*/ 291 h 295"/>
                <a:gd name="T16" fmla="*/ 0 w 861"/>
                <a:gd name="T17" fmla="*/ 295 h 295"/>
                <a:gd name="T18" fmla="*/ 379 w 861"/>
                <a:gd name="T19" fmla="*/ 295 h 295"/>
                <a:gd name="T20" fmla="*/ 482 w 861"/>
                <a:gd name="T21" fmla="*/ 295 h 295"/>
                <a:gd name="T22" fmla="*/ 861 w 861"/>
                <a:gd name="T23" fmla="*/ 295 h 295"/>
                <a:gd name="T24" fmla="*/ 861 w 861"/>
                <a:gd name="T25" fmla="*/ 291 h 295"/>
                <a:gd name="T26" fmla="*/ 790 w 861"/>
                <a:gd name="T27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1" h="295">
                  <a:moveTo>
                    <a:pt x="790" y="274"/>
                  </a:moveTo>
                  <a:cubicBezTo>
                    <a:pt x="760" y="268"/>
                    <a:pt x="744" y="271"/>
                    <a:pt x="738" y="224"/>
                  </a:cubicBezTo>
                  <a:cubicBezTo>
                    <a:pt x="731" y="177"/>
                    <a:pt x="714" y="0"/>
                    <a:pt x="714" y="0"/>
                  </a:cubicBezTo>
                  <a:cubicBezTo>
                    <a:pt x="431" y="4"/>
                    <a:pt x="431" y="4"/>
                    <a:pt x="431" y="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0" y="177"/>
                    <a:pt x="124" y="224"/>
                  </a:cubicBezTo>
                  <a:cubicBezTo>
                    <a:pt x="117" y="271"/>
                    <a:pt x="102" y="268"/>
                    <a:pt x="72" y="274"/>
                  </a:cubicBezTo>
                  <a:cubicBezTo>
                    <a:pt x="42" y="280"/>
                    <a:pt x="0" y="287"/>
                    <a:pt x="0" y="291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379" y="295"/>
                    <a:pt x="379" y="295"/>
                    <a:pt x="379" y="295"/>
                  </a:cubicBezTo>
                  <a:cubicBezTo>
                    <a:pt x="482" y="295"/>
                    <a:pt x="482" y="295"/>
                    <a:pt x="482" y="295"/>
                  </a:cubicBezTo>
                  <a:cubicBezTo>
                    <a:pt x="861" y="295"/>
                    <a:pt x="861" y="295"/>
                    <a:pt x="861" y="295"/>
                  </a:cubicBezTo>
                  <a:cubicBezTo>
                    <a:pt x="861" y="295"/>
                    <a:pt x="861" y="295"/>
                    <a:pt x="861" y="291"/>
                  </a:cubicBezTo>
                  <a:cubicBezTo>
                    <a:pt x="861" y="287"/>
                    <a:pt x="820" y="280"/>
                    <a:pt x="790" y="274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  <p:sp>
          <p:nvSpPr>
            <p:cNvPr id="19" name="Freeform 16"/>
            <p:cNvSpPr/>
            <p:nvPr/>
          </p:nvSpPr>
          <p:spPr bwMode="auto">
            <a:xfrm>
              <a:off x="15029635" y="6862944"/>
              <a:ext cx="2281109" cy="965949"/>
            </a:xfrm>
            <a:custGeom>
              <a:avLst/>
              <a:gdLst>
                <a:gd name="T0" fmla="*/ 696 w 696"/>
                <a:gd name="T1" fmla="*/ 10 h 295"/>
                <a:gd name="T2" fmla="*/ 573 w 696"/>
                <a:gd name="T3" fmla="*/ 2 h 295"/>
                <a:gd name="T4" fmla="*/ 431 w 696"/>
                <a:gd name="T5" fmla="*/ 4 h 295"/>
                <a:gd name="T6" fmla="*/ 147 w 696"/>
                <a:gd name="T7" fmla="*/ 0 h 295"/>
                <a:gd name="T8" fmla="*/ 124 w 696"/>
                <a:gd name="T9" fmla="*/ 224 h 295"/>
                <a:gd name="T10" fmla="*/ 72 w 696"/>
                <a:gd name="T11" fmla="*/ 274 h 295"/>
                <a:gd name="T12" fmla="*/ 0 w 696"/>
                <a:gd name="T13" fmla="*/ 291 h 295"/>
                <a:gd name="T14" fmla="*/ 0 w 696"/>
                <a:gd name="T15" fmla="*/ 295 h 295"/>
                <a:gd name="T16" fmla="*/ 379 w 696"/>
                <a:gd name="T17" fmla="*/ 295 h 295"/>
                <a:gd name="T18" fmla="*/ 432 w 696"/>
                <a:gd name="T19" fmla="*/ 295 h 295"/>
                <a:gd name="T20" fmla="*/ 696 w 696"/>
                <a:gd name="T21" fmla="*/ 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6" h="295">
                  <a:moveTo>
                    <a:pt x="696" y="10"/>
                  </a:moveTo>
                  <a:cubicBezTo>
                    <a:pt x="573" y="2"/>
                    <a:pt x="573" y="2"/>
                    <a:pt x="573" y="2"/>
                  </a:cubicBezTo>
                  <a:cubicBezTo>
                    <a:pt x="431" y="4"/>
                    <a:pt x="431" y="4"/>
                    <a:pt x="431" y="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0" y="177"/>
                    <a:pt x="124" y="224"/>
                  </a:cubicBezTo>
                  <a:cubicBezTo>
                    <a:pt x="117" y="271"/>
                    <a:pt x="102" y="268"/>
                    <a:pt x="72" y="274"/>
                  </a:cubicBezTo>
                  <a:cubicBezTo>
                    <a:pt x="42" y="280"/>
                    <a:pt x="0" y="287"/>
                    <a:pt x="0" y="291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379" y="295"/>
                    <a:pt x="379" y="295"/>
                    <a:pt x="379" y="295"/>
                  </a:cubicBezTo>
                  <a:cubicBezTo>
                    <a:pt x="432" y="295"/>
                    <a:pt x="432" y="295"/>
                    <a:pt x="432" y="295"/>
                  </a:cubicBezTo>
                  <a:lnTo>
                    <a:pt x="696" y="10"/>
                  </a:lnTo>
                  <a:close/>
                </a:path>
              </a:pathLst>
            </a:custGeom>
            <a:solidFill>
              <a:srgbClr val="A8A9AA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  <p:sp>
          <p:nvSpPr>
            <p:cNvPr id="20" name="Freeform 5"/>
            <p:cNvSpPr/>
            <p:nvPr/>
          </p:nvSpPr>
          <p:spPr bwMode="auto">
            <a:xfrm>
              <a:off x="12304060" y="1166421"/>
              <a:ext cx="8305292" cy="5020727"/>
            </a:xfrm>
            <a:custGeom>
              <a:avLst/>
              <a:gdLst>
                <a:gd name="T0" fmla="*/ 2537 w 2537"/>
                <a:gd name="T1" fmla="*/ 1533 h 1533"/>
                <a:gd name="T2" fmla="*/ 2537 w 2537"/>
                <a:gd name="T3" fmla="*/ 71 h 1533"/>
                <a:gd name="T4" fmla="*/ 2467 w 2537"/>
                <a:gd name="T5" fmla="*/ 0 h 1533"/>
                <a:gd name="T6" fmla="*/ 71 w 2537"/>
                <a:gd name="T7" fmla="*/ 0 h 1533"/>
                <a:gd name="T8" fmla="*/ 0 w 2537"/>
                <a:gd name="T9" fmla="*/ 71 h 1533"/>
                <a:gd name="T10" fmla="*/ 0 w 2537"/>
                <a:gd name="T11" fmla="*/ 1533 h 1533"/>
                <a:gd name="T12" fmla="*/ 2537 w 2537"/>
                <a:gd name="T13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7" h="1533">
                  <a:moveTo>
                    <a:pt x="2537" y="1533"/>
                  </a:moveTo>
                  <a:cubicBezTo>
                    <a:pt x="2537" y="71"/>
                    <a:pt x="2537" y="71"/>
                    <a:pt x="2537" y="71"/>
                  </a:cubicBezTo>
                  <a:cubicBezTo>
                    <a:pt x="2537" y="32"/>
                    <a:pt x="2506" y="0"/>
                    <a:pt x="2467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1533"/>
                    <a:pt x="0" y="1533"/>
                    <a:pt x="0" y="1533"/>
                  </a:cubicBezTo>
                  <a:lnTo>
                    <a:pt x="2537" y="15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12627309" y="1507993"/>
              <a:ext cx="7658794" cy="4333911"/>
            </a:xfrm>
            <a:custGeom>
              <a:avLst/>
              <a:gdLst>
                <a:gd name="T0" fmla="*/ 2075 w 2085"/>
                <a:gd name="T1" fmla="*/ 10 h 1180"/>
                <a:gd name="T2" fmla="*/ 2075 w 2085"/>
                <a:gd name="T3" fmla="*/ 1170 h 1180"/>
                <a:gd name="T4" fmla="*/ 10 w 2085"/>
                <a:gd name="T5" fmla="*/ 1170 h 1180"/>
                <a:gd name="T6" fmla="*/ 10 w 2085"/>
                <a:gd name="T7" fmla="*/ 10 h 1180"/>
                <a:gd name="T8" fmla="*/ 2075 w 2085"/>
                <a:gd name="T9" fmla="*/ 10 h 1180"/>
                <a:gd name="T10" fmla="*/ 2085 w 2085"/>
                <a:gd name="T11" fmla="*/ 0 h 1180"/>
                <a:gd name="T12" fmla="*/ 2075 w 2085"/>
                <a:gd name="T13" fmla="*/ 0 h 1180"/>
                <a:gd name="T14" fmla="*/ 10 w 2085"/>
                <a:gd name="T15" fmla="*/ 0 h 1180"/>
                <a:gd name="T16" fmla="*/ 0 w 2085"/>
                <a:gd name="T17" fmla="*/ 0 h 1180"/>
                <a:gd name="T18" fmla="*/ 0 w 2085"/>
                <a:gd name="T19" fmla="*/ 10 h 1180"/>
                <a:gd name="T20" fmla="*/ 0 w 2085"/>
                <a:gd name="T21" fmla="*/ 1170 h 1180"/>
                <a:gd name="T22" fmla="*/ 0 w 2085"/>
                <a:gd name="T23" fmla="*/ 1180 h 1180"/>
                <a:gd name="T24" fmla="*/ 10 w 2085"/>
                <a:gd name="T25" fmla="*/ 1180 h 1180"/>
                <a:gd name="T26" fmla="*/ 2075 w 2085"/>
                <a:gd name="T27" fmla="*/ 1180 h 1180"/>
                <a:gd name="T28" fmla="*/ 2085 w 2085"/>
                <a:gd name="T29" fmla="*/ 1180 h 1180"/>
                <a:gd name="T30" fmla="*/ 2085 w 2085"/>
                <a:gd name="T31" fmla="*/ 1170 h 1180"/>
                <a:gd name="T32" fmla="*/ 2085 w 2085"/>
                <a:gd name="T33" fmla="*/ 10 h 1180"/>
                <a:gd name="T34" fmla="*/ 2085 w 2085"/>
                <a:gd name="T35" fmla="*/ 0 h 1180"/>
                <a:gd name="T36" fmla="*/ 2085 w 2085"/>
                <a:gd name="T37" fmla="*/ 0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85" h="1180">
                  <a:moveTo>
                    <a:pt x="2075" y="10"/>
                  </a:moveTo>
                  <a:lnTo>
                    <a:pt x="2075" y="1170"/>
                  </a:lnTo>
                  <a:lnTo>
                    <a:pt x="10" y="1170"/>
                  </a:lnTo>
                  <a:lnTo>
                    <a:pt x="10" y="10"/>
                  </a:lnTo>
                  <a:lnTo>
                    <a:pt x="2075" y="10"/>
                  </a:lnTo>
                  <a:moveTo>
                    <a:pt x="2085" y="0"/>
                  </a:moveTo>
                  <a:lnTo>
                    <a:pt x="2075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170"/>
                  </a:lnTo>
                  <a:lnTo>
                    <a:pt x="0" y="1180"/>
                  </a:lnTo>
                  <a:lnTo>
                    <a:pt x="10" y="1180"/>
                  </a:lnTo>
                  <a:lnTo>
                    <a:pt x="2075" y="1180"/>
                  </a:lnTo>
                  <a:lnTo>
                    <a:pt x="2085" y="1180"/>
                  </a:lnTo>
                  <a:lnTo>
                    <a:pt x="2085" y="1170"/>
                  </a:lnTo>
                  <a:lnTo>
                    <a:pt x="2085" y="10"/>
                  </a:lnTo>
                  <a:lnTo>
                    <a:pt x="2085" y="0"/>
                  </a:lnTo>
                  <a:lnTo>
                    <a:pt x="2085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  <p:sp>
          <p:nvSpPr>
            <p:cNvPr id="22" name="Rectangle 8"/>
            <p:cNvSpPr>
              <a:spLocks noChangeArrowheads="1"/>
            </p:cNvSpPr>
            <p:nvPr/>
          </p:nvSpPr>
          <p:spPr bwMode="auto">
            <a:xfrm>
              <a:off x="12661894" y="1630076"/>
              <a:ext cx="7585329" cy="42604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  <p:grpSp>
          <p:nvGrpSpPr>
            <p:cNvPr id="23" name="Group 121"/>
            <p:cNvGrpSpPr/>
            <p:nvPr/>
          </p:nvGrpSpPr>
          <p:grpSpPr>
            <a:xfrm>
              <a:off x="16399771" y="1298642"/>
              <a:ext cx="113873" cy="121204"/>
              <a:chOff x="16399771" y="1298642"/>
              <a:chExt cx="113873" cy="121204"/>
            </a:xfrm>
            <a:solidFill>
              <a:schemeClr val="bg1">
                <a:lumMod val="65000"/>
              </a:schemeClr>
            </a:solidFill>
          </p:grpSpPr>
          <p:sp>
            <p:nvSpPr>
              <p:cNvPr id="25" name="Oval 11"/>
              <p:cNvSpPr>
                <a:spLocks noChangeArrowheads="1"/>
              </p:cNvSpPr>
              <p:nvPr/>
            </p:nvSpPr>
            <p:spPr bwMode="auto">
              <a:xfrm>
                <a:off x="16399771" y="1305988"/>
                <a:ext cx="113873" cy="11385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04" tIns="45702" rIns="91404" bIns="45702" numCol="1" anchor="t" anchorCtr="0" compatLnSpc="1"/>
              <a:lstStyle/>
              <a:p>
                <a:endParaRPr lang="id-ID" sz="3600" dirty="0">
                  <a:latin typeface="Source Sans Pro Regular" charset="0"/>
                </a:endParaRPr>
              </a:p>
            </p:txBody>
          </p:sp>
          <p:sp>
            <p:nvSpPr>
              <p:cNvPr id="26" name="Oval 12"/>
              <p:cNvSpPr>
                <a:spLocks noChangeArrowheads="1"/>
              </p:cNvSpPr>
              <p:nvPr/>
            </p:nvSpPr>
            <p:spPr bwMode="auto">
              <a:xfrm>
                <a:off x="16399771" y="1298642"/>
                <a:ext cx="113873" cy="11385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04" tIns="45702" rIns="91404" bIns="45702" numCol="1" anchor="t" anchorCtr="0" compatLnSpc="1"/>
              <a:lstStyle/>
              <a:p>
                <a:endParaRPr lang="id-ID" sz="3600" dirty="0">
                  <a:latin typeface="Source Sans Pro Regular" charset="0"/>
                </a:endParaRPr>
              </a:p>
            </p:txBody>
          </p:sp>
          <p:sp>
            <p:nvSpPr>
              <p:cNvPr id="27" name="Oval 13"/>
              <p:cNvSpPr>
                <a:spLocks noChangeArrowheads="1"/>
              </p:cNvSpPr>
              <p:nvPr/>
            </p:nvSpPr>
            <p:spPr bwMode="auto">
              <a:xfrm>
                <a:off x="16418136" y="1317007"/>
                <a:ext cx="77140" cy="73456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04" tIns="45702" rIns="91404" bIns="45702" numCol="1" anchor="t" anchorCtr="0" compatLnSpc="1"/>
              <a:lstStyle/>
              <a:p>
                <a:endParaRPr lang="id-ID" sz="3600" dirty="0">
                  <a:latin typeface="Source Sans Pro Regular" charset="0"/>
                </a:endParaRPr>
              </a:p>
            </p:txBody>
          </p:sp>
          <p:sp>
            <p:nvSpPr>
              <p:cNvPr id="28" name="Oval 14"/>
              <p:cNvSpPr>
                <a:spLocks noChangeArrowheads="1"/>
              </p:cNvSpPr>
              <p:nvPr/>
            </p:nvSpPr>
            <p:spPr bwMode="auto">
              <a:xfrm>
                <a:off x="16440176" y="1331698"/>
                <a:ext cx="36733" cy="44074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04" tIns="45702" rIns="91404" bIns="45702" numCol="1" anchor="t" anchorCtr="0" compatLnSpc="1"/>
              <a:lstStyle/>
              <a:p>
                <a:endParaRPr lang="id-ID" sz="3600" dirty="0">
                  <a:latin typeface="Source Sans Pro Regular" charset="0"/>
                </a:endParaRPr>
              </a:p>
            </p:txBody>
          </p:sp>
          <p:sp>
            <p:nvSpPr>
              <p:cNvPr id="29" name="Oval 15"/>
              <p:cNvSpPr>
                <a:spLocks noChangeArrowheads="1"/>
              </p:cNvSpPr>
              <p:nvPr/>
            </p:nvSpPr>
            <p:spPr bwMode="auto">
              <a:xfrm>
                <a:off x="16451197" y="1350061"/>
                <a:ext cx="11021" cy="1102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04" tIns="45702" rIns="91404" bIns="45702" numCol="1" anchor="t" anchorCtr="0" compatLnSpc="1"/>
              <a:lstStyle/>
              <a:p>
                <a:endParaRPr lang="id-ID" sz="3600" dirty="0">
                  <a:latin typeface="Source Sans Pro Regular" charset="0"/>
                </a:endParaRPr>
              </a:p>
            </p:txBody>
          </p:sp>
        </p:grpSp>
        <p:sp>
          <p:nvSpPr>
            <p:cNvPr id="24" name="Freeform 17"/>
            <p:cNvSpPr/>
            <p:nvPr/>
          </p:nvSpPr>
          <p:spPr bwMode="auto">
            <a:xfrm>
              <a:off x="12304060" y="6187148"/>
              <a:ext cx="8305292" cy="789654"/>
            </a:xfrm>
            <a:custGeom>
              <a:avLst/>
              <a:gdLst>
                <a:gd name="T0" fmla="*/ 0 w 2537"/>
                <a:gd name="T1" fmla="*/ 0 h 241"/>
                <a:gd name="T2" fmla="*/ 0 w 2537"/>
                <a:gd name="T3" fmla="*/ 170 h 241"/>
                <a:gd name="T4" fmla="*/ 71 w 2537"/>
                <a:gd name="T5" fmla="*/ 241 h 241"/>
                <a:gd name="T6" fmla="*/ 2467 w 2537"/>
                <a:gd name="T7" fmla="*/ 241 h 241"/>
                <a:gd name="T8" fmla="*/ 2537 w 2537"/>
                <a:gd name="T9" fmla="*/ 170 h 241"/>
                <a:gd name="T10" fmla="*/ 2537 w 2537"/>
                <a:gd name="T11" fmla="*/ 0 h 241"/>
                <a:gd name="T12" fmla="*/ 0 w 2537"/>
                <a:gd name="T13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7" h="241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209"/>
                    <a:pt x="32" y="241"/>
                    <a:pt x="71" y="241"/>
                  </a:cubicBezTo>
                  <a:cubicBezTo>
                    <a:pt x="2467" y="241"/>
                    <a:pt x="2467" y="241"/>
                    <a:pt x="2467" y="241"/>
                  </a:cubicBezTo>
                  <a:cubicBezTo>
                    <a:pt x="2506" y="241"/>
                    <a:pt x="2537" y="209"/>
                    <a:pt x="2537" y="170"/>
                  </a:cubicBezTo>
                  <a:cubicBezTo>
                    <a:pt x="2537" y="0"/>
                    <a:pt x="2537" y="0"/>
                    <a:pt x="253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endParaRPr lang="id-ID" sz="3600" dirty="0">
                <a:latin typeface="Source Sans Pro Regular" charset="0"/>
              </a:endParaRPr>
            </a:p>
          </p:txBody>
        </p:sp>
      </p:grpSp>
      <p:sp>
        <p:nvSpPr>
          <p:cNvPr id="30" name="图片占位符 15"/>
          <p:cNvSpPr>
            <a:spLocks noGrp="1"/>
          </p:cNvSpPr>
          <p:nvPr>
            <p:ph type="pic" sz="quarter" idx="37" hasCustomPrompt="1"/>
          </p:nvPr>
        </p:nvSpPr>
        <p:spPr>
          <a:xfrm>
            <a:off x="1721920" y="4428183"/>
            <a:ext cx="8224230" cy="4619442"/>
          </a:xfrm>
        </p:spPr>
        <p:txBody>
          <a:bodyPr>
            <a:normAutofit/>
          </a:bodyPr>
          <a:lstStyle>
            <a:lvl1pPr marR="0" algn="ctr" rtl="0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3400" b="0" i="0" u="none" strike="noStrike" cap="none" dirty="0">
                <a:solidFill>
                  <a:srgbClr val="000000"/>
                </a:solidFill>
                <a:latin typeface="+mn-lt"/>
                <a:ea typeface="+mj-ea"/>
                <a:cs typeface="Arial" panose="020B0604020202020204"/>
                <a:sym typeface="Arial" panose="020B0604020202020204"/>
              </a:defRPr>
            </a:lvl1pPr>
          </a:lstStyle>
          <a:p>
            <a:r>
              <a:rPr lang="zh-CN" altLang="en-US" dirty="0"/>
              <a:t>替换图片</a:t>
            </a:r>
            <a:endParaRPr lang="zh-CN" altLang="en-US" dirty="0"/>
          </a:p>
        </p:txBody>
      </p:sp>
      <p:sp>
        <p:nvSpPr>
          <p:cNvPr id="32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053887" y="5541568"/>
            <a:ext cx="9144153" cy="60114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060237" y="4212959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电脑展示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0" name="图片占位符 15"/>
          <p:cNvSpPr>
            <a:spLocks noGrp="1"/>
          </p:cNvSpPr>
          <p:nvPr>
            <p:ph type="pic" sz="quarter" idx="37" hasCustomPrompt="1"/>
          </p:nvPr>
        </p:nvSpPr>
        <p:spPr>
          <a:xfrm>
            <a:off x="1721920" y="4428183"/>
            <a:ext cx="4374080" cy="4619442"/>
          </a:xfrm>
          <a:prstGeom prst="ellipse">
            <a:avLst/>
          </a:prstGeom>
          <a:ln>
            <a:solidFill>
              <a:schemeClr val="accent3"/>
            </a:solidFill>
          </a:ln>
        </p:spPr>
        <p:txBody>
          <a:bodyPr>
            <a:normAutofit/>
          </a:bodyPr>
          <a:lstStyle>
            <a:lvl1pPr marR="0" algn="ctr" rtl="0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3400" b="0" i="0" u="none" strike="noStrike" cap="none" dirty="0">
                <a:solidFill>
                  <a:srgbClr val="000000"/>
                </a:solidFill>
                <a:latin typeface="+mn-lt"/>
                <a:ea typeface="+mj-ea"/>
                <a:cs typeface="Arial" panose="020B0604020202020204"/>
                <a:sym typeface="Arial" panose="020B0604020202020204"/>
              </a:defRPr>
            </a:lvl1pPr>
          </a:lstStyle>
          <a:p>
            <a:r>
              <a:rPr lang="zh-CN" altLang="en-US" dirty="0"/>
              <a:t>替换图片</a:t>
            </a:r>
            <a:endParaRPr lang="zh-CN" altLang="en-US" dirty="0"/>
          </a:p>
        </p:txBody>
      </p:sp>
      <p:sp>
        <p:nvSpPr>
          <p:cNvPr id="32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053887" y="5541568"/>
            <a:ext cx="9144153" cy="60114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请输入文字内容对标题进行补充说明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060237" y="4212959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展示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28" t="33942" r="24772" b="6314"/>
          <a:stretch>
            <a:fillRect/>
          </a:stretch>
        </p:blipFill>
        <p:spPr>
          <a:xfrm>
            <a:off x="2916085" y="2083205"/>
            <a:ext cx="5133803" cy="10588469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0" name="图片占位符 15"/>
          <p:cNvSpPr>
            <a:spLocks noGrp="1"/>
          </p:cNvSpPr>
          <p:nvPr>
            <p:ph type="pic" sz="quarter" idx="37" hasCustomPrompt="1"/>
          </p:nvPr>
        </p:nvSpPr>
        <p:spPr>
          <a:xfrm>
            <a:off x="3124200" y="2362201"/>
            <a:ext cx="4648201" cy="10091056"/>
          </a:xfrm>
          <a:prstGeom prst="roundRect">
            <a:avLst>
              <a:gd name="adj" fmla="val 7809"/>
            </a:avLst>
          </a:prstGeom>
        </p:spPr>
        <p:txBody>
          <a:bodyPr>
            <a:normAutofit/>
          </a:bodyPr>
          <a:lstStyle>
            <a:lvl1pPr marR="0" algn="ctr" rtl="0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3400" b="0" i="0" u="none" strike="noStrike" cap="none" dirty="0">
                <a:solidFill>
                  <a:srgbClr val="000000"/>
                </a:solidFill>
                <a:latin typeface="+mn-lt"/>
                <a:ea typeface="+mj-ea"/>
                <a:cs typeface="Arial" panose="020B0604020202020204"/>
                <a:sym typeface="Arial" panose="020B0604020202020204"/>
              </a:defRPr>
            </a:lvl1pPr>
          </a:lstStyle>
          <a:p>
            <a:r>
              <a:rPr lang="zh-CN" altLang="en-US" dirty="0"/>
              <a:t>替换图片</a:t>
            </a:r>
            <a:endParaRPr lang="zh-CN" altLang="en-US" dirty="0"/>
          </a:p>
        </p:txBody>
      </p:sp>
      <p:sp>
        <p:nvSpPr>
          <p:cNvPr id="31" name="SmartArt 占位符 3"/>
          <p:cNvSpPr>
            <a:spLocks noGrp="1"/>
          </p:cNvSpPr>
          <p:nvPr>
            <p:ph type="pic" sz="quarter" idx="40" hasCustomPrompt="1"/>
          </p:nvPr>
        </p:nvSpPr>
        <p:spPr>
          <a:xfrm>
            <a:off x="10087825" y="3795840"/>
            <a:ext cx="1568405" cy="156659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4" name="图片占位符 2"/>
          <p:cNvSpPr>
            <a:spLocks noGrp="1"/>
          </p:cNvSpPr>
          <p:nvPr>
            <p:ph type="pic" sz="quarter" idx="38" hasCustomPrompt="1"/>
          </p:nvPr>
        </p:nvSpPr>
        <p:spPr>
          <a:xfrm>
            <a:off x="10287208" y="4192367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35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1913003" y="4661814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3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1935490" y="3768131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39" name="SmartArt 占位符 3"/>
          <p:cNvSpPr>
            <a:spLocks noGrp="1"/>
          </p:cNvSpPr>
          <p:nvPr>
            <p:ph type="pic" sz="quarter" idx="41" hasCustomPrompt="1"/>
          </p:nvPr>
        </p:nvSpPr>
        <p:spPr>
          <a:xfrm>
            <a:off x="10082659" y="6812939"/>
            <a:ext cx="1568405" cy="156659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0" name="图片占位符 2"/>
          <p:cNvSpPr>
            <a:spLocks noGrp="1"/>
          </p:cNvSpPr>
          <p:nvPr>
            <p:ph type="pic" sz="quarter" idx="42" hasCustomPrompt="1"/>
          </p:nvPr>
        </p:nvSpPr>
        <p:spPr>
          <a:xfrm>
            <a:off x="10282042" y="7209466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41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11907837" y="7678913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42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11930324" y="6785230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  <p:sp>
        <p:nvSpPr>
          <p:cNvPr id="43" name="SmartArt 占位符 3"/>
          <p:cNvSpPr>
            <a:spLocks noGrp="1"/>
          </p:cNvSpPr>
          <p:nvPr>
            <p:ph type="pic" sz="quarter" idx="45" hasCustomPrompt="1"/>
          </p:nvPr>
        </p:nvSpPr>
        <p:spPr>
          <a:xfrm>
            <a:off x="10082659" y="9790989"/>
            <a:ext cx="1568405" cy="156659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4" name="图片占位符 2"/>
          <p:cNvSpPr>
            <a:spLocks noGrp="1"/>
          </p:cNvSpPr>
          <p:nvPr>
            <p:ph type="pic" sz="quarter" idx="46" hasCustomPrompt="1"/>
          </p:nvPr>
        </p:nvSpPr>
        <p:spPr>
          <a:xfrm>
            <a:off x="10282042" y="10187516"/>
            <a:ext cx="1202768" cy="87362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zh-CN" altLang="en-US" dirty="0"/>
              <a:t>图标</a:t>
            </a:r>
            <a:endParaRPr lang="zh-CN" altLang="en-US" dirty="0"/>
          </a:p>
        </p:txBody>
      </p:sp>
      <p:sp>
        <p:nvSpPr>
          <p:cNvPr id="45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1907837" y="10656963"/>
            <a:ext cx="8593292" cy="117956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</a:t>
            </a:r>
            <a:endParaRPr lang="en-US" altLang="zh-CN" dirty="0"/>
          </a:p>
        </p:txBody>
      </p:sp>
      <p:sp>
        <p:nvSpPr>
          <p:cNvPr id="46" name="文本占位符 8"/>
          <p:cNvSpPr>
            <a:spLocks noGrp="1"/>
          </p:cNvSpPr>
          <p:nvPr>
            <p:ph type="body" sz="quarter" idx="48" hasCustomPrompt="1"/>
          </p:nvPr>
        </p:nvSpPr>
        <p:spPr>
          <a:xfrm>
            <a:off x="11930324" y="9763280"/>
            <a:ext cx="6424900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电脑展示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martArt 占位符 4"/>
          <p:cNvSpPr>
            <a:spLocks noGrp="1"/>
          </p:cNvSpPr>
          <p:nvPr>
            <p:ph type="pic" sz="quarter" idx="33" hasCustomPrompt="1"/>
          </p:nvPr>
        </p:nvSpPr>
        <p:spPr>
          <a:xfrm>
            <a:off x="-1" y="5929207"/>
            <a:ext cx="24120475" cy="6036749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pic>
        <p:nvPicPr>
          <p:cNvPr id="34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3481969" y="3667207"/>
            <a:ext cx="8759443" cy="7853702"/>
          </a:xfrm>
          <a:prstGeom prst="rect">
            <a:avLst/>
          </a:prstGeom>
        </p:spPr>
      </p:pic>
      <p:sp>
        <p:nvSpPr>
          <p:cNvPr id="39" name="图片占位符 2"/>
          <p:cNvSpPr>
            <a:spLocks noGrp="1"/>
          </p:cNvSpPr>
          <p:nvPr userDrawn="1">
            <p:ph type="pic" sz="quarter" idx="32" hasCustomPrompt="1"/>
          </p:nvPr>
        </p:nvSpPr>
        <p:spPr>
          <a:xfrm>
            <a:off x="13888145" y="4150352"/>
            <a:ext cx="7924105" cy="48350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    </a:t>
            </a:r>
            <a:endParaRPr lang="zh-CN" altLang="en-US" dirty="0"/>
          </a:p>
        </p:txBody>
      </p:sp>
      <p:pic>
        <p:nvPicPr>
          <p:cNvPr id="36" name="Picture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493744" y="4112254"/>
            <a:ext cx="3348003" cy="4406631"/>
          </a:xfrm>
          <a:prstGeom prst="rect">
            <a:avLst/>
          </a:prstGeom>
        </p:spPr>
      </p:pic>
      <p:sp>
        <p:nvSpPr>
          <p:cNvPr id="40" name="图片占位符 2"/>
          <p:cNvSpPr>
            <a:spLocks noGrp="1"/>
          </p:cNvSpPr>
          <p:nvPr>
            <p:ph type="pic" sz="quarter" idx="34" hasCustomPrompt="1"/>
          </p:nvPr>
        </p:nvSpPr>
        <p:spPr>
          <a:xfrm>
            <a:off x="1261585" y="3846781"/>
            <a:ext cx="5198209" cy="48350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    </a:t>
            </a:r>
            <a:endParaRPr lang="zh-CN" altLang="en-US" dirty="0"/>
          </a:p>
        </p:txBody>
      </p:sp>
      <p:sp>
        <p:nvSpPr>
          <p:cNvPr id="41" name="图片占位符 2"/>
          <p:cNvSpPr>
            <a:spLocks noGrp="1"/>
          </p:cNvSpPr>
          <p:nvPr>
            <p:ph type="pic" sz="quarter" idx="35" hasCustomPrompt="1"/>
          </p:nvPr>
        </p:nvSpPr>
        <p:spPr>
          <a:xfrm>
            <a:off x="6855678" y="3846781"/>
            <a:ext cx="5198209" cy="48350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    </a:t>
            </a:r>
            <a:endParaRPr lang="zh-CN" altLang="en-US" dirty="0"/>
          </a:p>
        </p:txBody>
      </p:sp>
      <p:sp>
        <p:nvSpPr>
          <p:cNvPr id="42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258888" y="9813416"/>
            <a:ext cx="11985164" cy="18444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defRPr sz="24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标题进行补充说明；请输入文字内容对标题进行补充说明；请输入文字内容对标题进行补充说明</a:t>
            </a:r>
            <a:endParaRPr lang="en-US" altLang="zh-CN" dirty="0"/>
          </a:p>
        </p:txBody>
      </p:sp>
      <p:sp>
        <p:nvSpPr>
          <p:cNvPr id="4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58888" y="8871293"/>
            <a:ext cx="9144153" cy="91921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3400" baseline="0">
                <a:solidFill>
                  <a:schemeClr val="bg1"/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21945357" y="12456591"/>
            <a:ext cx="634902" cy="631928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grpSp>
        <p:nvGrpSpPr>
          <p:cNvPr id="31" name="Group 1"/>
          <p:cNvGrpSpPr/>
          <p:nvPr userDrawn="1"/>
        </p:nvGrpSpPr>
        <p:grpSpPr>
          <a:xfrm>
            <a:off x="7183018" y="4329862"/>
            <a:ext cx="9822806" cy="6324984"/>
            <a:chOff x="4368418" y="2523549"/>
            <a:chExt cx="3626941" cy="2335418"/>
          </a:xfrm>
        </p:grpSpPr>
        <p:sp>
          <p:nvSpPr>
            <p:cNvPr id="51" name="Freeform 69"/>
            <p:cNvSpPr/>
            <p:nvPr userDrawn="1"/>
          </p:nvSpPr>
          <p:spPr bwMode="auto">
            <a:xfrm rot="5400000">
              <a:off x="4570041" y="3489636"/>
              <a:ext cx="1059798" cy="404382"/>
            </a:xfrm>
            <a:custGeom>
              <a:avLst/>
              <a:gdLst>
                <a:gd name="T0" fmla="*/ 465 w 933"/>
                <a:gd name="T1" fmla="*/ 356 h 356"/>
                <a:gd name="T2" fmla="*/ 0 w 933"/>
                <a:gd name="T3" fmla="*/ 178 h 356"/>
                <a:gd name="T4" fmla="*/ 465 w 933"/>
                <a:gd name="T5" fmla="*/ 0 h 356"/>
                <a:gd name="T6" fmla="*/ 933 w 933"/>
                <a:gd name="T7" fmla="*/ 178 h 356"/>
                <a:gd name="T8" fmla="*/ 465 w 933"/>
                <a:gd name="T9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56">
                  <a:moveTo>
                    <a:pt x="465" y="356"/>
                  </a:moveTo>
                  <a:lnTo>
                    <a:pt x="0" y="178"/>
                  </a:lnTo>
                  <a:lnTo>
                    <a:pt x="465" y="0"/>
                  </a:lnTo>
                  <a:lnTo>
                    <a:pt x="933" y="178"/>
                  </a:lnTo>
                  <a:lnTo>
                    <a:pt x="465" y="35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2" name="Freeform 70"/>
            <p:cNvSpPr/>
            <p:nvPr userDrawn="1"/>
          </p:nvSpPr>
          <p:spPr bwMode="auto">
            <a:xfrm rot="5400000">
              <a:off x="4470082" y="3060265"/>
              <a:ext cx="528195" cy="731522"/>
            </a:xfrm>
            <a:custGeom>
              <a:avLst/>
              <a:gdLst>
                <a:gd name="T0" fmla="*/ 465 w 465"/>
                <a:gd name="T1" fmla="*/ 178 h 644"/>
                <a:gd name="T2" fmla="*/ 0 w 465"/>
                <a:gd name="T3" fmla="*/ 0 h 644"/>
                <a:gd name="T4" fmla="*/ 0 w 465"/>
                <a:gd name="T5" fmla="*/ 364 h 644"/>
                <a:gd name="T6" fmla="*/ 465 w 465"/>
                <a:gd name="T7" fmla="*/ 644 h 644"/>
                <a:gd name="T8" fmla="*/ 465 w 465"/>
                <a:gd name="T9" fmla="*/ 178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644">
                  <a:moveTo>
                    <a:pt x="465" y="178"/>
                  </a:moveTo>
                  <a:lnTo>
                    <a:pt x="0" y="0"/>
                  </a:lnTo>
                  <a:lnTo>
                    <a:pt x="0" y="364"/>
                  </a:lnTo>
                  <a:lnTo>
                    <a:pt x="465" y="644"/>
                  </a:lnTo>
                  <a:lnTo>
                    <a:pt x="465" y="1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3" name="Freeform 71"/>
            <p:cNvSpPr/>
            <p:nvPr userDrawn="1"/>
          </p:nvSpPr>
          <p:spPr bwMode="auto">
            <a:xfrm rot="5400000">
              <a:off x="4468378" y="3590164"/>
              <a:ext cx="531603" cy="731522"/>
            </a:xfrm>
            <a:custGeom>
              <a:avLst/>
              <a:gdLst>
                <a:gd name="T0" fmla="*/ 0 w 468"/>
                <a:gd name="T1" fmla="*/ 178 h 644"/>
                <a:gd name="T2" fmla="*/ 468 w 468"/>
                <a:gd name="T3" fmla="*/ 0 h 644"/>
                <a:gd name="T4" fmla="*/ 468 w 468"/>
                <a:gd name="T5" fmla="*/ 364 h 644"/>
                <a:gd name="T6" fmla="*/ 0 w 468"/>
                <a:gd name="T7" fmla="*/ 644 h 644"/>
                <a:gd name="T8" fmla="*/ 0 w 468"/>
                <a:gd name="T9" fmla="*/ 178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644">
                  <a:moveTo>
                    <a:pt x="0" y="178"/>
                  </a:moveTo>
                  <a:lnTo>
                    <a:pt x="468" y="0"/>
                  </a:lnTo>
                  <a:lnTo>
                    <a:pt x="468" y="364"/>
                  </a:lnTo>
                  <a:lnTo>
                    <a:pt x="0" y="644"/>
                  </a:lnTo>
                  <a:lnTo>
                    <a:pt x="0" y="17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4" name="Freeform 72"/>
            <p:cNvSpPr/>
            <p:nvPr userDrawn="1"/>
          </p:nvSpPr>
          <p:spPr bwMode="auto">
            <a:xfrm rot="5400000">
              <a:off x="4931827" y="3564038"/>
              <a:ext cx="1697039" cy="254442"/>
            </a:xfrm>
            <a:custGeom>
              <a:avLst/>
              <a:gdLst>
                <a:gd name="T0" fmla="*/ 746 w 1494"/>
                <a:gd name="T1" fmla="*/ 224 h 224"/>
                <a:gd name="T2" fmla="*/ 0 w 1494"/>
                <a:gd name="T3" fmla="*/ 112 h 224"/>
                <a:gd name="T4" fmla="*/ 746 w 1494"/>
                <a:gd name="T5" fmla="*/ 0 h 224"/>
                <a:gd name="T6" fmla="*/ 1494 w 1494"/>
                <a:gd name="T7" fmla="*/ 112 h 224"/>
                <a:gd name="T8" fmla="*/ 746 w 1494"/>
                <a:gd name="T9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4" h="224">
                  <a:moveTo>
                    <a:pt x="746" y="224"/>
                  </a:moveTo>
                  <a:lnTo>
                    <a:pt x="0" y="112"/>
                  </a:lnTo>
                  <a:lnTo>
                    <a:pt x="746" y="0"/>
                  </a:lnTo>
                  <a:lnTo>
                    <a:pt x="1494" y="112"/>
                  </a:lnTo>
                  <a:lnTo>
                    <a:pt x="746" y="22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5" name="Freeform 73"/>
            <p:cNvSpPr/>
            <p:nvPr userDrawn="1"/>
          </p:nvSpPr>
          <p:spPr bwMode="auto">
            <a:xfrm rot="5400000">
              <a:off x="5005661" y="2915437"/>
              <a:ext cx="847384" cy="701988"/>
            </a:xfrm>
            <a:custGeom>
              <a:avLst/>
              <a:gdLst>
                <a:gd name="T0" fmla="*/ 746 w 746"/>
                <a:gd name="T1" fmla="*/ 112 h 618"/>
                <a:gd name="T2" fmla="*/ 0 w 746"/>
                <a:gd name="T3" fmla="*/ 0 h 618"/>
                <a:gd name="T4" fmla="*/ 0 w 746"/>
                <a:gd name="T5" fmla="*/ 394 h 618"/>
                <a:gd name="T6" fmla="*/ 746 w 746"/>
                <a:gd name="T7" fmla="*/ 618 h 618"/>
                <a:gd name="T8" fmla="*/ 746 w 746"/>
                <a:gd name="T9" fmla="*/ 1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6" h="618">
                  <a:moveTo>
                    <a:pt x="746" y="112"/>
                  </a:moveTo>
                  <a:lnTo>
                    <a:pt x="0" y="0"/>
                  </a:lnTo>
                  <a:lnTo>
                    <a:pt x="0" y="394"/>
                  </a:lnTo>
                  <a:lnTo>
                    <a:pt x="746" y="618"/>
                  </a:lnTo>
                  <a:lnTo>
                    <a:pt x="746" y="11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6" name="Freeform 74"/>
            <p:cNvSpPr/>
            <p:nvPr userDrawn="1"/>
          </p:nvSpPr>
          <p:spPr bwMode="auto">
            <a:xfrm rot="5400000">
              <a:off x="5004524" y="3763957"/>
              <a:ext cx="849656" cy="701988"/>
            </a:xfrm>
            <a:custGeom>
              <a:avLst/>
              <a:gdLst>
                <a:gd name="T0" fmla="*/ 0 w 748"/>
                <a:gd name="T1" fmla="*/ 112 h 618"/>
                <a:gd name="T2" fmla="*/ 748 w 748"/>
                <a:gd name="T3" fmla="*/ 0 h 618"/>
                <a:gd name="T4" fmla="*/ 748 w 748"/>
                <a:gd name="T5" fmla="*/ 394 h 618"/>
                <a:gd name="T6" fmla="*/ 0 w 748"/>
                <a:gd name="T7" fmla="*/ 618 h 618"/>
                <a:gd name="T8" fmla="*/ 0 w 748"/>
                <a:gd name="T9" fmla="*/ 1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618">
                  <a:moveTo>
                    <a:pt x="0" y="112"/>
                  </a:moveTo>
                  <a:lnTo>
                    <a:pt x="748" y="0"/>
                  </a:lnTo>
                  <a:lnTo>
                    <a:pt x="748" y="394"/>
                  </a:lnTo>
                  <a:lnTo>
                    <a:pt x="0" y="618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7" name="Freeform 75"/>
            <p:cNvSpPr/>
            <p:nvPr userDrawn="1"/>
          </p:nvSpPr>
          <p:spPr bwMode="auto">
            <a:xfrm rot="5400000">
              <a:off x="6733368" y="3490203"/>
              <a:ext cx="1059798" cy="403246"/>
            </a:xfrm>
            <a:custGeom>
              <a:avLst/>
              <a:gdLst>
                <a:gd name="T0" fmla="*/ 465 w 933"/>
                <a:gd name="T1" fmla="*/ 0 h 355"/>
                <a:gd name="T2" fmla="*/ 0 w 933"/>
                <a:gd name="T3" fmla="*/ 177 h 355"/>
                <a:gd name="T4" fmla="*/ 465 w 933"/>
                <a:gd name="T5" fmla="*/ 355 h 355"/>
                <a:gd name="T6" fmla="*/ 933 w 933"/>
                <a:gd name="T7" fmla="*/ 177 h 355"/>
                <a:gd name="T8" fmla="*/ 465 w 933"/>
                <a:gd name="T9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55">
                  <a:moveTo>
                    <a:pt x="465" y="0"/>
                  </a:moveTo>
                  <a:lnTo>
                    <a:pt x="0" y="177"/>
                  </a:lnTo>
                  <a:lnTo>
                    <a:pt x="465" y="355"/>
                  </a:lnTo>
                  <a:lnTo>
                    <a:pt x="933" y="177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8" name="Freeform 76"/>
            <p:cNvSpPr/>
            <p:nvPr userDrawn="1"/>
          </p:nvSpPr>
          <p:spPr bwMode="auto">
            <a:xfrm rot="5400000">
              <a:off x="7365499" y="3060265"/>
              <a:ext cx="528195" cy="731522"/>
            </a:xfrm>
            <a:custGeom>
              <a:avLst/>
              <a:gdLst>
                <a:gd name="T0" fmla="*/ 465 w 465"/>
                <a:gd name="T1" fmla="*/ 467 h 644"/>
                <a:gd name="T2" fmla="*/ 0 w 465"/>
                <a:gd name="T3" fmla="*/ 644 h 644"/>
                <a:gd name="T4" fmla="*/ 0 w 465"/>
                <a:gd name="T5" fmla="*/ 280 h 644"/>
                <a:gd name="T6" fmla="*/ 465 w 465"/>
                <a:gd name="T7" fmla="*/ 0 h 644"/>
                <a:gd name="T8" fmla="*/ 465 w 465"/>
                <a:gd name="T9" fmla="*/ 467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644">
                  <a:moveTo>
                    <a:pt x="465" y="467"/>
                  </a:moveTo>
                  <a:lnTo>
                    <a:pt x="0" y="644"/>
                  </a:lnTo>
                  <a:lnTo>
                    <a:pt x="0" y="280"/>
                  </a:lnTo>
                  <a:lnTo>
                    <a:pt x="465" y="0"/>
                  </a:lnTo>
                  <a:lnTo>
                    <a:pt x="465" y="4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9" name="Freeform 77"/>
            <p:cNvSpPr/>
            <p:nvPr userDrawn="1"/>
          </p:nvSpPr>
          <p:spPr bwMode="auto">
            <a:xfrm rot="5400000">
              <a:off x="7363796" y="3590164"/>
              <a:ext cx="531603" cy="731522"/>
            </a:xfrm>
            <a:custGeom>
              <a:avLst/>
              <a:gdLst>
                <a:gd name="T0" fmla="*/ 0 w 468"/>
                <a:gd name="T1" fmla="*/ 467 h 644"/>
                <a:gd name="T2" fmla="*/ 468 w 468"/>
                <a:gd name="T3" fmla="*/ 644 h 644"/>
                <a:gd name="T4" fmla="*/ 468 w 468"/>
                <a:gd name="T5" fmla="*/ 280 h 644"/>
                <a:gd name="T6" fmla="*/ 0 w 468"/>
                <a:gd name="T7" fmla="*/ 0 h 644"/>
                <a:gd name="T8" fmla="*/ 0 w 468"/>
                <a:gd name="T9" fmla="*/ 467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644">
                  <a:moveTo>
                    <a:pt x="0" y="467"/>
                  </a:moveTo>
                  <a:lnTo>
                    <a:pt x="468" y="644"/>
                  </a:lnTo>
                  <a:lnTo>
                    <a:pt x="468" y="280"/>
                  </a:lnTo>
                  <a:lnTo>
                    <a:pt x="0" y="0"/>
                  </a:lnTo>
                  <a:lnTo>
                    <a:pt x="0" y="467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0" name="Freeform 78"/>
            <p:cNvSpPr/>
            <p:nvPr userDrawn="1"/>
          </p:nvSpPr>
          <p:spPr bwMode="auto">
            <a:xfrm rot="5400000">
              <a:off x="5733774" y="3564038"/>
              <a:ext cx="1697039" cy="254442"/>
            </a:xfrm>
            <a:custGeom>
              <a:avLst/>
              <a:gdLst>
                <a:gd name="T0" fmla="*/ 746 w 1494"/>
                <a:gd name="T1" fmla="*/ 0 h 224"/>
                <a:gd name="T2" fmla="*/ 0 w 1494"/>
                <a:gd name="T3" fmla="*/ 111 h 224"/>
                <a:gd name="T4" fmla="*/ 746 w 1494"/>
                <a:gd name="T5" fmla="*/ 224 h 224"/>
                <a:gd name="T6" fmla="*/ 1494 w 1494"/>
                <a:gd name="T7" fmla="*/ 111 h 224"/>
                <a:gd name="T8" fmla="*/ 746 w 1494"/>
                <a:gd name="T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4" h="224">
                  <a:moveTo>
                    <a:pt x="746" y="0"/>
                  </a:moveTo>
                  <a:lnTo>
                    <a:pt x="0" y="111"/>
                  </a:lnTo>
                  <a:lnTo>
                    <a:pt x="746" y="224"/>
                  </a:lnTo>
                  <a:lnTo>
                    <a:pt x="1494" y="111"/>
                  </a:lnTo>
                  <a:lnTo>
                    <a:pt x="746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Freeform 79"/>
            <p:cNvSpPr/>
            <p:nvPr userDrawn="1"/>
          </p:nvSpPr>
          <p:spPr bwMode="auto">
            <a:xfrm rot="5400000">
              <a:off x="6510164" y="2916005"/>
              <a:ext cx="847384" cy="700853"/>
            </a:xfrm>
            <a:custGeom>
              <a:avLst/>
              <a:gdLst>
                <a:gd name="T0" fmla="*/ 746 w 746"/>
                <a:gd name="T1" fmla="*/ 506 h 617"/>
                <a:gd name="T2" fmla="*/ 0 w 746"/>
                <a:gd name="T3" fmla="*/ 617 h 617"/>
                <a:gd name="T4" fmla="*/ 0 w 746"/>
                <a:gd name="T5" fmla="*/ 224 h 617"/>
                <a:gd name="T6" fmla="*/ 746 w 746"/>
                <a:gd name="T7" fmla="*/ 0 h 617"/>
                <a:gd name="T8" fmla="*/ 746 w 746"/>
                <a:gd name="T9" fmla="*/ 506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6" h="617">
                  <a:moveTo>
                    <a:pt x="746" y="506"/>
                  </a:moveTo>
                  <a:lnTo>
                    <a:pt x="0" y="617"/>
                  </a:lnTo>
                  <a:lnTo>
                    <a:pt x="0" y="224"/>
                  </a:lnTo>
                  <a:lnTo>
                    <a:pt x="746" y="0"/>
                  </a:lnTo>
                  <a:lnTo>
                    <a:pt x="746" y="506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Freeform 80"/>
            <p:cNvSpPr/>
            <p:nvPr userDrawn="1"/>
          </p:nvSpPr>
          <p:spPr bwMode="auto">
            <a:xfrm rot="5400000">
              <a:off x="6509028" y="3764525"/>
              <a:ext cx="849656" cy="700853"/>
            </a:xfrm>
            <a:custGeom>
              <a:avLst/>
              <a:gdLst>
                <a:gd name="T0" fmla="*/ 0 w 748"/>
                <a:gd name="T1" fmla="*/ 506 h 617"/>
                <a:gd name="T2" fmla="*/ 748 w 748"/>
                <a:gd name="T3" fmla="*/ 617 h 617"/>
                <a:gd name="T4" fmla="*/ 748 w 748"/>
                <a:gd name="T5" fmla="*/ 224 h 617"/>
                <a:gd name="T6" fmla="*/ 0 w 748"/>
                <a:gd name="T7" fmla="*/ 0 h 617"/>
                <a:gd name="T8" fmla="*/ 0 w 748"/>
                <a:gd name="T9" fmla="*/ 506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617">
                  <a:moveTo>
                    <a:pt x="0" y="506"/>
                  </a:moveTo>
                  <a:lnTo>
                    <a:pt x="748" y="617"/>
                  </a:lnTo>
                  <a:lnTo>
                    <a:pt x="748" y="224"/>
                  </a:lnTo>
                  <a:lnTo>
                    <a:pt x="0" y="0"/>
                  </a:lnTo>
                  <a:lnTo>
                    <a:pt x="0" y="50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Freeform 81"/>
            <p:cNvSpPr/>
            <p:nvPr userDrawn="1"/>
          </p:nvSpPr>
          <p:spPr bwMode="auto">
            <a:xfrm rot="5400000">
              <a:off x="5594058" y="2742779"/>
              <a:ext cx="1166573" cy="728114"/>
            </a:xfrm>
            <a:custGeom>
              <a:avLst/>
              <a:gdLst>
                <a:gd name="T0" fmla="*/ 1027 w 1027"/>
                <a:gd name="T1" fmla="*/ 641 h 641"/>
                <a:gd name="T2" fmla="*/ 0 w 1027"/>
                <a:gd name="T3" fmla="*/ 532 h 641"/>
                <a:gd name="T4" fmla="*/ 0 w 1027"/>
                <a:gd name="T5" fmla="*/ 111 h 641"/>
                <a:gd name="T6" fmla="*/ 1027 w 1027"/>
                <a:gd name="T7" fmla="*/ 0 h 641"/>
                <a:gd name="T8" fmla="*/ 1027 w 1027"/>
                <a:gd name="T9" fmla="*/ 64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7" h="641">
                  <a:moveTo>
                    <a:pt x="1027" y="641"/>
                  </a:moveTo>
                  <a:lnTo>
                    <a:pt x="0" y="532"/>
                  </a:lnTo>
                  <a:lnTo>
                    <a:pt x="0" y="111"/>
                  </a:lnTo>
                  <a:lnTo>
                    <a:pt x="1027" y="0"/>
                  </a:lnTo>
                  <a:lnTo>
                    <a:pt x="1027" y="64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4" name="Freeform 82"/>
            <p:cNvSpPr/>
            <p:nvPr userDrawn="1"/>
          </p:nvSpPr>
          <p:spPr bwMode="auto">
            <a:xfrm rot="5400000">
              <a:off x="5592922" y="3910488"/>
              <a:ext cx="1168845" cy="728114"/>
            </a:xfrm>
            <a:custGeom>
              <a:avLst/>
              <a:gdLst>
                <a:gd name="T0" fmla="*/ 0 w 1029"/>
                <a:gd name="T1" fmla="*/ 641 h 641"/>
                <a:gd name="T2" fmla="*/ 1029 w 1029"/>
                <a:gd name="T3" fmla="*/ 532 h 641"/>
                <a:gd name="T4" fmla="*/ 1029 w 1029"/>
                <a:gd name="T5" fmla="*/ 111 h 641"/>
                <a:gd name="T6" fmla="*/ 0 w 1029"/>
                <a:gd name="T7" fmla="*/ 0 h 641"/>
                <a:gd name="T8" fmla="*/ 0 w 1029"/>
                <a:gd name="T9" fmla="*/ 64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9" h="641">
                  <a:moveTo>
                    <a:pt x="0" y="641"/>
                  </a:moveTo>
                  <a:lnTo>
                    <a:pt x="1029" y="532"/>
                  </a:lnTo>
                  <a:lnTo>
                    <a:pt x="1029" y="111"/>
                  </a:lnTo>
                  <a:lnTo>
                    <a:pt x="0" y="0"/>
                  </a:lnTo>
                  <a:lnTo>
                    <a:pt x="0" y="6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5" name="Freeform 83"/>
            <p:cNvSpPr/>
            <p:nvPr userDrawn="1"/>
          </p:nvSpPr>
          <p:spPr bwMode="auto">
            <a:xfrm rot="5400000">
              <a:off x="7725013" y="3425457"/>
              <a:ext cx="9087" cy="531603"/>
            </a:xfrm>
            <a:custGeom>
              <a:avLst/>
              <a:gdLst>
                <a:gd name="T0" fmla="*/ 8 w 8"/>
                <a:gd name="T1" fmla="*/ 468 h 468"/>
                <a:gd name="T2" fmla="*/ 0 w 8"/>
                <a:gd name="T3" fmla="*/ 468 h 468"/>
                <a:gd name="T4" fmla="*/ 0 w 8"/>
                <a:gd name="T5" fmla="*/ 2 h 468"/>
                <a:gd name="T6" fmla="*/ 3 w 8"/>
                <a:gd name="T7" fmla="*/ 0 h 468"/>
                <a:gd name="T8" fmla="*/ 8 w 8"/>
                <a:gd name="T9" fmla="*/ 2 h 468"/>
                <a:gd name="T10" fmla="*/ 8 w 8"/>
                <a:gd name="T11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68">
                  <a:moveTo>
                    <a:pt x="8" y="468"/>
                  </a:moveTo>
                  <a:lnTo>
                    <a:pt x="0" y="468"/>
                  </a:lnTo>
                  <a:lnTo>
                    <a:pt x="0" y="2"/>
                  </a:lnTo>
                  <a:lnTo>
                    <a:pt x="3" y="0"/>
                  </a:lnTo>
                  <a:lnTo>
                    <a:pt x="8" y="2"/>
                  </a:lnTo>
                  <a:lnTo>
                    <a:pt x="8" y="468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6" name="Freeform 84"/>
            <p:cNvSpPr/>
            <p:nvPr userDrawn="1"/>
          </p:nvSpPr>
          <p:spPr bwMode="auto">
            <a:xfrm rot="5400000">
              <a:off x="6992355" y="3403875"/>
              <a:ext cx="9087" cy="574767"/>
            </a:xfrm>
            <a:custGeom>
              <a:avLst/>
              <a:gdLst>
                <a:gd name="T0" fmla="*/ 8 w 8"/>
                <a:gd name="T1" fmla="*/ 506 h 506"/>
                <a:gd name="T2" fmla="*/ 0 w 8"/>
                <a:gd name="T3" fmla="*/ 506 h 506"/>
                <a:gd name="T4" fmla="*/ 0 w 8"/>
                <a:gd name="T5" fmla="*/ 1 h 506"/>
                <a:gd name="T6" fmla="*/ 3 w 8"/>
                <a:gd name="T7" fmla="*/ 0 h 506"/>
                <a:gd name="T8" fmla="*/ 8 w 8"/>
                <a:gd name="T9" fmla="*/ 1 h 506"/>
                <a:gd name="T10" fmla="*/ 8 w 8"/>
                <a:gd name="T11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06">
                  <a:moveTo>
                    <a:pt x="8" y="506"/>
                  </a:moveTo>
                  <a:lnTo>
                    <a:pt x="0" y="506"/>
                  </a:lnTo>
                  <a:lnTo>
                    <a:pt x="0" y="1"/>
                  </a:lnTo>
                  <a:lnTo>
                    <a:pt x="3" y="0"/>
                  </a:lnTo>
                  <a:lnTo>
                    <a:pt x="8" y="1"/>
                  </a:lnTo>
                  <a:lnTo>
                    <a:pt x="8" y="506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7" name="Freeform 85"/>
            <p:cNvSpPr/>
            <p:nvPr userDrawn="1"/>
          </p:nvSpPr>
          <p:spPr bwMode="auto">
            <a:xfrm rot="5400000">
              <a:off x="4629676" y="3425457"/>
              <a:ext cx="9087" cy="531603"/>
            </a:xfrm>
            <a:custGeom>
              <a:avLst/>
              <a:gdLst>
                <a:gd name="T0" fmla="*/ 8 w 8"/>
                <a:gd name="T1" fmla="*/ 0 h 468"/>
                <a:gd name="T2" fmla="*/ 0 w 8"/>
                <a:gd name="T3" fmla="*/ 0 h 468"/>
                <a:gd name="T4" fmla="*/ 0 w 8"/>
                <a:gd name="T5" fmla="*/ 467 h 468"/>
                <a:gd name="T6" fmla="*/ 3 w 8"/>
                <a:gd name="T7" fmla="*/ 468 h 468"/>
                <a:gd name="T8" fmla="*/ 8 w 8"/>
                <a:gd name="T9" fmla="*/ 467 h 468"/>
                <a:gd name="T10" fmla="*/ 8 w 8"/>
                <a:gd name="T11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68">
                  <a:moveTo>
                    <a:pt x="8" y="0"/>
                  </a:moveTo>
                  <a:lnTo>
                    <a:pt x="0" y="0"/>
                  </a:lnTo>
                  <a:lnTo>
                    <a:pt x="0" y="467"/>
                  </a:lnTo>
                  <a:lnTo>
                    <a:pt x="3" y="468"/>
                  </a:lnTo>
                  <a:lnTo>
                    <a:pt x="8" y="46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8" name="Freeform 86"/>
            <p:cNvSpPr/>
            <p:nvPr userDrawn="1"/>
          </p:nvSpPr>
          <p:spPr bwMode="auto">
            <a:xfrm rot="5400000">
              <a:off x="5361198" y="3403875"/>
              <a:ext cx="9087" cy="574767"/>
            </a:xfrm>
            <a:custGeom>
              <a:avLst/>
              <a:gdLst>
                <a:gd name="T0" fmla="*/ 8 w 8"/>
                <a:gd name="T1" fmla="*/ 0 h 506"/>
                <a:gd name="T2" fmla="*/ 0 w 8"/>
                <a:gd name="T3" fmla="*/ 0 h 506"/>
                <a:gd name="T4" fmla="*/ 0 w 8"/>
                <a:gd name="T5" fmla="*/ 504 h 506"/>
                <a:gd name="T6" fmla="*/ 3 w 8"/>
                <a:gd name="T7" fmla="*/ 506 h 506"/>
                <a:gd name="T8" fmla="*/ 8 w 8"/>
                <a:gd name="T9" fmla="*/ 504 h 506"/>
                <a:gd name="T10" fmla="*/ 8 w 8"/>
                <a:gd name="T11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06">
                  <a:moveTo>
                    <a:pt x="8" y="0"/>
                  </a:moveTo>
                  <a:lnTo>
                    <a:pt x="0" y="0"/>
                  </a:lnTo>
                  <a:lnTo>
                    <a:pt x="0" y="504"/>
                  </a:lnTo>
                  <a:lnTo>
                    <a:pt x="3" y="506"/>
                  </a:lnTo>
                  <a:lnTo>
                    <a:pt x="8" y="50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9" name="Freeform 87"/>
            <p:cNvSpPr/>
            <p:nvPr userDrawn="1"/>
          </p:nvSpPr>
          <p:spPr bwMode="auto">
            <a:xfrm rot="5400000">
              <a:off x="6172801" y="3327202"/>
              <a:ext cx="9087" cy="728114"/>
            </a:xfrm>
            <a:custGeom>
              <a:avLst/>
              <a:gdLst>
                <a:gd name="T0" fmla="*/ 8 w 8"/>
                <a:gd name="T1" fmla="*/ 640 h 641"/>
                <a:gd name="T2" fmla="*/ 3 w 8"/>
                <a:gd name="T3" fmla="*/ 641 h 641"/>
                <a:gd name="T4" fmla="*/ 0 w 8"/>
                <a:gd name="T5" fmla="*/ 640 h 641"/>
                <a:gd name="T6" fmla="*/ 0 w 8"/>
                <a:gd name="T7" fmla="*/ 0 h 641"/>
                <a:gd name="T8" fmla="*/ 3 w 8"/>
                <a:gd name="T9" fmla="*/ 0 h 641"/>
                <a:gd name="T10" fmla="*/ 8 w 8"/>
                <a:gd name="T11" fmla="*/ 0 h 641"/>
                <a:gd name="T12" fmla="*/ 8 w 8"/>
                <a:gd name="T13" fmla="*/ 64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1">
                  <a:moveTo>
                    <a:pt x="8" y="640"/>
                  </a:moveTo>
                  <a:lnTo>
                    <a:pt x="3" y="641"/>
                  </a:lnTo>
                  <a:lnTo>
                    <a:pt x="0" y="64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64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0" name="Freeform 88"/>
            <p:cNvSpPr/>
            <p:nvPr userDrawn="1"/>
          </p:nvSpPr>
          <p:spPr bwMode="auto">
            <a:xfrm rot="5400000">
              <a:off x="7303593" y="3529960"/>
              <a:ext cx="1059798" cy="323733"/>
            </a:xfrm>
            <a:custGeom>
              <a:avLst/>
              <a:gdLst>
                <a:gd name="T0" fmla="*/ 465 w 933"/>
                <a:gd name="T1" fmla="*/ 0 h 285"/>
                <a:gd name="T2" fmla="*/ 0 w 933"/>
                <a:gd name="T3" fmla="*/ 280 h 285"/>
                <a:gd name="T4" fmla="*/ 0 w 933"/>
                <a:gd name="T5" fmla="*/ 285 h 285"/>
                <a:gd name="T6" fmla="*/ 465 w 933"/>
                <a:gd name="T7" fmla="*/ 10 h 285"/>
                <a:gd name="T8" fmla="*/ 933 w 933"/>
                <a:gd name="T9" fmla="*/ 285 h 285"/>
                <a:gd name="T10" fmla="*/ 933 w 933"/>
                <a:gd name="T11" fmla="*/ 280 h 285"/>
                <a:gd name="T12" fmla="*/ 465 w 933"/>
                <a:gd name="T1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3" h="285">
                  <a:moveTo>
                    <a:pt x="465" y="0"/>
                  </a:moveTo>
                  <a:lnTo>
                    <a:pt x="0" y="280"/>
                  </a:lnTo>
                  <a:lnTo>
                    <a:pt x="0" y="285"/>
                  </a:lnTo>
                  <a:lnTo>
                    <a:pt x="465" y="10"/>
                  </a:lnTo>
                  <a:lnTo>
                    <a:pt x="933" y="285"/>
                  </a:lnTo>
                  <a:lnTo>
                    <a:pt x="933" y="280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1" name="Freeform 89"/>
            <p:cNvSpPr/>
            <p:nvPr userDrawn="1"/>
          </p:nvSpPr>
          <p:spPr bwMode="auto">
            <a:xfrm rot="5400000">
              <a:off x="6837871" y="3587891"/>
              <a:ext cx="1059798" cy="207871"/>
            </a:xfrm>
            <a:custGeom>
              <a:avLst/>
              <a:gdLst>
                <a:gd name="T0" fmla="*/ 0 w 933"/>
                <a:gd name="T1" fmla="*/ 183 h 183"/>
                <a:gd name="T2" fmla="*/ 462 w 933"/>
                <a:gd name="T3" fmla="*/ 7 h 183"/>
                <a:gd name="T4" fmla="*/ 470 w 933"/>
                <a:gd name="T5" fmla="*/ 7 h 183"/>
                <a:gd name="T6" fmla="*/ 933 w 933"/>
                <a:gd name="T7" fmla="*/ 183 h 183"/>
                <a:gd name="T8" fmla="*/ 933 w 933"/>
                <a:gd name="T9" fmla="*/ 178 h 183"/>
                <a:gd name="T10" fmla="*/ 470 w 933"/>
                <a:gd name="T11" fmla="*/ 0 h 183"/>
                <a:gd name="T12" fmla="*/ 462 w 933"/>
                <a:gd name="T13" fmla="*/ 0 h 183"/>
                <a:gd name="T14" fmla="*/ 0 w 933"/>
                <a:gd name="T15" fmla="*/ 178 h 183"/>
                <a:gd name="T16" fmla="*/ 0 w 933"/>
                <a:gd name="T1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3" h="183">
                  <a:moveTo>
                    <a:pt x="0" y="183"/>
                  </a:moveTo>
                  <a:lnTo>
                    <a:pt x="462" y="7"/>
                  </a:lnTo>
                  <a:lnTo>
                    <a:pt x="470" y="7"/>
                  </a:lnTo>
                  <a:lnTo>
                    <a:pt x="933" y="183"/>
                  </a:lnTo>
                  <a:lnTo>
                    <a:pt x="933" y="178"/>
                  </a:lnTo>
                  <a:lnTo>
                    <a:pt x="470" y="0"/>
                  </a:lnTo>
                  <a:lnTo>
                    <a:pt x="462" y="0"/>
                  </a:lnTo>
                  <a:lnTo>
                    <a:pt x="0" y="178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2" name="Freeform 90"/>
            <p:cNvSpPr/>
            <p:nvPr userDrawn="1"/>
          </p:nvSpPr>
          <p:spPr bwMode="auto">
            <a:xfrm rot="5400000">
              <a:off x="6303998" y="3559494"/>
              <a:ext cx="1697039" cy="263530"/>
            </a:xfrm>
            <a:custGeom>
              <a:avLst/>
              <a:gdLst>
                <a:gd name="T0" fmla="*/ 746 w 1494"/>
                <a:gd name="T1" fmla="*/ 0 h 232"/>
                <a:gd name="T2" fmla="*/ 0 w 1494"/>
                <a:gd name="T3" fmla="*/ 224 h 232"/>
                <a:gd name="T4" fmla="*/ 0 w 1494"/>
                <a:gd name="T5" fmla="*/ 232 h 232"/>
                <a:gd name="T6" fmla="*/ 746 w 1494"/>
                <a:gd name="T7" fmla="*/ 10 h 232"/>
                <a:gd name="T8" fmla="*/ 1494 w 1494"/>
                <a:gd name="T9" fmla="*/ 232 h 232"/>
                <a:gd name="T10" fmla="*/ 1494 w 1494"/>
                <a:gd name="T11" fmla="*/ 224 h 232"/>
                <a:gd name="T12" fmla="*/ 746 w 1494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4" h="232">
                  <a:moveTo>
                    <a:pt x="746" y="0"/>
                  </a:moveTo>
                  <a:lnTo>
                    <a:pt x="0" y="224"/>
                  </a:lnTo>
                  <a:lnTo>
                    <a:pt x="0" y="232"/>
                  </a:lnTo>
                  <a:lnTo>
                    <a:pt x="746" y="10"/>
                  </a:lnTo>
                  <a:lnTo>
                    <a:pt x="1494" y="232"/>
                  </a:lnTo>
                  <a:lnTo>
                    <a:pt x="1494" y="224"/>
                  </a:lnTo>
                  <a:lnTo>
                    <a:pt x="746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3" name="Freeform 91"/>
            <p:cNvSpPr/>
            <p:nvPr userDrawn="1"/>
          </p:nvSpPr>
          <p:spPr bwMode="auto">
            <a:xfrm rot="5400000">
              <a:off x="5804200" y="3621969"/>
              <a:ext cx="1697039" cy="138580"/>
            </a:xfrm>
            <a:custGeom>
              <a:avLst/>
              <a:gdLst>
                <a:gd name="T0" fmla="*/ 743 w 1494"/>
                <a:gd name="T1" fmla="*/ 0 h 122"/>
                <a:gd name="T2" fmla="*/ 0 w 1494"/>
                <a:gd name="T3" fmla="*/ 113 h 122"/>
                <a:gd name="T4" fmla="*/ 0 w 1494"/>
                <a:gd name="T5" fmla="*/ 122 h 122"/>
                <a:gd name="T6" fmla="*/ 743 w 1494"/>
                <a:gd name="T7" fmla="*/ 11 h 122"/>
                <a:gd name="T8" fmla="*/ 751 w 1494"/>
                <a:gd name="T9" fmla="*/ 11 h 122"/>
                <a:gd name="T10" fmla="*/ 1494 w 1494"/>
                <a:gd name="T11" fmla="*/ 122 h 122"/>
                <a:gd name="T12" fmla="*/ 1494 w 1494"/>
                <a:gd name="T13" fmla="*/ 113 h 122"/>
                <a:gd name="T14" fmla="*/ 751 w 1494"/>
                <a:gd name="T15" fmla="*/ 0 h 122"/>
                <a:gd name="T16" fmla="*/ 743 w 1494"/>
                <a:gd name="T1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4" h="122">
                  <a:moveTo>
                    <a:pt x="743" y="0"/>
                  </a:moveTo>
                  <a:lnTo>
                    <a:pt x="0" y="113"/>
                  </a:lnTo>
                  <a:lnTo>
                    <a:pt x="0" y="122"/>
                  </a:lnTo>
                  <a:lnTo>
                    <a:pt x="743" y="11"/>
                  </a:lnTo>
                  <a:lnTo>
                    <a:pt x="751" y="11"/>
                  </a:lnTo>
                  <a:lnTo>
                    <a:pt x="1494" y="122"/>
                  </a:lnTo>
                  <a:lnTo>
                    <a:pt x="1494" y="113"/>
                  </a:lnTo>
                  <a:lnTo>
                    <a:pt x="751" y="0"/>
                  </a:lnTo>
                  <a:lnTo>
                    <a:pt x="743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4" name="Freeform 92"/>
            <p:cNvSpPr/>
            <p:nvPr userDrawn="1"/>
          </p:nvSpPr>
          <p:spPr bwMode="auto">
            <a:xfrm rot="5400000">
              <a:off x="4000386" y="3529960"/>
              <a:ext cx="1059798" cy="323733"/>
            </a:xfrm>
            <a:custGeom>
              <a:avLst/>
              <a:gdLst>
                <a:gd name="T0" fmla="*/ 465 w 933"/>
                <a:gd name="T1" fmla="*/ 285 h 285"/>
                <a:gd name="T2" fmla="*/ 0 w 933"/>
                <a:gd name="T3" fmla="*/ 5 h 285"/>
                <a:gd name="T4" fmla="*/ 0 w 933"/>
                <a:gd name="T5" fmla="*/ 0 h 285"/>
                <a:gd name="T6" fmla="*/ 465 w 933"/>
                <a:gd name="T7" fmla="*/ 275 h 285"/>
                <a:gd name="T8" fmla="*/ 933 w 933"/>
                <a:gd name="T9" fmla="*/ 0 h 285"/>
                <a:gd name="T10" fmla="*/ 933 w 933"/>
                <a:gd name="T11" fmla="*/ 5 h 285"/>
                <a:gd name="T12" fmla="*/ 465 w 933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3" h="285">
                  <a:moveTo>
                    <a:pt x="465" y="28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65" y="275"/>
                  </a:lnTo>
                  <a:lnTo>
                    <a:pt x="933" y="0"/>
                  </a:lnTo>
                  <a:lnTo>
                    <a:pt x="933" y="5"/>
                  </a:lnTo>
                  <a:lnTo>
                    <a:pt x="465" y="285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5" name="Freeform 93"/>
            <p:cNvSpPr/>
            <p:nvPr userDrawn="1"/>
          </p:nvSpPr>
          <p:spPr bwMode="auto">
            <a:xfrm rot="5400000">
              <a:off x="4466105" y="3587891"/>
              <a:ext cx="1059798" cy="207871"/>
            </a:xfrm>
            <a:custGeom>
              <a:avLst/>
              <a:gdLst>
                <a:gd name="T0" fmla="*/ 0 w 933"/>
                <a:gd name="T1" fmla="*/ 0 h 183"/>
                <a:gd name="T2" fmla="*/ 462 w 933"/>
                <a:gd name="T3" fmla="*/ 176 h 183"/>
                <a:gd name="T4" fmla="*/ 470 w 933"/>
                <a:gd name="T5" fmla="*/ 176 h 183"/>
                <a:gd name="T6" fmla="*/ 933 w 933"/>
                <a:gd name="T7" fmla="*/ 0 h 183"/>
                <a:gd name="T8" fmla="*/ 933 w 933"/>
                <a:gd name="T9" fmla="*/ 5 h 183"/>
                <a:gd name="T10" fmla="*/ 470 w 933"/>
                <a:gd name="T11" fmla="*/ 183 h 183"/>
                <a:gd name="T12" fmla="*/ 462 w 933"/>
                <a:gd name="T13" fmla="*/ 183 h 183"/>
                <a:gd name="T14" fmla="*/ 0 w 933"/>
                <a:gd name="T15" fmla="*/ 5 h 183"/>
                <a:gd name="T16" fmla="*/ 0 w 933"/>
                <a:gd name="T1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3" h="183">
                  <a:moveTo>
                    <a:pt x="0" y="0"/>
                  </a:moveTo>
                  <a:lnTo>
                    <a:pt x="462" y="176"/>
                  </a:lnTo>
                  <a:lnTo>
                    <a:pt x="470" y="176"/>
                  </a:lnTo>
                  <a:lnTo>
                    <a:pt x="933" y="0"/>
                  </a:lnTo>
                  <a:lnTo>
                    <a:pt x="933" y="5"/>
                  </a:lnTo>
                  <a:lnTo>
                    <a:pt x="470" y="183"/>
                  </a:lnTo>
                  <a:lnTo>
                    <a:pt x="462" y="183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6" name="Freeform 94"/>
            <p:cNvSpPr/>
            <p:nvPr userDrawn="1"/>
          </p:nvSpPr>
          <p:spPr bwMode="auto">
            <a:xfrm rot="5400000">
              <a:off x="4362170" y="3558926"/>
              <a:ext cx="1697039" cy="264666"/>
            </a:xfrm>
            <a:custGeom>
              <a:avLst/>
              <a:gdLst>
                <a:gd name="T0" fmla="*/ 746 w 1494"/>
                <a:gd name="T1" fmla="*/ 233 h 233"/>
                <a:gd name="T2" fmla="*/ 0 w 1494"/>
                <a:gd name="T3" fmla="*/ 9 h 233"/>
                <a:gd name="T4" fmla="*/ 0 w 1494"/>
                <a:gd name="T5" fmla="*/ 0 h 233"/>
                <a:gd name="T6" fmla="*/ 746 w 1494"/>
                <a:gd name="T7" fmla="*/ 222 h 233"/>
                <a:gd name="T8" fmla="*/ 1494 w 1494"/>
                <a:gd name="T9" fmla="*/ 0 h 233"/>
                <a:gd name="T10" fmla="*/ 1494 w 1494"/>
                <a:gd name="T11" fmla="*/ 9 h 233"/>
                <a:gd name="T12" fmla="*/ 746 w 1494"/>
                <a:gd name="T1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4" h="233">
                  <a:moveTo>
                    <a:pt x="746" y="23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746" y="222"/>
                  </a:lnTo>
                  <a:lnTo>
                    <a:pt x="1494" y="0"/>
                  </a:lnTo>
                  <a:lnTo>
                    <a:pt x="1494" y="9"/>
                  </a:lnTo>
                  <a:lnTo>
                    <a:pt x="746" y="233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7" name="Freeform 95"/>
            <p:cNvSpPr/>
            <p:nvPr userDrawn="1"/>
          </p:nvSpPr>
          <p:spPr bwMode="auto">
            <a:xfrm rot="5400000">
              <a:off x="4862537" y="3621969"/>
              <a:ext cx="1697039" cy="138580"/>
            </a:xfrm>
            <a:custGeom>
              <a:avLst/>
              <a:gdLst>
                <a:gd name="T0" fmla="*/ 743 w 1494"/>
                <a:gd name="T1" fmla="*/ 122 h 122"/>
                <a:gd name="T2" fmla="*/ 0 w 1494"/>
                <a:gd name="T3" fmla="*/ 9 h 122"/>
                <a:gd name="T4" fmla="*/ 0 w 1494"/>
                <a:gd name="T5" fmla="*/ 0 h 122"/>
                <a:gd name="T6" fmla="*/ 743 w 1494"/>
                <a:gd name="T7" fmla="*/ 112 h 122"/>
                <a:gd name="T8" fmla="*/ 751 w 1494"/>
                <a:gd name="T9" fmla="*/ 112 h 122"/>
                <a:gd name="T10" fmla="*/ 1494 w 1494"/>
                <a:gd name="T11" fmla="*/ 0 h 122"/>
                <a:gd name="T12" fmla="*/ 1494 w 1494"/>
                <a:gd name="T13" fmla="*/ 9 h 122"/>
                <a:gd name="T14" fmla="*/ 751 w 1494"/>
                <a:gd name="T15" fmla="*/ 122 h 122"/>
                <a:gd name="T16" fmla="*/ 743 w 1494"/>
                <a:gd name="T1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4" h="122">
                  <a:moveTo>
                    <a:pt x="743" y="122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743" y="112"/>
                  </a:lnTo>
                  <a:lnTo>
                    <a:pt x="751" y="112"/>
                  </a:lnTo>
                  <a:lnTo>
                    <a:pt x="1494" y="0"/>
                  </a:lnTo>
                  <a:lnTo>
                    <a:pt x="1494" y="9"/>
                  </a:lnTo>
                  <a:lnTo>
                    <a:pt x="751" y="122"/>
                  </a:lnTo>
                  <a:lnTo>
                    <a:pt x="743" y="122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8" name="Freeform 96"/>
            <p:cNvSpPr/>
            <p:nvPr userDrawn="1"/>
          </p:nvSpPr>
          <p:spPr bwMode="auto">
            <a:xfrm rot="5400000">
              <a:off x="5303835" y="3621400"/>
              <a:ext cx="2335417" cy="139716"/>
            </a:xfrm>
            <a:custGeom>
              <a:avLst/>
              <a:gdLst>
                <a:gd name="T0" fmla="*/ 1027 w 2056"/>
                <a:gd name="T1" fmla="*/ 0 h 123"/>
                <a:gd name="T2" fmla="*/ 0 w 2056"/>
                <a:gd name="T3" fmla="*/ 111 h 123"/>
                <a:gd name="T4" fmla="*/ 0 w 2056"/>
                <a:gd name="T5" fmla="*/ 123 h 123"/>
                <a:gd name="T6" fmla="*/ 1027 w 2056"/>
                <a:gd name="T7" fmla="*/ 14 h 123"/>
                <a:gd name="T8" fmla="*/ 2056 w 2056"/>
                <a:gd name="T9" fmla="*/ 123 h 123"/>
                <a:gd name="T10" fmla="*/ 2056 w 2056"/>
                <a:gd name="T11" fmla="*/ 111 h 123"/>
                <a:gd name="T12" fmla="*/ 1027 w 2056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6" h="123">
                  <a:moveTo>
                    <a:pt x="1027" y="0"/>
                  </a:moveTo>
                  <a:lnTo>
                    <a:pt x="0" y="111"/>
                  </a:lnTo>
                  <a:lnTo>
                    <a:pt x="0" y="123"/>
                  </a:lnTo>
                  <a:lnTo>
                    <a:pt x="1027" y="14"/>
                  </a:lnTo>
                  <a:lnTo>
                    <a:pt x="2056" y="123"/>
                  </a:lnTo>
                  <a:lnTo>
                    <a:pt x="2056" y="111"/>
                  </a:lnTo>
                  <a:lnTo>
                    <a:pt x="1027" y="0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9" name="Freeform 97"/>
            <p:cNvSpPr/>
            <p:nvPr userDrawn="1"/>
          </p:nvSpPr>
          <p:spPr bwMode="auto">
            <a:xfrm rot="5400000">
              <a:off x="4713165" y="3623672"/>
              <a:ext cx="2335417" cy="135173"/>
            </a:xfrm>
            <a:custGeom>
              <a:avLst/>
              <a:gdLst>
                <a:gd name="T0" fmla="*/ 1027 w 2056"/>
                <a:gd name="T1" fmla="*/ 119 h 119"/>
                <a:gd name="T2" fmla="*/ 0 w 2056"/>
                <a:gd name="T3" fmla="*/ 10 h 119"/>
                <a:gd name="T4" fmla="*/ 0 w 2056"/>
                <a:gd name="T5" fmla="*/ 0 h 119"/>
                <a:gd name="T6" fmla="*/ 1027 w 2056"/>
                <a:gd name="T7" fmla="*/ 104 h 119"/>
                <a:gd name="T8" fmla="*/ 2056 w 2056"/>
                <a:gd name="T9" fmla="*/ 0 h 119"/>
                <a:gd name="T10" fmla="*/ 2056 w 2056"/>
                <a:gd name="T11" fmla="*/ 10 h 119"/>
                <a:gd name="T12" fmla="*/ 1027 w 2056"/>
                <a:gd name="T1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6" h="119">
                  <a:moveTo>
                    <a:pt x="1027" y="119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027" y="104"/>
                  </a:lnTo>
                  <a:lnTo>
                    <a:pt x="2056" y="0"/>
                  </a:lnTo>
                  <a:lnTo>
                    <a:pt x="2056" y="10"/>
                  </a:lnTo>
                  <a:lnTo>
                    <a:pt x="1027" y="119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8580" tIns="64290" rIns="128580" bIns="64290" numCol="1" anchor="t" anchorCtr="0" compatLnSpc="1"/>
            <a:lstStyle>
              <a:defPPr>
                <a:defRPr lang="en-US"/>
              </a:defPPr>
              <a:lvl1pPr marL="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19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6456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653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284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1109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9306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75025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56990" algn="l" defTabSz="96456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id-ID" sz="800" dirty="0">
                <a:latin typeface="印品黑体" panose="00000500000000000000" pitchFamily="2" charset="-122"/>
                <a:ea typeface="印品黑体" panose="00000500000000000000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cxnSp>
        <p:nvCxnSpPr>
          <p:cNvPr id="46" name="Elbow Connector 41"/>
          <p:cNvCxnSpPr/>
          <p:nvPr userDrawn="1"/>
        </p:nvCxnSpPr>
        <p:spPr>
          <a:xfrm rot="10800000">
            <a:off x="7069776" y="4274563"/>
            <a:ext cx="3105310" cy="777882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2"/>
          <p:cNvCxnSpPr/>
          <p:nvPr userDrawn="1"/>
        </p:nvCxnSpPr>
        <p:spPr>
          <a:xfrm rot="10800000">
            <a:off x="5119319" y="8031770"/>
            <a:ext cx="3331002" cy="1006228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3"/>
          <p:cNvCxnSpPr/>
          <p:nvPr userDrawn="1"/>
        </p:nvCxnSpPr>
        <p:spPr>
          <a:xfrm rot="10800000" flipV="1">
            <a:off x="12850633" y="3519178"/>
            <a:ext cx="3990062" cy="959890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4"/>
          <p:cNvCxnSpPr>
            <a:stCxn id="82" idx="1"/>
          </p:cNvCxnSpPr>
          <p:nvPr userDrawn="1"/>
        </p:nvCxnSpPr>
        <p:spPr>
          <a:xfrm rot="10800000">
            <a:off x="16614843" y="6648254"/>
            <a:ext cx="2188434" cy="417161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5"/>
          <p:cNvCxnSpPr/>
          <p:nvPr userDrawn="1"/>
        </p:nvCxnSpPr>
        <p:spPr>
          <a:xfrm rot="10800000">
            <a:off x="13859230" y="9885891"/>
            <a:ext cx="3716633" cy="810969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6915553" y="3089137"/>
            <a:ext cx="3479529" cy="768737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6915553" y="3888142"/>
            <a:ext cx="4485925" cy="141158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8803277" y="6681045"/>
            <a:ext cx="3479529" cy="768737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18803277" y="7480050"/>
            <a:ext cx="4485925" cy="141158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4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17676322" y="10246002"/>
            <a:ext cx="3479529" cy="768737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7676322" y="11045007"/>
            <a:ext cx="4485925" cy="141158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6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2882476" y="3749194"/>
            <a:ext cx="3479529" cy="768737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8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2882476" y="4548199"/>
            <a:ext cx="4485925" cy="141158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9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462744" y="7533201"/>
            <a:ext cx="3479529" cy="768737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462744" y="8332206"/>
            <a:ext cx="4485925" cy="141158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93" name="竖排文字占位符 92"/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1505201" y="5110559"/>
            <a:ext cx="1114320" cy="2268411"/>
          </a:xfrm>
        </p:spPr>
        <p:txBody>
          <a:bodyPr vert="eaVert">
            <a:normAutofit/>
          </a:bodyPr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95" name="竖排文字占位符 92"/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9662463" y="5476490"/>
            <a:ext cx="983946" cy="2268411"/>
          </a:xfrm>
        </p:spPr>
        <p:txBody>
          <a:bodyPr vert="eaVert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96" name="竖排文字占位符 92"/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13589000" y="5388582"/>
            <a:ext cx="983946" cy="2268411"/>
          </a:xfrm>
        </p:spPr>
        <p:txBody>
          <a:bodyPr vert="eaVert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97" name="竖排文字占位符 92"/>
          <p:cNvSpPr>
            <a:spLocks noGrp="1"/>
          </p:cNvSpPr>
          <p:nvPr>
            <p:ph type="body" orient="vert" sz="quarter" idx="44" hasCustomPrompt="1"/>
          </p:nvPr>
        </p:nvSpPr>
        <p:spPr>
          <a:xfrm>
            <a:off x="15513020" y="6104571"/>
            <a:ext cx="887063" cy="1666238"/>
          </a:xfrm>
        </p:spPr>
        <p:txBody>
          <a:bodyPr vert="eaVert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  <p:sp>
        <p:nvSpPr>
          <p:cNvPr id="98" name="竖排文字占位符 92"/>
          <p:cNvSpPr>
            <a:spLocks noGrp="1"/>
          </p:cNvSpPr>
          <p:nvPr>
            <p:ph type="body" orient="vert" sz="quarter" idx="45" hasCustomPrompt="1"/>
          </p:nvPr>
        </p:nvSpPr>
        <p:spPr>
          <a:xfrm>
            <a:off x="7766453" y="6101978"/>
            <a:ext cx="887063" cy="1666238"/>
          </a:xfrm>
        </p:spPr>
        <p:txBody>
          <a:bodyPr vert="eaVert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类标题+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9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4274673" y="3546047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40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3261916" y="5117048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41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889" y="6368231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42" name="图片占位符 3"/>
          <p:cNvSpPr>
            <a:spLocks noGrp="1"/>
          </p:cNvSpPr>
          <p:nvPr>
            <p:ph type="pic" sz="quarter" idx="18" hasCustomPrompt="1"/>
          </p:nvPr>
        </p:nvSpPr>
        <p:spPr>
          <a:xfrm>
            <a:off x="4666129" y="3951101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替换图标</a:t>
            </a:r>
            <a:endParaRPr lang="zh-CN" altLang="en-US" dirty="0"/>
          </a:p>
        </p:txBody>
      </p:sp>
      <p:sp>
        <p:nvSpPr>
          <p:cNvPr id="43" name="内容占位符 2"/>
          <p:cNvSpPr>
            <a:spLocks noGrp="1"/>
          </p:cNvSpPr>
          <p:nvPr>
            <p:ph sz="half" idx="35" hasCustomPrompt="1"/>
          </p:nvPr>
        </p:nvSpPr>
        <p:spPr>
          <a:xfrm rot="16200000" flipH="1">
            <a:off x="4974454" y="5760758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44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4274673" y="8220541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45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3261916" y="9791542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46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2772889" y="11042725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47" name="图片占位符 3"/>
          <p:cNvSpPr>
            <a:spLocks noGrp="1"/>
          </p:cNvSpPr>
          <p:nvPr>
            <p:ph type="pic" sz="quarter" idx="39" hasCustomPrompt="1"/>
          </p:nvPr>
        </p:nvSpPr>
        <p:spPr>
          <a:xfrm>
            <a:off x="4666129" y="8625595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48" name="内容占位符 2"/>
          <p:cNvSpPr>
            <a:spLocks noGrp="1"/>
          </p:cNvSpPr>
          <p:nvPr>
            <p:ph sz="half" idx="40" hasCustomPrompt="1"/>
          </p:nvPr>
        </p:nvSpPr>
        <p:spPr>
          <a:xfrm rot="16200000" flipH="1">
            <a:off x="4974454" y="10435252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49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1462887" y="3546047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50" name="文本占位符 8"/>
          <p:cNvSpPr>
            <a:spLocks noGrp="1"/>
          </p:cNvSpPr>
          <p:nvPr>
            <p:ph type="body" sz="quarter" idx="42" hasCustomPrompt="1"/>
          </p:nvPr>
        </p:nvSpPr>
        <p:spPr>
          <a:xfrm>
            <a:off x="10450130" y="5117048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51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9961103" y="6368231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52" name="图片占位符 3"/>
          <p:cNvSpPr>
            <a:spLocks noGrp="1"/>
          </p:cNvSpPr>
          <p:nvPr>
            <p:ph type="pic" sz="quarter" idx="44" hasCustomPrompt="1"/>
          </p:nvPr>
        </p:nvSpPr>
        <p:spPr>
          <a:xfrm>
            <a:off x="11854343" y="3951101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53" name="内容占位符 2"/>
          <p:cNvSpPr>
            <a:spLocks noGrp="1"/>
          </p:cNvSpPr>
          <p:nvPr>
            <p:ph sz="half" idx="45" hasCustomPrompt="1"/>
          </p:nvPr>
        </p:nvSpPr>
        <p:spPr>
          <a:xfrm rot="16200000" flipH="1">
            <a:off x="12162668" y="5760758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54" name="文本占位符 8"/>
          <p:cNvSpPr>
            <a:spLocks noGrp="1"/>
          </p:cNvSpPr>
          <p:nvPr>
            <p:ph type="body" sz="quarter" idx="46" hasCustomPrompt="1"/>
          </p:nvPr>
        </p:nvSpPr>
        <p:spPr>
          <a:xfrm>
            <a:off x="11462887" y="8220541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55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0450130" y="9791542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57" name="文本占位符 8"/>
          <p:cNvSpPr>
            <a:spLocks noGrp="1"/>
          </p:cNvSpPr>
          <p:nvPr>
            <p:ph type="body" sz="quarter" idx="48" hasCustomPrompt="1"/>
          </p:nvPr>
        </p:nvSpPr>
        <p:spPr>
          <a:xfrm>
            <a:off x="9961103" y="11042725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59" name="图片占位符 3"/>
          <p:cNvSpPr>
            <a:spLocks noGrp="1"/>
          </p:cNvSpPr>
          <p:nvPr>
            <p:ph type="pic" sz="quarter" idx="49" hasCustomPrompt="1"/>
          </p:nvPr>
        </p:nvSpPr>
        <p:spPr>
          <a:xfrm>
            <a:off x="11854343" y="8625595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61" name="内容占位符 2"/>
          <p:cNvSpPr>
            <a:spLocks noGrp="1"/>
          </p:cNvSpPr>
          <p:nvPr>
            <p:ph sz="half" idx="50" hasCustomPrompt="1"/>
          </p:nvPr>
        </p:nvSpPr>
        <p:spPr>
          <a:xfrm rot="16200000" flipH="1">
            <a:off x="12162668" y="10435252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62" name="文本占位符 8"/>
          <p:cNvSpPr>
            <a:spLocks noGrp="1"/>
          </p:cNvSpPr>
          <p:nvPr>
            <p:ph type="body" sz="quarter" idx="51" hasCustomPrompt="1"/>
          </p:nvPr>
        </p:nvSpPr>
        <p:spPr>
          <a:xfrm>
            <a:off x="18651101" y="3546047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65" name="文本占位符 8"/>
          <p:cNvSpPr>
            <a:spLocks noGrp="1"/>
          </p:cNvSpPr>
          <p:nvPr>
            <p:ph type="body" sz="quarter" idx="52" hasCustomPrompt="1"/>
          </p:nvPr>
        </p:nvSpPr>
        <p:spPr>
          <a:xfrm>
            <a:off x="17638344" y="5117048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7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7149317" y="6368231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68" name="图片占位符 3"/>
          <p:cNvSpPr>
            <a:spLocks noGrp="1"/>
          </p:cNvSpPr>
          <p:nvPr>
            <p:ph type="pic" sz="quarter" idx="54" hasCustomPrompt="1"/>
          </p:nvPr>
        </p:nvSpPr>
        <p:spPr>
          <a:xfrm>
            <a:off x="19042557" y="3951101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69" name="内容占位符 2"/>
          <p:cNvSpPr>
            <a:spLocks noGrp="1"/>
          </p:cNvSpPr>
          <p:nvPr>
            <p:ph sz="half" idx="55" hasCustomPrompt="1"/>
          </p:nvPr>
        </p:nvSpPr>
        <p:spPr>
          <a:xfrm rot="16200000" flipH="1">
            <a:off x="19350882" y="5760758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70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18651101" y="8220541"/>
            <a:ext cx="1482356" cy="14930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 b="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71" name="文本占位符 8"/>
          <p:cNvSpPr>
            <a:spLocks noGrp="1"/>
          </p:cNvSpPr>
          <p:nvPr>
            <p:ph type="body" sz="quarter" idx="57" hasCustomPrompt="1"/>
          </p:nvPr>
        </p:nvSpPr>
        <p:spPr>
          <a:xfrm>
            <a:off x="17638344" y="9791542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2" name="文本占位符 8"/>
          <p:cNvSpPr>
            <a:spLocks noGrp="1"/>
          </p:cNvSpPr>
          <p:nvPr>
            <p:ph type="body" sz="quarter" idx="58" hasCustomPrompt="1"/>
          </p:nvPr>
        </p:nvSpPr>
        <p:spPr>
          <a:xfrm>
            <a:off x="17149317" y="11042725"/>
            <a:ext cx="4485925" cy="102940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73" name="图片占位符 3"/>
          <p:cNvSpPr>
            <a:spLocks noGrp="1"/>
          </p:cNvSpPr>
          <p:nvPr>
            <p:ph type="pic" sz="quarter" idx="59" hasCustomPrompt="1"/>
          </p:nvPr>
        </p:nvSpPr>
        <p:spPr>
          <a:xfrm>
            <a:off x="19042557" y="8625595"/>
            <a:ext cx="662368" cy="6627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000">
                <a:solidFill>
                  <a:schemeClr val="bg2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74" name="内容占位符 2"/>
          <p:cNvSpPr>
            <a:spLocks noGrp="1"/>
          </p:cNvSpPr>
          <p:nvPr>
            <p:ph sz="half" idx="60" hasCustomPrompt="1"/>
          </p:nvPr>
        </p:nvSpPr>
        <p:spPr>
          <a:xfrm rot="16200000" flipH="1">
            <a:off x="19350882" y="10435252"/>
            <a:ext cx="45719" cy="626797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00">
                <a:solidFill>
                  <a:schemeClr val="bg1"/>
                </a:solidFill>
                <a:latin typeface="+mn-ea"/>
                <a:ea typeface="+mn-ea"/>
              </a:defRPr>
            </a:lvl1pPr>
            <a:lvl2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2pPr>
            <a:lvl3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3pPr>
            <a:lvl4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4pPr>
            <a:lvl5pPr>
              <a:lnSpc>
                <a:spcPct val="150000"/>
              </a:lnSpc>
              <a:defRPr sz="2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 dirty="0"/>
              <a:t>图形装饰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图+名字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8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2339707" y="6355371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0" name="文本占位符 8"/>
          <p:cNvSpPr>
            <a:spLocks noGrp="1"/>
          </p:cNvSpPr>
          <p:nvPr>
            <p:ph type="body" sz="quarter" idx="40" hasCustomPrompt="1"/>
          </p:nvPr>
        </p:nvSpPr>
        <p:spPr>
          <a:xfrm>
            <a:off x="2339706" y="7274589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2339707" y="11517086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44" hasCustomPrompt="1"/>
          </p:nvPr>
        </p:nvSpPr>
        <p:spPr>
          <a:xfrm>
            <a:off x="2339706" y="12436304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76" name="文本占位符 8"/>
          <p:cNvSpPr>
            <a:spLocks noGrp="1"/>
          </p:cNvSpPr>
          <p:nvPr>
            <p:ph type="body" sz="quarter" idx="46" hasCustomPrompt="1"/>
          </p:nvPr>
        </p:nvSpPr>
        <p:spPr>
          <a:xfrm>
            <a:off x="6527231" y="6355371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7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6527230" y="7274589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49" hasCustomPrompt="1"/>
          </p:nvPr>
        </p:nvSpPr>
        <p:spPr>
          <a:xfrm>
            <a:off x="6527231" y="11517086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0" name="文本占位符 8"/>
          <p:cNvSpPr>
            <a:spLocks noGrp="1"/>
          </p:cNvSpPr>
          <p:nvPr>
            <p:ph type="body" sz="quarter" idx="50" hasCustomPrompt="1"/>
          </p:nvPr>
        </p:nvSpPr>
        <p:spPr>
          <a:xfrm>
            <a:off x="6527230" y="12436304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52" hasCustomPrompt="1"/>
          </p:nvPr>
        </p:nvSpPr>
        <p:spPr>
          <a:xfrm>
            <a:off x="10714755" y="6355371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0714754" y="7274589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10714755" y="11517086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6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10714754" y="12436304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89" name="文本占位符 8"/>
          <p:cNvSpPr>
            <a:spLocks noGrp="1"/>
          </p:cNvSpPr>
          <p:nvPr>
            <p:ph type="body" sz="quarter" idx="58" hasCustomPrompt="1"/>
          </p:nvPr>
        </p:nvSpPr>
        <p:spPr>
          <a:xfrm>
            <a:off x="14902279" y="6355371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>
            <p:ph type="body" sz="quarter" idx="59" hasCustomPrompt="1"/>
          </p:nvPr>
        </p:nvSpPr>
        <p:spPr>
          <a:xfrm>
            <a:off x="14902278" y="7274589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92" name="文本占位符 8"/>
          <p:cNvSpPr>
            <a:spLocks noGrp="1"/>
          </p:cNvSpPr>
          <p:nvPr>
            <p:ph type="body" sz="quarter" idx="61" hasCustomPrompt="1"/>
          </p:nvPr>
        </p:nvSpPr>
        <p:spPr>
          <a:xfrm>
            <a:off x="14902279" y="11517086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3" name="文本占位符 8"/>
          <p:cNvSpPr>
            <a:spLocks noGrp="1"/>
          </p:cNvSpPr>
          <p:nvPr>
            <p:ph type="body" sz="quarter" idx="62" hasCustomPrompt="1"/>
          </p:nvPr>
        </p:nvSpPr>
        <p:spPr>
          <a:xfrm>
            <a:off x="14902278" y="12436304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95" name="文本占位符 8"/>
          <p:cNvSpPr>
            <a:spLocks noGrp="1"/>
          </p:cNvSpPr>
          <p:nvPr>
            <p:ph type="body" sz="quarter" idx="64" hasCustomPrompt="1"/>
          </p:nvPr>
        </p:nvSpPr>
        <p:spPr>
          <a:xfrm>
            <a:off x="19089803" y="6355371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6" name="文本占位符 8"/>
          <p:cNvSpPr>
            <a:spLocks noGrp="1"/>
          </p:cNvSpPr>
          <p:nvPr>
            <p:ph type="body" sz="quarter" idx="65" hasCustomPrompt="1"/>
          </p:nvPr>
        </p:nvSpPr>
        <p:spPr>
          <a:xfrm>
            <a:off x="19089802" y="7274589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sp>
        <p:nvSpPr>
          <p:cNvPr id="98" name="文本占位符 8"/>
          <p:cNvSpPr>
            <a:spLocks noGrp="1"/>
          </p:cNvSpPr>
          <p:nvPr>
            <p:ph type="body" sz="quarter" idx="67" hasCustomPrompt="1"/>
          </p:nvPr>
        </p:nvSpPr>
        <p:spPr>
          <a:xfrm>
            <a:off x="19089803" y="11517086"/>
            <a:ext cx="2928524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9" name="文本占位符 8"/>
          <p:cNvSpPr>
            <a:spLocks noGrp="1"/>
          </p:cNvSpPr>
          <p:nvPr>
            <p:ph type="body" sz="quarter" idx="68" hasCustomPrompt="1"/>
          </p:nvPr>
        </p:nvSpPr>
        <p:spPr>
          <a:xfrm>
            <a:off x="19089802" y="12436304"/>
            <a:ext cx="2928524" cy="527501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60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英文副标题</a:t>
            </a:r>
            <a:endParaRPr lang="zh-CN" altLang="en-US" dirty="0"/>
          </a:p>
        </p:txBody>
      </p:sp>
      <p:grpSp>
        <p:nvGrpSpPr>
          <p:cNvPr id="100" name="Group 12"/>
          <p:cNvGrpSpPr/>
          <p:nvPr userDrawn="1"/>
        </p:nvGrpSpPr>
        <p:grpSpPr>
          <a:xfrm>
            <a:off x="11833552" y="3365120"/>
            <a:ext cx="710546" cy="223933"/>
            <a:chOff x="1948342" y="5767817"/>
            <a:chExt cx="710546" cy="223933"/>
          </a:xfrm>
          <a:solidFill>
            <a:schemeClr val="accent1"/>
          </a:solidFill>
        </p:grpSpPr>
        <p:grpSp>
          <p:nvGrpSpPr>
            <p:cNvPr id="101" name="Group 13"/>
            <p:cNvGrpSpPr/>
            <p:nvPr/>
          </p:nvGrpSpPr>
          <p:grpSpPr>
            <a:xfrm>
              <a:off x="1948342" y="5922203"/>
              <a:ext cx="710546" cy="69547"/>
              <a:chOff x="1878897" y="12847070"/>
              <a:chExt cx="710546" cy="69547"/>
            </a:xfrm>
            <a:grpFill/>
          </p:grpSpPr>
          <p:sp>
            <p:nvSpPr>
              <p:cNvPr id="107" name="Oval 31"/>
              <p:cNvSpPr>
                <a:spLocks noChangeAspect="1"/>
              </p:cNvSpPr>
              <p:nvPr/>
            </p:nvSpPr>
            <p:spPr>
              <a:xfrm rot="18861538">
                <a:off x="1878897" y="12851892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32"/>
              <p:cNvSpPr>
                <a:spLocks noChangeAspect="1"/>
              </p:cNvSpPr>
              <p:nvPr/>
            </p:nvSpPr>
            <p:spPr>
              <a:xfrm rot="18861538">
                <a:off x="2094410" y="12849481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33"/>
              <p:cNvSpPr>
                <a:spLocks noChangeAspect="1"/>
              </p:cNvSpPr>
              <p:nvPr/>
            </p:nvSpPr>
            <p:spPr>
              <a:xfrm rot="18861538">
                <a:off x="2309923" y="12847070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34"/>
              <p:cNvSpPr>
                <a:spLocks noChangeAspect="1"/>
              </p:cNvSpPr>
              <p:nvPr/>
            </p:nvSpPr>
            <p:spPr>
              <a:xfrm rot="18861538">
                <a:off x="2525435" y="12852609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2" name="Group 14"/>
            <p:cNvGrpSpPr/>
            <p:nvPr/>
          </p:nvGrpSpPr>
          <p:grpSpPr>
            <a:xfrm>
              <a:off x="1948342" y="5767817"/>
              <a:ext cx="710546" cy="69547"/>
              <a:chOff x="1878897" y="12847070"/>
              <a:chExt cx="710546" cy="69547"/>
            </a:xfrm>
            <a:grpFill/>
          </p:grpSpPr>
          <p:sp>
            <p:nvSpPr>
              <p:cNvPr id="103" name="Oval 15"/>
              <p:cNvSpPr>
                <a:spLocks noChangeAspect="1"/>
              </p:cNvSpPr>
              <p:nvPr/>
            </p:nvSpPr>
            <p:spPr>
              <a:xfrm rot="18861538">
                <a:off x="1878897" y="12851892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6"/>
              <p:cNvSpPr>
                <a:spLocks noChangeAspect="1"/>
              </p:cNvSpPr>
              <p:nvPr/>
            </p:nvSpPr>
            <p:spPr>
              <a:xfrm rot="18861538">
                <a:off x="2094410" y="12849481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7"/>
              <p:cNvSpPr>
                <a:spLocks noChangeAspect="1"/>
              </p:cNvSpPr>
              <p:nvPr/>
            </p:nvSpPr>
            <p:spPr>
              <a:xfrm rot="18861538">
                <a:off x="2309923" y="12847070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8"/>
              <p:cNvSpPr>
                <a:spLocks noChangeAspect="1"/>
              </p:cNvSpPr>
              <p:nvPr/>
            </p:nvSpPr>
            <p:spPr>
              <a:xfrm rot="18861538">
                <a:off x="2525435" y="12852609"/>
                <a:ext cx="64008" cy="6400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11" name="图片占位符 2"/>
          <p:cNvSpPr>
            <a:spLocks noGrp="1"/>
          </p:cNvSpPr>
          <p:nvPr>
            <p:ph type="pic" sz="quarter" idx="69"/>
          </p:nvPr>
        </p:nvSpPr>
        <p:spPr>
          <a:xfrm>
            <a:off x="2282556" y="3303701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2" name="图片占位符 2"/>
          <p:cNvSpPr>
            <a:spLocks noGrp="1"/>
          </p:cNvSpPr>
          <p:nvPr>
            <p:ph type="pic" sz="quarter" idx="70"/>
          </p:nvPr>
        </p:nvSpPr>
        <p:spPr>
          <a:xfrm>
            <a:off x="6472628" y="3303701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3" name="图片占位符 2"/>
          <p:cNvSpPr>
            <a:spLocks noGrp="1"/>
          </p:cNvSpPr>
          <p:nvPr>
            <p:ph type="pic" sz="quarter" idx="71"/>
          </p:nvPr>
        </p:nvSpPr>
        <p:spPr>
          <a:xfrm>
            <a:off x="19042845" y="3303701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4" name="图片占位符 2"/>
          <p:cNvSpPr>
            <a:spLocks noGrp="1"/>
          </p:cNvSpPr>
          <p:nvPr>
            <p:ph type="pic" sz="quarter" idx="72"/>
          </p:nvPr>
        </p:nvSpPr>
        <p:spPr>
          <a:xfrm>
            <a:off x="10662700" y="3303701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5" name="图片占位符 2"/>
          <p:cNvSpPr>
            <a:spLocks noGrp="1"/>
          </p:cNvSpPr>
          <p:nvPr>
            <p:ph type="pic" sz="quarter" idx="73"/>
          </p:nvPr>
        </p:nvSpPr>
        <p:spPr>
          <a:xfrm>
            <a:off x="14852772" y="3303701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6" name="图片占位符 2"/>
          <p:cNvSpPr>
            <a:spLocks noGrp="1"/>
          </p:cNvSpPr>
          <p:nvPr>
            <p:ph type="pic" sz="quarter" idx="74"/>
          </p:nvPr>
        </p:nvSpPr>
        <p:spPr>
          <a:xfrm>
            <a:off x="2282556" y="8481945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7" name="图片占位符 2"/>
          <p:cNvSpPr>
            <a:spLocks noGrp="1"/>
          </p:cNvSpPr>
          <p:nvPr>
            <p:ph type="pic" sz="quarter" idx="75"/>
          </p:nvPr>
        </p:nvSpPr>
        <p:spPr>
          <a:xfrm>
            <a:off x="6472628" y="8481945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8" name="图片占位符 2"/>
          <p:cNvSpPr>
            <a:spLocks noGrp="1"/>
          </p:cNvSpPr>
          <p:nvPr>
            <p:ph type="pic" sz="quarter" idx="76"/>
          </p:nvPr>
        </p:nvSpPr>
        <p:spPr>
          <a:xfrm>
            <a:off x="19042845" y="8481945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9" name="图片占位符 2"/>
          <p:cNvSpPr>
            <a:spLocks noGrp="1"/>
          </p:cNvSpPr>
          <p:nvPr>
            <p:ph type="pic" sz="quarter" idx="77"/>
          </p:nvPr>
        </p:nvSpPr>
        <p:spPr>
          <a:xfrm>
            <a:off x="10662700" y="8481945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0" name="图片占位符 2"/>
          <p:cNvSpPr>
            <a:spLocks noGrp="1"/>
          </p:cNvSpPr>
          <p:nvPr>
            <p:ph type="pic" sz="quarter" idx="78"/>
          </p:nvPr>
        </p:nvSpPr>
        <p:spPr>
          <a:xfrm>
            <a:off x="14852772" y="8481945"/>
            <a:ext cx="3022438" cy="292649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-六标题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平行四边形 4"/>
          <p:cNvSpPr/>
          <p:nvPr userDrawn="1"/>
        </p:nvSpPr>
        <p:spPr>
          <a:xfrm>
            <a:off x="-6759" y="2715895"/>
            <a:ext cx="19502551" cy="10963593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6" name="平行四边形 5"/>
          <p:cNvSpPr/>
          <p:nvPr userDrawn="1"/>
        </p:nvSpPr>
        <p:spPr>
          <a:xfrm>
            <a:off x="532602" y="2908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7545193" y="4562615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sp>
        <p:nvSpPr>
          <p:cNvPr id="9" name="文本框 8"/>
          <p:cNvSpPr txBox="1"/>
          <p:nvPr userDrawn="1"/>
        </p:nvSpPr>
        <p:spPr>
          <a:xfrm>
            <a:off x="1275941" y="962610"/>
            <a:ext cx="5848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/>
              <a:t>目录</a:t>
            </a:r>
            <a:endParaRPr lang="zh-CN" altLang="en-US" sz="8000" dirty="0"/>
          </a:p>
        </p:txBody>
      </p:sp>
      <p:sp>
        <p:nvSpPr>
          <p:cNvPr id="10" name="文本框 9"/>
          <p:cNvSpPr txBox="1"/>
          <p:nvPr userDrawn="1"/>
        </p:nvSpPr>
        <p:spPr>
          <a:xfrm>
            <a:off x="1897658" y="2879843"/>
            <a:ext cx="1448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accent3"/>
                </a:solidFill>
              </a:rPr>
              <a:t>CO</a:t>
            </a:r>
            <a:endParaRPr lang="zh-CN" altLang="en-US" sz="6000" b="1" dirty="0">
              <a:solidFill>
                <a:schemeClr val="accent3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3174591" y="2879843"/>
            <a:ext cx="37972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</a:rPr>
              <a:t>NTENTS</a:t>
            </a:r>
            <a:endParaRPr lang="zh-CN" altLang="en-US" sz="6000" b="1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5971371" y="4515388"/>
            <a:ext cx="1524498" cy="1027906"/>
            <a:chOff x="3980952" y="5140960"/>
            <a:chExt cx="1524498" cy="1027906"/>
          </a:xfrm>
        </p:grpSpPr>
        <p:sp>
          <p:nvSpPr>
            <p:cNvPr id="12" name="平行四边形 11"/>
            <p:cNvSpPr/>
            <p:nvPr userDrawn="1"/>
          </p:nvSpPr>
          <p:spPr>
            <a:xfrm>
              <a:off x="3980952" y="5140960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4248150" y="5150017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1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4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7084593" y="6046324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5510429" y="6000278"/>
            <a:ext cx="1524498" cy="1027906"/>
            <a:chOff x="3520352" y="6624669"/>
            <a:chExt cx="1524498" cy="1027906"/>
          </a:xfrm>
        </p:grpSpPr>
        <p:sp>
          <p:nvSpPr>
            <p:cNvPr id="15" name="平行四边形 14"/>
            <p:cNvSpPr/>
            <p:nvPr userDrawn="1"/>
          </p:nvSpPr>
          <p:spPr>
            <a:xfrm>
              <a:off x="3520352" y="662466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6" name="文本框 15"/>
            <p:cNvSpPr txBox="1"/>
            <p:nvPr userDrawn="1"/>
          </p:nvSpPr>
          <p:spPr>
            <a:xfrm>
              <a:off x="3749450" y="663372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2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7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6608343" y="7572168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0" name="组合 19"/>
          <p:cNvGrpSpPr/>
          <p:nvPr userDrawn="1"/>
        </p:nvGrpSpPr>
        <p:grpSpPr>
          <a:xfrm>
            <a:off x="5049488" y="7544162"/>
            <a:ext cx="1524498" cy="1027906"/>
            <a:chOff x="3044102" y="8091519"/>
            <a:chExt cx="1524498" cy="1027906"/>
          </a:xfrm>
        </p:grpSpPr>
        <p:sp>
          <p:nvSpPr>
            <p:cNvPr id="18" name="平行四边形 17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19" name="文本框 18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3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1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6124269" y="9105776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22" name="组合 21"/>
          <p:cNvGrpSpPr/>
          <p:nvPr userDrawn="1"/>
        </p:nvGrpSpPr>
        <p:grpSpPr>
          <a:xfrm>
            <a:off x="4588547" y="9058549"/>
            <a:ext cx="1524498" cy="1027906"/>
            <a:chOff x="3044102" y="8091519"/>
            <a:chExt cx="1524498" cy="1027906"/>
          </a:xfrm>
        </p:grpSpPr>
        <p:sp>
          <p:nvSpPr>
            <p:cNvPr id="23" name="平行四边形 22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24" name="文本框 23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4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7" name="平行四边形 26"/>
          <p:cNvSpPr/>
          <p:nvPr userDrawn="1"/>
        </p:nvSpPr>
        <p:spPr>
          <a:xfrm>
            <a:off x="19418729" y="8605472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平行四边形 27"/>
          <p:cNvSpPr/>
          <p:nvPr userDrawn="1"/>
        </p:nvSpPr>
        <p:spPr>
          <a:xfrm>
            <a:off x="22485077" y="5524499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5643716" y="10543130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4107994" y="10495903"/>
            <a:ext cx="1524498" cy="1027906"/>
            <a:chOff x="3044102" y="8091519"/>
            <a:chExt cx="1524498" cy="1027906"/>
          </a:xfrm>
        </p:grpSpPr>
        <p:sp>
          <p:nvSpPr>
            <p:cNvPr id="31" name="平行四边形 30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32" name="文本框 31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5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33" name="文本占位符 7"/>
          <p:cNvSpPr>
            <a:spLocks noGrp="1"/>
          </p:cNvSpPr>
          <p:nvPr>
            <p:ph type="body" sz="quarter" idx="15" hasCustomPrompt="1"/>
          </p:nvPr>
        </p:nvSpPr>
        <p:spPr>
          <a:xfrm>
            <a:off x="5167466" y="11914730"/>
            <a:ext cx="7399226" cy="86319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 单击此处编辑母版文本样式</a:t>
            </a:r>
            <a:endParaRPr lang="zh-CN" altLang="en-US" dirty="0"/>
          </a:p>
        </p:txBody>
      </p:sp>
      <p:grpSp>
        <p:nvGrpSpPr>
          <p:cNvPr id="34" name="组合 33"/>
          <p:cNvGrpSpPr/>
          <p:nvPr userDrawn="1"/>
        </p:nvGrpSpPr>
        <p:grpSpPr>
          <a:xfrm>
            <a:off x="3631744" y="11867503"/>
            <a:ext cx="1524498" cy="1027906"/>
            <a:chOff x="3044102" y="8091519"/>
            <a:chExt cx="1524498" cy="1027906"/>
          </a:xfrm>
        </p:grpSpPr>
        <p:sp>
          <p:nvSpPr>
            <p:cNvPr id="35" name="平行四边形 34"/>
            <p:cNvSpPr/>
            <p:nvPr userDrawn="1"/>
          </p:nvSpPr>
          <p:spPr>
            <a:xfrm>
              <a:off x="3044102" y="8091519"/>
              <a:ext cx="1524498" cy="1027906"/>
            </a:xfrm>
            <a:prstGeom prst="parallelogram">
              <a:avLst>
                <a:gd name="adj" fmla="val 308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/>
            </a:p>
          </p:txBody>
        </p:sp>
        <p:sp>
          <p:nvSpPr>
            <p:cNvPr id="36" name="文本框 35"/>
            <p:cNvSpPr txBox="1"/>
            <p:nvPr userDrawn="1"/>
          </p:nvSpPr>
          <p:spPr>
            <a:xfrm>
              <a:off x="3273200" y="8100576"/>
              <a:ext cx="12192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6000" b="1" dirty="0">
                  <a:solidFill>
                    <a:schemeClr val="accent3"/>
                  </a:solidFill>
                </a:rPr>
                <a:t>06</a:t>
              </a:r>
              <a:endParaRPr lang="zh-CN" altLang="en-US" sz="6000" b="1" dirty="0">
                <a:solidFill>
                  <a:schemeClr val="accent3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类标题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56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3985286" y="9378803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58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3985287" y="10164255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60" name="TextBox 42"/>
          <p:cNvSpPr txBox="1"/>
          <p:nvPr userDrawn="1"/>
        </p:nvSpPr>
        <p:spPr>
          <a:xfrm>
            <a:off x="1963738" y="9045238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3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  <p:sp>
        <p:nvSpPr>
          <p:cNvPr id="63" name="文本占位符 8"/>
          <p:cNvSpPr>
            <a:spLocks noGrp="1"/>
          </p:cNvSpPr>
          <p:nvPr>
            <p:ph type="body" sz="quarter" idx="30" hasCustomPrompt="1"/>
          </p:nvPr>
        </p:nvSpPr>
        <p:spPr>
          <a:xfrm>
            <a:off x="3985286" y="6788676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3985287" y="7574128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3985286" y="4194181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5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3985287" y="4979633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76" name="TextBox 42"/>
          <p:cNvSpPr txBox="1"/>
          <p:nvPr userDrawn="1"/>
        </p:nvSpPr>
        <p:spPr>
          <a:xfrm>
            <a:off x="1963738" y="6455111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2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  <p:sp>
        <p:nvSpPr>
          <p:cNvPr id="77" name="TextBox 44"/>
          <p:cNvSpPr txBox="1"/>
          <p:nvPr userDrawn="1"/>
        </p:nvSpPr>
        <p:spPr>
          <a:xfrm>
            <a:off x="1963738" y="3951101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1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  <p:sp>
        <p:nvSpPr>
          <p:cNvPr id="78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4974034" y="9378803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9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4974035" y="10164255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80" name="TextBox 42"/>
          <p:cNvSpPr txBox="1"/>
          <p:nvPr userDrawn="1"/>
        </p:nvSpPr>
        <p:spPr>
          <a:xfrm>
            <a:off x="12952486" y="9045238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6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4974034" y="6788676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4974035" y="7574128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4974034" y="4194181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4" name="文本占位符 8"/>
          <p:cNvSpPr>
            <a:spLocks noGrp="1"/>
          </p:cNvSpPr>
          <p:nvPr>
            <p:ph type="body" sz="quarter" idx="40" hasCustomPrompt="1"/>
          </p:nvPr>
        </p:nvSpPr>
        <p:spPr>
          <a:xfrm>
            <a:off x="14974035" y="4979633"/>
            <a:ext cx="7438926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85" name="TextBox 42"/>
          <p:cNvSpPr txBox="1"/>
          <p:nvPr userDrawn="1"/>
        </p:nvSpPr>
        <p:spPr>
          <a:xfrm>
            <a:off x="12952486" y="6455111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5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  <p:sp>
        <p:nvSpPr>
          <p:cNvPr id="86" name="TextBox 44"/>
          <p:cNvSpPr txBox="1"/>
          <p:nvPr userDrawn="1"/>
        </p:nvSpPr>
        <p:spPr>
          <a:xfrm>
            <a:off x="12952486" y="3951101"/>
            <a:ext cx="1425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0" b="0" dirty="0">
                <a:solidFill>
                  <a:schemeClr val="accent3">
                    <a:alpha val="3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Sans Pro" charset="0"/>
              </a:rPr>
              <a:t>4</a:t>
            </a:r>
            <a:endParaRPr lang="en-US" sz="14000" b="0" dirty="0">
              <a:solidFill>
                <a:schemeClr val="accent3">
                  <a:alpha val="3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Sans Pro" charset="0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占位符 7"/>
          <p:cNvSpPr>
            <a:spLocks noGrp="1"/>
          </p:cNvSpPr>
          <p:nvPr>
            <p:ph type="pic" sz="quarter" idx="56" hasCustomPrompt="1"/>
          </p:nvPr>
        </p:nvSpPr>
        <p:spPr>
          <a:xfrm>
            <a:off x="10877550" y="6857611"/>
            <a:ext cx="2284413" cy="2284413"/>
          </a:xfrm>
          <a:prstGeom prst="ellipse">
            <a:avLst/>
          </a:prstGeom>
          <a:solidFill>
            <a:srgbClr val="404040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6" name="Down Arrow 15"/>
          <p:cNvSpPr/>
          <p:nvPr userDrawn="1"/>
        </p:nvSpPr>
        <p:spPr bwMode="auto">
          <a:xfrm rot="12806734">
            <a:off x="12705925" y="5910052"/>
            <a:ext cx="515018" cy="919977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2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27" name="Down Arrow 19"/>
          <p:cNvSpPr/>
          <p:nvPr userDrawn="1"/>
        </p:nvSpPr>
        <p:spPr bwMode="auto">
          <a:xfrm rot="12806734" flipH="1" flipV="1">
            <a:off x="10689974" y="9215685"/>
            <a:ext cx="515018" cy="952810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5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28" name="Down Arrow 44"/>
          <p:cNvSpPr/>
          <p:nvPr userDrawn="1"/>
        </p:nvSpPr>
        <p:spPr bwMode="auto">
          <a:xfrm rot="9057872">
            <a:off x="10857763" y="5942694"/>
            <a:ext cx="515018" cy="919977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29" name="Down Arrow 47"/>
          <p:cNvSpPr/>
          <p:nvPr userDrawn="1"/>
        </p:nvSpPr>
        <p:spPr bwMode="auto">
          <a:xfrm rot="5309010" flipH="1">
            <a:off x="9828364" y="7559372"/>
            <a:ext cx="515018" cy="919977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6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30" name="Down Arrow 55"/>
          <p:cNvSpPr/>
          <p:nvPr userDrawn="1"/>
        </p:nvSpPr>
        <p:spPr bwMode="auto">
          <a:xfrm rot="9057872" flipV="1">
            <a:off x="12666486" y="9190384"/>
            <a:ext cx="515018" cy="919977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4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31" name="Down Arrow 56"/>
          <p:cNvSpPr/>
          <p:nvPr userDrawn="1"/>
        </p:nvSpPr>
        <p:spPr bwMode="auto">
          <a:xfrm rot="5309010" flipV="1">
            <a:off x="13614593" y="7542957"/>
            <a:ext cx="515016" cy="952807"/>
          </a:xfrm>
          <a:prstGeom prst="downArrow">
            <a:avLst>
              <a:gd name="adj1" fmla="val 63516"/>
              <a:gd name="adj2" fmla="val 50000"/>
            </a:avLst>
          </a:prstGeom>
          <a:solidFill>
            <a:schemeClr val="accent3"/>
          </a:solidFill>
          <a:ln w="9525">
            <a:noFill/>
            <a:round/>
          </a:ln>
        </p:spPr>
        <p:txBody>
          <a:bodyPr vert="horz" wrap="square" lIns="99526" tIns="49764" rIns="99526" bIns="49764" numCol="1" rtlCol="0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95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50" name="Oval 76"/>
          <p:cNvSpPr>
            <a:spLocks noChangeAspect="1"/>
          </p:cNvSpPr>
          <p:nvPr userDrawn="1"/>
        </p:nvSpPr>
        <p:spPr>
          <a:xfrm rot="19857872">
            <a:off x="9335111" y="4067048"/>
            <a:ext cx="2087932" cy="2089672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10" b="1" dirty="0">
              <a:solidFill>
                <a:schemeClr val="bg1"/>
              </a:solidFill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48" name="Oval 64"/>
          <p:cNvSpPr>
            <a:spLocks noChangeAspect="1"/>
          </p:cNvSpPr>
          <p:nvPr userDrawn="1"/>
        </p:nvSpPr>
        <p:spPr>
          <a:xfrm rot="19857872">
            <a:off x="14353384" y="6972750"/>
            <a:ext cx="2087932" cy="2089672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05" b="1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46" name="Oval 73"/>
          <p:cNvSpPr>
            <a:spLocks noChangeAspect="1"/>
          </p:cNvSpPr>
          <p:nvPr userDrawn="1"/>
        </p:nvSpPr>
        <p:spPr>
          <a:xfrm rot="19857872">
            <a:off x="7564086" y="6972750"/>
            <a:ext cx="2087932" cy="2089672"/>
          </a:xfrm>
          <a:prstGeom prst="ellipse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05" b="1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44" name="Oval 67"/>
          <p:cNvSpPr>
            <a:spLocks noChangeAspect="1"/>
          </p:cNvSpPr>
          <p:nvPr userDrawn="1"/>
        </p:nvSpPr>
        <p:spPr>
          <a:xfrm rot="19857872">
            <a:off x="12610396" y="9921234"/>
            <a:ext cx="2087932" cy="2089672"/>
          </a:xfrm>
          <a:prstGeom prst="ellipse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05" b="1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42" name="Oval 70"/>
          <p:cNvSpPr>
            <a:spLocks noChangeAspect="1"/>
          </p:cNvSpPr>
          <p:nvPr userDrawn="1"/>
        </p:nvSpPr>
        <p:spPr>
          <a:xfrm rot="19857872">
            <a:off x="9183946" y="9955050"/>
            <a:ext cx="2087932" cy="2089672"/>
          </a:xfrm>
          <a:prstGeom prst="ellipse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305" b="1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40" name="Oval 61"/>
          <p:cNvSpPr>
            <a:spLocks noChangeAspect="1"/>
          </p:cNvSpPr>
          <p:nvPr userDrawn="1"/>
        </p:nvSpPr>
        <p:spPr>
          <a:xfrm rot="19857872">
            <a:off x="12724922" y="4061071"/>
            <a:ext cx="2087932" cy="2089672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525" b="1" dirty="0">
              <a:latin typeface="印品黑体" panose="00000500000000000000" pitchFamily="2" charset="-122"/>
              <a:ea typeface="印品黑体" panose="00000500000000000000" pitchFamily="2" charset="-122"/>
              <a:sym typeface="Arial" panose="020B0604020202020204" pitchFamily="34" charset="0"/>
            </a:endParaRPr>
          </a:p>
        </p:txBody>
      </p:sp>
      <p:sp>
        <p:nvSpPr>
          <p:cNvPr id="71" name="文本占位符 8"/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15210474" y="3651191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2" name="文本占位符 8"/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15210475" y="4436643"/>
            <a:ext cx="6622957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73" name="文本占位符 8"/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16678955" y="7008862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4" name="文本占位符 8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6678956" y="7794314"/>
            <a:ext cx="6645044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88" name="文本占位符 8"/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15188387" y="10272051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9" name="文本占位符 8"/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15188388" y="11057503"/>
            <a:ext cx="6645044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90" name="文本占位符 8"/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3918550" y="6970865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1" name="文本占位符 8"/>
          <p:cNvSpPr>
            <a:spLocks noGrp="1"/>
          </p:cNvSpPr>
          <p:nvPr userDrawn="1">
            <p:ph type="body" sz="quarter" idx="46" hasCustomPrompt="1"/>
          </p:nvPr>
        </p:nvSpPr>
        <p:spPr>
          <a:xfrm>
            <a:off x="775122" y="7756317"/>
            <a:ext cx="6622957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92" name="文本占位符 8"/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5391223" y="10174106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3" name="文本占位符 8"/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2247795" y="10959558"/>
            <a:ext cx="6622957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94" name="文本占位符 8"/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5479714" y="3629874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95" name="文本占位符 8"/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2336286" y="4415326"/>
            <a:ext cx="6622957" cy="12182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96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9734634" y="4509489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97" name="文本占位符 8"/>
          <p:cNvSpPr>
            <a:spLocks noGrp="1"/>
          </p:cNvSpPr>
          <p:nvPr>
            <p:ph type="body" sz="quarter" idx="51" hasCustomPrompt="1"/>
          </p:nvPr>
        </p:nvSpPr>
        <p:spPr>
          <a:xfrm>
            <a:off x="13265676" y="4549395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98" name="文本占位符 8"/>
          <p:cNvSpPr>
            <a:spLocks noGrp="1"/>
          </p:cNvSpPr>
          <p:nvPr>
            <p:ph type="body" sz="quarter" idx="52" hasCustomPrompt="1"/>
          </p:nvPr>
        </p:nvSpPr>
        <p:spPr>
          <a:xfrm>
            <a:off x="14790925" y="7479477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99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3047937" y="10374840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100" name="文本占位符 8"/>
          <p:cNvSpPr>
            <a:spLocks noGrp="1"/>
          </p:cNvSpPr>
          <p:nvPr>
            <p:ph type="body" sz="quarter" idx="54" hasCustomPrompt="1"/>
          </p:nvPr>
        </p:nvSpPr>
        <p:spPr>
          <a:xfrm>
            <a:off x="9615741" y="10452181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</a:t>
            </a:r>
            <a:endParaRPr lang="zh-CN" altLang="en-US" dirty="0"/>
          </a:p>
        </p:txBody>
      </p:sp>
      <p:sp>
        <p:nvSpPr>
          <p:cNvPr id="101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7999657" y="7449135"/>
            <a:ext cx="1212849" cy="111302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6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5类时间轴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平行四边形 57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Freeform 5"/>
          <p:cNvSpPr/>
          <p:nvPr userDrawn="1"/>
        </p:nvSpPr>
        <p:spPr bwMode="auto">
          <a:xfrm>
            <a:off x="9218930" y="3447574"/>
            <a:ext cx="5597525" cy="6464935"/>
          </a:xfrm>
          <a:custGeom>
            <a:avLst/>
            <a:gdLst>
              <a:gd name="T0" fmla="*/ 3349 w 3349"/>
              <a:gd name="T1" fmla="*/ 2902 h 3868"/>
              <a:gd name="T2" fmla="*/ 1675 w 3349"/>
              <a:gd name="T3" fmla="*/ 3868 h 3868"/>
              <a:gd name="T4" fmla="*/ 0 w 3349"/>
              <a:gd name="T5" fmla="*/ 2902 h 3868"/>
              <a:gd name="T6" fmla="*/ 0 w 3349"/>
              <a:gd name="T7" fmla="*/ 966 h 3868"/>
              <a:gd name="T8" fmla="*/ 1675 w 3349"/>
              <a:gd name="T9" fmla="*/ 0 h 3868"/>
              <a:gd name="T10" fmla="*/ 3349 w 3349"/>
              <a:gd name="T11" fmla="*/ 966 h 3868"/>
              <a:gd name="T12" fmla="*/ 3349 w 3349"/>
              <a:gd name="T13" fmla="*/ 2902 h 3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49" h="3868">
                <a:moveTo>
                  <a:pt x="3349" y="2902"/>
                </a:moveTo>
                <a:lnTo>
                  <a:pt x="1675" y="3868"/>
                </a:lnTo>
                <a:lnTo>
                  <a:pt x="0" y="2902"/>
                </a:lnTo>
                <a:lnTo>
                  <a:pt x="0" y="966"/>
                </a:lnTo>
                <a:lnTo>
                  <a:pt x="1675" y="0"/>
                </a:lnTo>
                <a:lnTo>
                  <a:pt x="3349" y="966"/>
                </a:lnTo>
                <a:lnTo>
                  <a:pt x="3349" y="2902"/>
                </a:lnTo>
                <a:close/>
              </a:path>
            </a:pathLst>
          </a:custGeom>
          <a:solidFill>
            <a:schemeClr val="accent3"/>
          </a:solidFill>
          <a:ln w="177800">
            <a:gradFill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5960000" scaled="1"/>
            </a:gradFill>
          </a:ln>
          <a:effectLst/>
        </p:spPr>
        <p:txBody>
          <a:bodyPr vert="horz" wrap="square" lIns="86872" tIns="43436" rIns="86872" bIns="43436" numCol="1" anchor="t" anchorCtr="0" compatLnSpc="1"/>
          <a:lstStyle>
            <a:defPPr>
              <a:defRPr lang="zh-CN"/>
            </a:defPPr>
            <a:lvl1pPr marL="0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025"/>
          </a:p>
        </p:txBody>
      </p:sp>
      <p:sp>
        <p:nvSpPr>
          <p:cNvPr id="59" name="椭圆 58"/>
          <p:cNvSpPr/>
          <p:nvPr userDrawn="1"/>
        </p:nvSpPr>
        <p:spPr>
          <a:xfrm>
            <a:off x="15292705" y="6688589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0" name="椭圆 59"/>
          <p:cNvSpPr/>
          <p:nvPr userDrawn="1"/>
        </p:nvSpPr>
        <p:spPr>
          <a:xfrm>
            <a:off x="15292705" y="9647079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1" name="椭圆 60"/>
          <p:cNvSpPr/>
          <p:nvPr userDrawn="1"/>
        </p:nvSpPr>
        <p:spPr>
          <a:xfrm>
            <a:off x="15292705" y="3574574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2" name="椭圆 61"/>
          <p:cNvSpPr/>
          <p:nvPr userDrawn="1"/>
        </p:nvSpPr>
        <p:spPr>
          <a:xfrm>
            <a:off x="8601710" y="3574574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3" name="椭圆 62"/>
          <p:cNvSpPr/>
          <p:nvPr userDrawn="1"/>
        </p:nvSpPr>
        <p:spPr>
          <a:xfrm>
            <a:off x="8601710" y="6688589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4" name="椭圆 63"/>
          <p:cNvSpPr/>
          <p:nvPr userDrawn="1"/>
        </p:nvSpPr>
        <p:spPr>
          <a:xfrm>
            <a:off x="8601710" y="9646444"/>
            <a:ext cx="250190" cy="2501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186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372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3621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4807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5993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71795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8429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296150" algn="l" defTabSz="1823720" rtl="0" eaLnBrk="1" latinLnBrk="0" hangingPunct="1">
              <a:defRPr sz="359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5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0389075" y="6222539"/>
            <a:ext cx="3257233" cy="839420"/>
          </a:xfrm>
        </p:spPr>
        <p:txBody>
          <a:bodyPr>
            <a:no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输入标题</a:t>
            </a:r>
            <a:endParaRPr lang="zh-CN" altLang="en-US" dirty="0"/>
          </a:p>
        </p:txBody>
      </p:sp>
      <p:sp>
        <p:nvSpPr>
          <p:cNvPr id="66" name="SmartArt 占位符 3"/>
          <p:cNvSpPr>
            <a:spLocks noGrp="1"/>
          </p:cNvSpPr>
          <p:nvPr>
            <p:ph type="pic" sz="quarter" idx="15"/>
          </p:nvPr>
        </p:nvSpPr>
        <p:spPr>
          <a:xfrm>
            <a:off x="1706245" y="2105622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67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3966879" y="2278672"/>
            <a:ext cx="4016197" cy="526965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68" name="SmartArt 占位符 3"/>
          <p:cNvSpPr>
            <a:spLocks noGrp="1"/>
          </p:cNvSpPr>
          <p:nvPr>
            <p:ph type="pic" sz="quarter" idx="30"/>
          </p:nvPr>
        </p:nvSpPr>
        <p:spPr>
          <a:xfrm>
            <a:off x="1709103" y="3050851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69" name="文本占位符 8"/>
          <p:cNvSpPr>
            <a:spLocks noGrp="1"/>
          </p:cNvSpPr>
          <p:nvPr>
            <p:ph type="body" sz="quarter" idx="31" hasCustomPrompt="1"/>
          </p:nvPr>
        </p:nvSpPr>
        <p:spPr>
          <a:xfrm>
            <a:off x="2146300" y="3152524"/>
            <a:ext cx="5836775" cy="1557827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70" name="SmartArt 占位符 3"/>
          <p:cNvSpPr>
            <a:spLocks noGrp="1"/>
          </p:cNvSpPr>
          <p:nvPr>
            <p:ph type="pic" sz="quarter" idx="32"/>
          </p:nvPr>
        </p:nvSpPr>
        <p:spPr>
          <a:xfrm>
            <a:off x="1706245" y="5520520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1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3966879" y="5693570"/>
            <a:ext cx="4016197" cy="526965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72" name="SmartArt 占位符 3"/>
          <p:cNvSpPr>
            <a:spLocks noGrp="1"/>
          </p:cNvSpPr>
          <p:nvPr>
            <p:ph type="pic" sz="quarter" idx="34"/>
          </p:nvPr>
        </p:nvSpPr>
        <p:spPr>
          <a:xfrm>
            <a:off x="1709103" y="6465749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3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2146300" y="6567422"/>
            <a:ext cx="5836775" cy="1557827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74" name="SmartArt 占位符 3"/>
          <p:cNvSpPr>
            <a:spLocks noGrp="1"/>
          </p:cNvSpPr>
          <p:nvPr>
            <p:ph type="pic" sz="quarter" idx="36"/>
          </p:nvPr>
        </p:nvSpPr>
        <p:spPr>
          <a:xfrm>
            <a:off x="1697355" y="9031644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5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89" y="9204694"/>
            <a:ext cx="4016197" cy="526965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76" name="SmartArt 占位符 3"/>
          <p:cNvSpPr>
            <a:spLocks noGrp="1"/>
          </p:cNvSpPr>
          <p:nvPr>
            <p:ph type="pic" sz="quarter" idx="38"/>
          </p:nvPr>
        </p:nvSpPr>
        <p:spPr>
          <a:xfrm>
            <a:off x="1700213" y="9976873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77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2137410" y="10078546"/>
            <a:ext cx="5836775" cy="1557827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78" name="SmartArt 占位符 3"/>
          <p:cNvSpPr>
            <a:spLocks noGrp="1"/>
          </p:cNvSpPr>
          <p:nvPr>
            <p:ph type="pic" sz="quarter" idx="40"/>
          </p:nvPr>
        </p:nvSpPr>
        <p:spPr>
          <a:xfrm>
            <a:off x="15901272" y="2105622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80" name="文本占位符 8"/>
          <p:cNvSpPr>
            <a:spLocks noGrp="1"/>
          </p:cNvSpPr>
          <p:nvPr>
            <p:ph type="body" sz="quarter" idx="41" hasCustomPrompt="1"/>
          </p:nvPr>
        </p:nvSpPr>
        <p:spPr>
          <a:xfrm>
            <a:off x="16065737" y="2278672"/>
            <a:ext cx="4016197" cy="526965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82" name="SmartArt 占位符 3"/>
          <p:cNvSpPr>
            <a:spLocks noGrp="1"/>
          </p:cNvSpPr>
          <p:nvPr>
            <p:ph type="pic" sz="quarter" idx="42"/>
          </p:nvPr>
        </p:nvSpPr>
        <p:spPr>
          <a:xfrm>
            <a:off x="15904130" y="3050851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43" hasCustomPrompt="1"/>
          </p:nvPr>
        </p:nvSpPr>
        <p:spPr>
          <a:xfrm>
            <a:off x="16065737" y="3152524"/>
            <a:ext cx="5836775" cy="1557827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90" name="SmartArt 占位符 3"/>
          <p:cNvSpPr>
            <a:spLocks noGrp="1"/>
          </p:cNvSpPr>
          <p:nvPr>
            <p:ph type="pic" sz="quarter" idx="44"/>
          </p:nvPr>
        </p:nvSpPr>
        <p:spPr>
          <a:xfrm>
            <a:off x="15901272" y="5520520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91" name="文本占位符 8"/>
          <p:cNvSpPr>
            <a:spLocks noGrp="1"/>
          </p:cNvSpPr>
          <p:nvPr>
            <p:ph type="body" sz="quarter" idx="45" hasCustomPrompt="1"/>
          </p:nvPr>
        </p:nvSpPr>
        <p:spPr>
          <a:xfrm>
            <a:off x="16065737" y="5693570"/>
            <a:ext cx="4016197" cy="526965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92" name="SmartArt 占位符 3"/>
          <p:cNvSpPr>
            <a:spLocks noGrp="1"/>
          </p:cNvSpPr>
          <p:nvPr>
            <p:ph type="pic" sz="quarter" idx="46"/>
          </p:nvPr>
        </p:nvSpPr>
        <p:spPr>
          <a:xfrm>
            <a:off x="15904130" y="6465749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93" name="文本占位符 8"/>
          <p:cNvSpPr>
            <a:spLocks noGrp="1"/>
          </p:cNvSpPr>
          <p:nvPr>
            <p:ph type="body" sz="quarter" idx="47" hasCustomPrompt="1"/>
          </p:nvPr>
        </p:nvSpPr>
        <p:spPr>
          <a:xfrm>
            <a:off x="16065737" y="6567422"/>
            <a:ext cx="5836775" cy="1557827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94" name="SmartArt 占位符 3"/>
          <p:cNvSpPr>
            <a:spLocks noGrp="1"/>
          </p:cNvSpPr>
          <p:nvPr>
            <p:ph type="pic" sz="quarter" idx="48"/>
          </p:nvPr>
        </p:nvSpPr>
        <p:spPr>
          <a:xfrm>
            <a:off x="15892382" y="9031644"/>
            <a:ext cx="6428105" cy="94538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95" name="文本占位符 8"/>
          <p:cNvSpPr>
            <a:spLocks noGrp="1"/>
          </p:cNvSpPr>
          <p:nvPr>
            <p:ph type="body" sz="quarter" idx="49" hasCustomPrompt="1"/>
          </p:nvPr>
        </p:nvSpPr>
        <p:spPr>
          <a:xfrm>
            <a:off x="16065737" y="9204694"/>
            <a:ext cx="4016197" cy="526965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96" name="SmartArt 占位符 3"/>
          <p:cNvSpPr>
            <a:spLocks noGrp="1"/>
          </p:cNvSpPr>
          <p:nvPr>
            <p:ph type="pic" sz="quarter" idx="50"/>
          </p:nvPr>
        </p:nvSpPr>
        <p:spPr>
          <a:xfrm>
            <a:off x="15895240" y="9976873"/>
            <a:ext cx="6425247" cy="1841300"/>
          </a:xfrm>
          <a:prstGeom prst="rect">
            <a:avLst/>
          </a:prstGeom>
          <a:solidFill>
            <a:schemeClr val="accent3">
              <a:alpha val="1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zh-CN" altLang="en-US" dirty="0"/>
          </a:p>
        </p:txBody>
      </p:sp>
      <p:sp>
        <p:nvSpPr>
          <p:cNvPr id="97" name="文本占位符 8"/>
          <p:cNvSpPr>
            <a:spLocks noGrp="1"/>
          </p:cNvSpPr>
          <p:nvPr>
            <p:ph type="body" sz="quarter" idx="51" hasCustomPrompt="1"/>
          </p:nvPr>
        </p:nvSpPr>
        <p:spPr>
          <a:xfrm>
            <a:off x="16065737" y="10078546"/>
            <a:ext cx="5836775" cy="1557827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文案</a:t>
            </a:r>
            <a:endParaRPr lang="zh-CN" altLang="en-US" dirty="0"/>
          </a:p>
        </p:txBody>
      </p:sp>
      <p:sp>
        <p:nvSpPr>
          <p:cNvPr id="98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99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2" name="Oval 24"/>
          <p:cNvSpPr/>
          <p:nvPr userDrawn="1"/>
        </p:nvSpPr>
        <p:spPr>
          <a:xfrm>
            <a:off x="1705064" y="4099653"/>
            <a:ext cx="7982488" cy="79824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5400" b="1" dirty="0">
              <a:latin typeface="Roboto Bold" charset="0"/>
            </a:endParaRPr>
          </a:p>
        </p:txBody>
      </p:sp>
      <p:sp>
        <p:nvSpPr>
          <p:cNvPr id="33" name="Oval 25"/>
          <p:cNvSpPr/>
          <p:nvPr userDrawn="1"/>
        </p:nvSpPr>
        <p:spPr>
          <a:xfrm>
            <a:off x="1705064" y="5430071"/>
            <a:ext cx="6652073" cy="665207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5400" b="1" dirty="0">
              <a:solidFill>
                <a:schemeClr val="bg2"/>
              </a:solidFill>
              <a:latin typeface="Roboto Bold" charset="0"/>
            </a:endParaRPr>
          </a:p>
        </p:txBody>
      </p:sp>
      <p:sp>
        <p:nvSpPr>
          <p:cNvPr id="34" name="Oval 26"/>
          <p:cNvSpPr/>
          <p:nvPr userDrawn="1"/>
        </p:nvSpPr>
        <p:spPr>
          <a:xfrm>
            <a:off x="1705064" y="6760481"/>
            <a:ext cx="5321660" cy="53216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5400" b="1" dirty="0">
              <a:solidFill>
                <a:schemeClr val="bg2"/>
              </a:solidFill>
              <a:latin typeface="Roboto Bold" charset="0"/>
            </a:endParaRPr>
          </a:p>
        </p:txBody>
      </p:sp>
      <p:sp>
        <p:nvSpPr>
          <p:cNvPr id="35" name="Oval 27"/>
          <p:cNvSpPr/>
          <p:nvPr userDrawn="1"/>
        </p:nvSpPr>
        <p:spPr>
          <a:xfrm>
            <a:off x="1705064" y="8090896"/>
            <a:ext cx="3991245" cy="3991245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5400" b="1" dirty="0">
              <a:solidFill>
                <a:schemeClr val="bg2"/>
              </a:solidFill>
              <a:latin typeface="Roboto Bold" charset="0"/>
            </a:endParaRPr>
          </a:p>
        </p:txBody>
      </p:sp>
      <p:cxnSp>
        <p:nvCxnSpPr>
          <p:cNvPr id="36" name="Straight Arrow Connector 28"/>
          <p:cNvCxnSpPr/>
          <p:nvPr userDrawn="1"/>
        </p:nvCxnSpPr>
        <p:spPr>
          <a:xfrm>
            <a:off x="5565419" y="8486327"/>
            <a:ext cx="6872427" cy="0"/>
          </a:xfrm>
          <a:prstGeom prst="straightConnector1">
            <a:avLst/>
          </a:prstGeom>
          <a:ln w="44450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29"/>
          <p:cNvCxnSpPr/>
          <p:nvPr userDrawn="1"/>
        </p:nvCxnSpPr>
        <p:spPr>
          <a:xfrm>
            <a:off x="5476859" y="10228146"/>
            <a:ext cx="6960987" cy="1"/>
          </a:xfrm>
          <a:prstGeom prst="straightConnector1">
            <a:avLst/>
          </a:prstGeom>
          <a:ln w="4445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30"/>
          <p:cNvCxnSpPr/>
          <p:nvPr userDrawn="1"/>
        </p:nvCxnSpPr>
        <p:spPr>
          <a:xfrm>
            <a:off x="6880924" y="5002687"/>
            <a:ext cx="5556922" cy="0"/>
          </a:xfrm>
          <a:prstGeom prst="straightConnector1">
            <a:avLst/>
          </a:prstGeom>
          <a:ln w="44450"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31"/>
          <p:cNvCxnSpPr/>
          <p:nvPr userDrawn="1"/>
        </p:nvCxnSpPr>
        <p:spPr>
          <a:xfrm>
            <a:off x="6379779" y="6744507"/>
            <a:ext cx="6058067" cy="0"/>
          </a:xfrm>
          <a:prstGeom prst="straightConnector1">
            <a:avLst/>
          </a:prstGeom>
          <a:ln w="444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693159" y="4256067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2693159" y="5140816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65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693159" y="6100548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12693159" y="6985297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67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12693159" y="7898467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8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2693159" y="8783216"/>
            <a:ext cx="8839485" cy="60347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69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2693159" y="9696386"/>
            <a:ext cx="3479529" cy="919218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0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2693159" y="10581135"/>
            <a:ext cx="8839485" cy="71305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38" hasCustomPrompt="1"/>
          </p:nvPr>
        </p:nvSpPr>
        <p:spPr>
          <a:xfrm>
            <a:off x="5565419" y="4554095"/>
            <a:ext cx="2374117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75" name="文本占位符 14"/>
          <p:cNvSpPr>
            <a:spLocks noGrp="1"/>
          </p:cNvSpPr>
          <p:nvPr>
            <p:ph type="body" sz="quarter" idx="39" hasCustomPrompt="1"/>
          </p:nvPr>
        </p:nvSpPr>
        <p:spPr>
          <a:xfrm>
            <a:off x="4706490" y="5956836"/>
            <a:ext cx="2458446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76" name="文本占位符 14"/>
          <p:cNvSpPr>
            <a:spLocks noGrp="1"/>
          </p:cNvSpPr>
          <p:nvPr>
            <p:ph type="body" sz="quarter" idx="40" hasCustomPrompt="1"/>
          </p:nvPr>
        </p:nvSpPr>
        <p:spPr>
          <a:xfrm>
            <a:off x="3638940" y="7416031"/>
            <a:ext cx="2458446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78" name="文本占位符 14"/>
          <p:cNvSpPr>
            <a:spLocks noGrp="1"/>
          </p:cNvSpPr>
          <p:nvPr>
            <p:ph type="body" sz="quarter" idx="41" hasCustomPrompt="1"/>
          </p:nvPr>
        </p:nvSpPr>
        <p:spPr>
          <a:xfrm>
            <a:off x="2456243" y="9493976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27" name="文本占位符 2"/>
          <p:cNvSpPr>
            <a:spLocks noGrp="1"/>
          </p:cNvSpPr>
          <p:nvPr>
            <p:ph type="body" sz="quarter" idx="54" hasCustomPrompt="1"/>
          </p:nvPr>
        </p:nvSpPr>
        <p:spPr>
          <a:xfrm>
            <a:off x="1674515" y="4777268"/>
            <a:ext cx="1228090" cy="1228089"/>
          </a:xfrm>
          <a:prstGeom prst="ellipse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28" name="图片占位符 3"/>
          <p:cNvSpPr>
            <a:spLocks noGrp="1"/>
          </p:cNvSpPr>
          <p:nvPr>
            <p:ph type="pic" sz="quarter" idx="38" hasCustomPrompt="1"/>
          </p:nvPr>
        </p:nvSpPr>
        <p:spPr>
          <a:xfrm>
            <a:off x="1920711" y="5025820"/>
            <a:ext cx="735697" cy="73616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13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29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3146220" y="5485561"/>
            <a:ext cx="8168691" cy="21189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en-US" altLang="zh-CN" dirty="0"/>
          </a:p>
        </p:txBody>
      </p:sp>
      <p:sp>
        <p:nvSpPr>
          <p:cNvPr id="30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3146221" y="4562220"/>
            <a:ext cx="3530693" cy="919218"/>
          </a:xfrm>
        </p:spPr>
        <p:txBody>
          <a:bodyPr>
            <a:noAutofit/>
          </a:bodyPr>
          <a:lstStyle>
            <a:lvl1pPr algn="l">
              <a:lnSpc>
                <a:spcPct val="150000"/>
              </a:lnSpc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65" hasCustomPrompt="1"/>
          </p:nvPr>
        </p:nvSpPr>
        <p:spPr>
          <a:xfrm>
            <a:off x="1674515" y="8586407"/>
            <a:ext cx="1228090" cy="1228089"/>
          </a:xfrm>
          <a:prstGeom prst="ellipse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装饰图片</a:t>
            </a:r>
            <a:endParaRPr lang="zh-CN" altLang="en-US" dirty="0"/>
          </a:p>
        </p:txBody>
      </p:sp>
      <p:sp>
        <p:nvSpPr>
          <p:cNvPr id="40" name="图片占位符 3"/>
          <p:cNvSpPr>
            <a:spLocks noGrp="1"/>
          </p:cNvSpPr>
          <p:nvPr>
            <p:ph type="pic" sz="quarter" idx="66" hasCustomPrompt="1"/>
          </p:nvPr>
        </p:nvSpPr>
        <p:spPr>
          <a:xfrm>
            <a:off x="1920711" y="8834959"/>
            <a:ext cx="735697" cy="73616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sz="13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请替换图标</a:t>
            </a:r>
            <a:endParaRPr lang="zh-CN" altLang="en-US" dirty="0"/>
          </a:p>
        </p:txBody>
      </p:sp>
      <p:sp>
        <p:nvSpPr>
          <p:cNvPr id="42" name="文本占位符 8"/>
          <p:cNvSpPr>
            <a:spLocks noGrp="1"/>
          </p:cNvSpPr>
          <p:nvPr>
            <p:ph type="body" sz="quarter" idx="67" hasCustomPrompt="1"/>
          </p:nvPr>
        </p:nvSpPr>
        <p:spPr>
          <a:xfrm>
            <a:off x="3146220" y="9294700"/>
            <a:ext cx="8168691" cy="21189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内容对标题进行补充说明；请输入文字内容对标题进行补充说明；请输入文字内容对标题进行补充说明；请输入文字内容对标题进行补充说明；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</a:t>
            </a:r>
            <a:endParaRPr lang="en-US" altLang="zh-CN" dirty="0"/>
          </a:p>
        </p:txBody>
      </p:sp>
      <p:sp>
        <p:nvSpPr>
          <p:cNvPr id="44" name="文本占位符 8"/>
          <p:cNvSpPr>
            <a:spLocks noGrp="1"/>
          </p:cNvSpPr>
          <p:nvPr>
            <p:ph type="body" sz="quarter" idx="68" hasCustomPrompt="1"/>
          </p:nvPr>
        </p:nvSpPr>
        <p:spPr>
          <a:xfrm>
            <a:off x="3146221" y="8371359"/>
            <a:ext cx="3530693" cy="919218"/>
          </a:xfrm>
        </p:spPr>
        <p:txBody>
          <a:bodyPr>
            <a:noAutofit/>
          </a:bodyPr>
          <a:lstStyle>
            <a:lvl1pPr algn="l">
              <a:lnSpc>
                <a:spcPct val="150000"/>
              </a:lnSpc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3" name="图表占位符 2"/>
          <p:cNvSpPr>
            <a:spLocks noGrp="1"/>
          </p:cNvSpPr>
          <p:nvPr>
            <p:ph type="chart" sz="quarter" idx="69"/>
          </p:nvPr>
        </p:nvSpPr>
        <p:spPr>
          <a:xfrm>
            <a:off x="12060238" y="3935413"/>
            <a:ext cx="10801350" cy="8048625"/>
          </a:xfr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3" name="SmartArt 占位符 2"/>
          <p:cNvSpPr>
            <a:spLocks noGrp="1"/>
          </p:cNvSpPr>
          <p:nvPr>
            <p:ph type="pic" sz="quarter" idx="39" hasCustomPrompt="1"/>
          </p:nvPr>
        </p:nvSpPr>
        <p:spPr>
          <a:xfrm>
            <a:off x="1798370" y="3793515"/>
            <a:ext cx="4197457" cy="419745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62" name="SmartArt 占位符 2"/>
          <p:cNvSpPr>
            <a:spLocks noGrp="1"/>
          </p:cNvSpPr>
          <p:nvPr>
            <p:ph type="pic" sz="quarter" idx="40" hasCustomPrompt="1"/>
          </p:nvPr>
        </p:nvSpPr>
        <p:spPr>
          <a:xfrm>
            <a:off x="1792796" y="3796574"/>
            <a:ext cx="4197457" cy="4197457"/>
          </a:xfrm>
          <a:prstGeom prst="chord">
            <a:avLst>
              <a:gd name="adj1" fmla="val 20724849"/>
              <a:gd name="adj2" fmla="val 11504998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61" name="文本占位符 14"/>
          <p:cNvSpPr>
            <a:spLocks noGrp="1"/>
          </p:cNvSpPr>
          <p:nvPr>
            <p:ph type="body" sz="quarter" idx="38" hasCustomPrompt="1"/>
          </p:nvPr>
        </p:nvSpPr>
        <p:spPr>
          <a:xfrm>
            <a:off x="2303868" y="5345170"/>
            <a:ext cx="3186460" cy="1094146"/>
          </a:xfrm>
        </p:spPr>
        <p:txBody>
          <a:bodyPr>
            <a:normAutofit/>
          </a:bodyPr>
          <a:lstStyle>
            <a:lvl1pPr marL="0" indent="0" algn="ctr">
              <a:buNone/>
              <a:defRPr sz="6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6%</a:t>
            </a:r>
            <a:endParaRPr lang="zh-CN" altLang="en-US" dirty="0"/>
          </a:p>
        </p:txBody>
      </p:sp>
      <p:sp>
        <p:nvSpPr>
          <p:cNvPr id="71" name="SmartArt 占位符 2"/>
          <p:cNvSpPr>
            <a:spLocks noGrp="1"/>
          </p:cNvSpPr>
          <p:nvPr>
            <p:ph type="pic" sz="quarter" idx="41" hasCustomPrompt="1"/>
          </p:nvPr>
        </p:nvSpPr>
        <p:spPr>
          <a:xfrm>
            <a:off x="7284282" y="3793515"/>
            <a:ext cx="4197457" cy="419745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2" name="SmartArt 占位符 2"/>
          <p:cNvSpPr>
            <a:spLocks noGrp="1"/>
          </p:cNvSpPr>
          <p:nvPr>
            <p:ph type="pic" sz="quarter" idx="42" hasCustomPrompt="1"/>
          </p:nvPr>
        </p:nvSpPr>
        <p:spPr>
          <a:xfrm>
            <a:off x="7278708" y="3796574"/>
            <a:ext cx="4197457" cy="4197457"/>
          </a:xfrm>
          <a:prstGeom prst="chord">
            <a:avLst>
              <a:gd name="adj1" fmla="val 1618904"/>
              <a:gd name="adj2" fmla="val 9069783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3" name="文本占位符 14"/>
          <p:cNvSpPr>
            <a:spLocks noGrp="1"/>
          </p:cNvSpPr>
          <p:nvPr>
            <p:ph type="body" sz="quarter" idx="43" hasCustomPrompt="1"/>
          </p:nvPr>
        </p:nvSpPr>
        <p:spPr>
          <a:xfrm>
            <a:off x="7789780" y="5345170"/>
            <a:ext cx="3186460" cy="1094146"/>
          </a:xfrm>
        </p:spPr>
        <p:txBody>
          <a:bodyPr>
            <a:normAutofit/>
          </a:bodyPr>
          <a:lstStyle>
            <a:lvl1pPr marL="0" indent="0" algn="ctr">
              <a:buNone/>
              <a:defRPr sz="6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altLang="zh-CN" dirty="0"/>
              <a:t>56%</a:t>
            </a:r>
            <a:endParaRPr lang="zh-CN" altLang="en-US" dirty="0"/>
          </a:p>
        </p:txBody>
      </p:sp>
      <p:sp>
        <p:nvSpPr>
          <p:cNvPr id="74" name="SmartArt 占位符 2"/>
          <p:cNvSpPr>
            <a:spLocks noGrp="1"/>
          </p:cNvSpPr>
          <p:nvPr>
            <p:ph type="pic" sz="quarter" idx="44" hasCustomPrompt="1"/>
          </p:nvPr>
        </p:nvSpPr>
        <p:spPr>
          <a:xfrm>
            <a:off x="12759046" y="3793515"/>
            <a:ext cx="4197457" cy="419745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5" name="SmartArt 占位符 2"/>
          <p:cNvSpPr>
            <a:spLocks noGrp="1"/>
          </p:cNvSpPr>
          <p:nvPr>
            <p:ph type="pic" sz="quarter" idx="45" hasCustomPrompt="1"/>
          </p:nvPr>
        </p:nvSpPr>
        <p:spPr>
          <a:xfrm>
            <a:off x="12753472" y="3796574"/>
            <a:ext cx="4197457" cy="4197457"/>
          </a:xfrm>
          <a:prstGeom prst="chord">
            <a:avLst>
              <a:gd name="adj1" fmla="val 19542232"/>
              <a:gd name="adj2" fmla="val 12774546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6" name="文本占位符 14"/>
          <p:cNvSpPr>
            <a:spLocks noGrp="1"/>
          </p:cNvSpPr>
          <p:nvPr>
            <p:ph type="body" sz="quarter" idx="46" hasCustomPrompt="1"/>
          </p:nvPr>
        </p:nvSpPr>
        <p:spPr>
          <a:xfrm>
            <a:off x="13264544" y="5345170"/>
            <a:ext cx="3186460" cy="1094146"/>
          </a:xfrm>
        </p:spPr>
        <p:txBody>
          <a:bodyPr>
            <a:normAutofit/>
          </a:bodyPr>
          <a:lstStyle>
            <a:lvl1pPr marL="0" indent="0" algn="ctr">
              <a:buNone/>
              <a:defRPr sz="6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6%</a:t>
            </a:r>
            <a:endParaRPr lang="zh-CN" altLang="en-US" dirty="0"/>
          </a:p>
        </p:txBody>
      </p:sp>
      <p:sp>
        <p:nvSpPr>
          <p:cNvPr id="77" name="SmartArt 占位符 2"/>
          <p:cNvSpPr>
            <a:spLocks noGrp="1"/>
          </p:cNvSpPr>
          <p:nvPr>
            <p:ph type="pic" sz="quarter" idx="47" hasCustomPrompt="1"/>
          </p:nvPr>
        </p:nvSpPr>
        <p:spPr>
          <a:xfrm>
            <a:off x="18239384" y="3790456"/>
            <a:ext cx="4197457" cy="419745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8" name="SmartArt 占位符 2"/>
          <p:cNvSpPr>
            <a:spLocks noGrp="1"/>
          </p:cNvSpPr>
          <p:nvPr>
            <p:ph type="pic" sz="quarter" idx="48" hasCustomPrompt="1"/>
          </p:nvPr>
        </p:nvSpPr>
        <p:spPr>
          <a:xfrm>
            <a:off x="18233810" y="3793515"/>
            <a:ext cx="4197457" cy="4197457"/>
          </a:xfrm>
          <a:prstGeom prst="chord">
            <a:avLst>
              <a:gd name="adj1" fmla="val 20724849"/>
              <a:gd name="adj2" fmla="val 11504998"/>
            </a:avLst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9" name="文本占位符 14"/>
          <p:cNvSpPr>
            <a:spLocks noGrp="1"/>
          </p:cNvSpPr>
          <p:nvPr>
            <p:ph type="body" sz="quarter" idx="49" hasCustomPrompt="1"/>
          </p:nvPr>
        </p:nvSpPr>
        <p:spPr>
          <a:xfrm>
            <a:off x="18744882" y="5342111"/>
            <a:ext cx="3186460" cy="1094146"/>
          </a:xfrm>
        </p:spPr>
        <p:txBody>
          <a:bodyPr>
            <a:normAutofit/>
          </a:bodyPr>
          <a:lstStyle>
            <a:lvl1pPr marL="0" indent="0" algn="ctr">
              <a:buNone/>
              <a:defRPr sz="6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6%</a:t>
            </a:r>
            <a:endParaRPr lang="zh-CN" altLang="en-US" dirty="0"/>
          </a:p>
        </p:txBody>
      </p:sp>
      <p:sp>
        <p:nvSpPr>
          <p:cNvPr id="80" name="文本占位符 8"/>
          <p:cNvSpPr>
            <a:spLocks noGrp="1"/>
          </p:cNvSpPr>
          <p:nvPr>
            <p:ph type="body" sz="quarter" idx="50" hasCustomPrompt="1"/>
          </p:nvPr>
        </p:nvSpPr>
        <p:spPr>
          <a:xfrm>
            <a:off x="2206511" y="8242660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1" name="文本占位符 8"/>
          <p:cNvSpPr>
            <a:spLocks noGrp="1"/>
          </p:cNvSpPr>
          <p:nvPr>
            <p:ph type="body" sz="quarter" idx="51" hasCustomPrompt="1"/>
          </p:nvPr>
        </p:nvSpPr>
        <p:spPr>
          <a:xfrm>
            <a:off x="1717484" y="9410507"/>
            <a:ext cx="4485925" cy="1920219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2" name="文本占位符 8"/>
          <p:cNvSpPr>
            <a:spLocks noGrp="1"/>
          </p:cNvSpPr>
          <p:nvPr>
            <p:ph type="body" sz="quarter" idx="52" hasCustomPrompt="1"/>
          </p:nvPr>
        </p:nvSpPr>
        <p:spPr>
          <a:xfrm>
            <a:off x="7753002" y="8242660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3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7263975" y="9410507"/>
            <a:ext cx="4485925" cy="1920219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4" name="文本占位符 8"/>
          <p:cNvSpPr>
            <a:spLocks noGrp="1"/>
          </p:cNvSpPr>
          <p:nvPr>
            <p:ph type="body" sz="quarter" idx="54" hasCustomPrompt="1"/>
          </p:nvPr>
        </p:nvSpPr>
        <p:spPr>
          <a:xfrm>
            <a:off x="13242499" y="8242660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5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12753472" y="9410507"/>
            <a:ext cx="4485925" cy="1920219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86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18845270" y="8242660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88" name="文本占位符 8"/>
          <p:cNvSpPr>
            <a:spLocks noGrp="1"/>
          </p:cNvSpPr>
          <p:nvPr>
            <p:ph type="body" sz="quarter" idx="57" hasCustomPrompt="1"/>
          </p:nvPr>
        </p:nvSpPr>
        <p:spPr>
          <a:xfrm>
            <a:off x="18356243" y="9410507"/>
            <a:ext cx="4485925" cy="1920219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类标题+内容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21632324" y="12671674"/>
            <a:ext cx="634902" cy="631928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68" name="Circular Arrow 40"/>
          <p:cNvSpPr/>
          <p:nvPr userDrawn="1"/>
        </p:nvSpPr>
        <p:spPr>
          <a:xfrm>
            <a:off x="2737032" y="4240871"/>
            <a:ext cx="6866704" cy="6866705"/>
          </a:xfrm>
          <a:prstGeom prst="circularArrow">
            <a:avLst>
              <a:gd name="adj1" fmla="val 5544"/>
              <a:gd name="adj2" fmla="val 330680"/>
              <a:gd name="adj3" fmla="val 14369143"/>
              <a:gd name="adj4" fmla="val 17034526"/>
              <a:gd name="adj5" fmla="val 5757"/>
            </a:avLst>
          </a:prstGeom>
          <a:solidFill>
            <a:schemeClr val="bg1">
              <a:lumMod val="85000"/>
              <a:alpha val="25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9" name="Freeform 41"/>
          <p:cNvSpPr/>
          <p:nvPr userDrawn="1"/>
        </p:nvSpPr>
        <p:spPr>
          <a:xfrm>
            <a:off x="4990977" y="3687216"/>
            <a:ext cx="2358815" cy="2358815"/>
          </a:xfrm>
          <a:custGeom>
            <a:avLst/>
            <a:gdLst>
              <a:gd name="connsiteX0" fmla="*/ 0 w 3248927"/>
              <a:gd name="connsiteY0" fmla="*/ 1624464 h 3248927"/>
              <a:gd name="connsiteX1" fmla="*/ 1624464 w 3248927"/>
              <a:gd name="connsiteY1" fmla="*/ 0 h 3248927"/>
              <a:gd name="connsiteX2" fmla="*/ 3248928 w 3248927"/>
              <a:gd name="connsiteY2" fmla="*/ 1624464 h 3248927"/>
              <a:gd name="connsiteX3" fmla="*/ 1624464 w 3248927"/>
              <a:gd name="connsiteY3" fmla="*/ 3248928 h 3248927"/>
              <a:gd name="connsiteX4" fmla="*/ 0 w 3248927"/>
              <a:gd name="connsiteY4" fmla="*/ 1624464 h 3248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8927" h="3248927">
                <a:moveTo>
                  <a:pt x="0" y="1624464"/>
                </a:moveTo>
                <a:cubicBezTo>
                  <a:pt x="0" y="727297"/>
                  <a:pt x="727297" y="0"/>
                  <a:pt x="1624464" y="0"/>
                </a:cubicBezTo>
                <a:cubicBezTo>
                  <a:pt x="2521631" y="0"/>
                  <a:pt x="3248928" y="727297"/>
                  <a:pt x="3248928" y="1624464"/>
                </a:cubicBezTo>
                <a:cubicBezTo>
                  <a:pt x="3248928" y="2521631"/>
                  <a:pt x="2521631" y="3248928"/>
                  <a:pt x="1624464" y="3248928"/>
                </a:cubicBezTo>
                <a:cubicBezTo>
                  <a:pt x="727297" y="3248928"/>
                  <a:pt x="0" y="2521631"/>
                  <a:pt x="0" y="16244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237" tIns="391237" rIns="391237" bIns="391237" numCol="1" spcCol="1270" anchor="ctr" anchorCtr="0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800" b="1" dirty="0">
              <a:latin typeface="Roboto Bold" charset="0"/>
            </a:endParaRPr>
          </a:p>
        </p:txBody>
      </p:sp>
      <p:sp>
        <p:nvSpPr>
          <p:cNvPr id="70" name="Freeform 42"/>
          <p:cNvSpPr/>
          <p:nvPr userDrawn="1"/>
        </p:nvSpPr>
        <p:spPr>
          <a:xfrm>
            <a:off x="7776214" y="5710600"/>
            <a:ext cx="2358815" cy="2358815"/>
          </a:xfrm>
          <a:custGeom>
            <a:avLst/>
            <a:gdLst>
              <a:gd name="connsiteX0" fmla="*/ 0 w 3248927"/>
              <a:gd name="connsiteY0" fmla="*/ 1624464 h 3248927"/>
              <a:gd name="connsiteX1" fmla="*/ 1624464 w 3248927"/>
              <a:gd name="connsiteY1" fmla="*/ 0 h 3248927"/>
              <a:gd name="connsiteX2" fmla="*/ 3248928 w 3248927"/>
              <a:gd name="connsiteY2" fmla="*/ 1624464 h 3248927"/>
              <a:gd name="connsiteX3" fmla="*/ 1624464 w 3248927"/>
              <a:gd name="connsiteY3" fmla="*/ 3248928 h 3248927"/>
              <a:gd name="connsiteX4" fmla="*/ 0 w 3248927"/>
              <a:gd name="connsiteY4" fmla="*/ 1624464 h 3248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8927" h="3248927">
                <a:moveTo>
                  <a:pt x="0" y="1624464"/>
                </a:moveTo>
                <a:cubicBezTo>
                  <a:pt x="0" y="727297"/>
                  <a:pt x="727297" y="0"/>
                  <a:pt x="1624464" y="0"/>
                </a:cubicBezTo>
                <a:cubicBezTo>
                  <a:pt x="2521631" y="0"/>
                  <a:pt x="3248928" y="727297"/>
                  <a:pt x="3248928" y="1624464"/>
                </a:cubicBezTo>
                <a:cubicBezTo>
                  <a:pt x="3248928" y="2521631"/>
                  <a:pt x="2521631" y="3248928"/>
                  <a:pt x="1624464" y="3248928"/>
                </a:cubicBezTo>
                <a:cubicBezTo>
                  <a:pt x="727297" y="3248928"/>
                  <a:pt x="0" y="2521631"/>
                  <a:pt x="0" y="162446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237" tIns="391237" rIns="391237" bIns="391237" numCol="1" spcCol="1270" anchor="ctr" anchorCtr="0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800" b="1" dirty="0">
              <a:latin typeface="Roboto Bold" charset="0"/>
            </a:endParaRPr>
          </a:p>
        </p:txBody>
      </p:sp>
      <p:sp>
        <p:nvSpPr>
          <p:cNvPr id="89" name="Freeform 43"/>
          <p:cNvSpPr/>
          <p:nvPr userDrawn="1"/>
        </p:nvSpPr>
        <p:spPr>
          <a:xfrm>
            <a:off x="6712087" y="8984719"/>
            <a:ext cx="2358815" cy="2358815"/>
          </a:xfrm>
          <a:custGeom>
            <a:avLst/>
            <a:gdLst>
              <a:gd name="connsiteX0" fmla="*/ 0 w 3248927"/>
              <a:gd name="connsiteY0" fmla="*/ 1624464 h 3248927"/>
              <a:gd name="connsiteX1" fmla="*/ 1624464 w 3248927"/>
              <a:gd name="connsiteY1" fmla="*/ 0 h 3248927"/>
              <a:gd name="connsiteX2" fmla="*/ 3248928 w 3248927"/>
              <a:gd name="connsiteY2" fmla="*/ 1624464 h 3248927"/>
              <a:gd name="connsiteX3" fmla="*/ 1624464 w 3248927"/>
              <a:gd name="connsiteY3" fmla="*/ 3248928 h 3248927"/>
              <a:gd name="connsiteX4" fmla="*/ 0 w 3248927"/>
              <a:gd name="connsiteY4" fmla="*/ 1624464 h 3248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8927" h="3248927">
                <a:moveTo>
                  <a:pt x="0" y="1624464"/>
                </a:moveTo>
                <a:cubicBezTo>
                  <a:pt x="0" y="727297"/>
                  <a:pt x="727297" y="0"/>
                  <a:pt x="1624464" y="0"/>
                </a:cubicBezTo>
                <a:cubicBezTo>
                  <a:pt x="2521631" y="0"/>
                  <a:pt x="3248928" y="727297"/>
                  <a:pt x="3248928" y="1624464"/>
                </a:cubicBezTo>
                <a:cubicBezTo>
                  <a:pt x="3248928" y="2521631"/>
                  <a:pt x="2521631" y="3248928"/>
                  <a:pt x="1624464" y="3248928"/>
                </a:cubicBezTo>
                <a:cubicBezTo>
                  <a:pt x="727297" y="3248928"/>
                  <a:pt x="0" y="2521631"/>
                  <a:pt x="0" y="162446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237" tIns="391237" rIns="391237" bIns="391237" numCol="1" spcCol="1270" anchor="ctr" anchorCtr="0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800" b="1" dirty="0">
              <a:latin typeface="Roboto Bold" charset="0"/>
            </a:endParaRPr>
          </a:p>
        </p:txBody>
      </p:sp>
      <p:sp>
        <p:nvSpPr>
          <p:cNvPr id="90" name="Freeform 44"/>
          <p:cNvSpPr/>
          <p:nvPr userDrawn="1"/>
        </p:nvSpPr>
        <p:spPr>
          <a:xfrm>
            <a:off x="3269867" y="8984719"/>
            <a:ext cx="2358815" cy="2358815"/>
          </a:xfrm>
          <a:custGeom>
            <a:avLst/>
            <a:gdLst>
              <a:gd name="connsiteX0" fmla="*/ 0 w 3248927"/>
              <a:gd name="connsiteY0" fmla="*/ 1624464 h 3248927"/>
              <a:gd name="connsiteX1" fmla="*/ 1624464 w 3248927"/>
              <a:gd name="connsiteY1" fmla="*/ 0 h 3248927"/>
              <a:gd name="connsiteX2" fmla="*/ 3248928 w 3248927"/>
              <a:gd name="connsiteY2" fmla="*/ 1624464 h 3248927"/>
              <a:gd name="connsiteX3" fmla="*/ 1624464 w 3248927"/>
              <a:gd name="connsiteY3" fmla="*/ 3248928 h 3248927"/>
              <a:gd name="connsiteX4" fmla="*/ 0 w 3248927"/>
              <a:gd name="connsiteY4" fmla="*/ 1624464 h 3248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8927" h="3248927">
                <a:moveTo>
                  <a:pt x="0" y="1624464"/>
                </a:moveTo>
                <a:cubicBezTo>
                  <a:pt x="0" y="727297"/>
                  <a:pt x="727297" y="0"/>
                  <a:pt x="1624464" y="0"/>
                </a:cubicBezTo>
                <a:cubicBezTo>
                  <a:pt x="2521631" y="0"/>
                  <a:pt x="3248928" y="727297"/>
                  <a:pt x="3248928" y="1624464"/>
                </a:cubicBezTo>
                <a:cubicBezTo>
                  <a:pt x="3248928" y="2521631"/>
                  <a:pt x="2521631" y="3248928"/>
                  <a:pt x="1624464" y="3248928"/>
                </a:cubicBezTo>
                <a:cubicBezTo>
                  <a:pt x="727297" y="3248928"/>
                  <a:pt x="0" y="2521631"/>
                  <a:pt x="0" y="162446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237" tIns="391237" rIns="391237" bIns="391237" numCol="1" spcCol="1270" anchor="ctr" anchorCtr="0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800" b="1" dirty="0">
              <a:latin typeface="Roboto Bold" charset="0"/>
            </a:endParaRPr>
          </a:p>
        </p:txBody>
      </p:sp>
      <p:sp>
        <p:nvSpPr>
          <p:cNvPr id="91" name="Freeform 45"/>
          <p:cNvSpPr/>
          <p:nvPr userDrawn="1"/>
        </p:nvSpPr>
        <p:spPr>
          <a:xfrm>
            <a:off x="2206511" y="5710600"/>
            <a:ext cx="2358815" cy="2358815"/>
          </a:xfrm>
          <a:custGeom>
            <a:avLst/>
            <a:gdLst>
              <a:gd name="connsiteX0" fmla="*/ 0 w 3248927"/>
              <a:gd name="connsiteY0" fmla="*/ 1624464 h 3248927"/>
              <a:gd name="connsiteX1" fmla="*/ 1624464 w 3248927"/>
              <a:gd name="connsiteY1" fmla="*/ 0 h 3248927"/>
              <a:gd name="connsiteX2" fmla="*/ 3248928 w 3248927"/>
              <a:gd name="connsiteY2" fmla="*/ 1624464 h 3248927"/>
              <a:gd name="connsiteX3" fmla="*/ 1624464 w 3248927"/>
              <a:gd name="connsiteY3" fmla="*/ 3248928 h 3248927"/>
              <a:gd name="connsiteX4" fmla="*/ 0 w 3248927"/>
              <a:gd name="connsiteY4" fmla="*/ 1624464 h 3248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8927" h="3248927">
                <a:moveTo>
                  <a:pt x="0" y="1624464"/>
                </a:moveTo>
                <a:cubicBezTo>
                  <a:pt x="0" y="727297"/>
                  <a:pt x="727297" y="0"/>
                  <a:pt x="1624464" y="0"/>
                </a:cubicBezTo>
                <a:cubicBezTo>
                  <a:pt x="2521631" y="0"/>
                  <a:pt x="3248928" y="727297"/>
                  <a:pt x="3248928" y="1624464"/>
                </a:cubicBezTo>
                <a:cubicBezTo>
                  <a:pt x="3248928" y="2521631"/>
                  <a:pt x="2521631" y="3248928"/>
                  <a:pt x="1624464" y="3248928"/>
                </a:cubicBezTo>
                <a:cubicBezTo>
                  <a:pt x="727297" y="3248928"/>
                  <a:pt x="0" y="2521631"/>
                  <a:pt x="0" y="162446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237" tIns="391237" rIns="391237" bIns="391237" numCol="1" spcCol="1270" anchor="ctr" anchorCtr="0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800" b="1" dirty="0">
              <a:latin typeface="Roboto Bold" charset="0"/>
            </a:endParaRPr>
          </a:p>
        </p:txBody>
      </p:sp>
      <p:sp>
        <p:nvSpPr>
          <p:cNvPr id="97" name="Rectangle 51"/>
          <p:cNvSpPr/>
          <p:nvPr userDrawn="1"/>
        </p:nvSpPr>
        <p:spPr>
          <a:xfrm>
            <a:off x="11442826" y="10844781"/>
            <a:ext cx="481942" cy="50430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700" b="1" dirty="0">
              <a:latin typeface="Roboto Bold" charset="0"/>
            </a:endParaRPr>
          </a:p>
        </p:txBody>
      </p:sp>
      <p:sp>
        <p:nvSpPr>
          <p:cNvPr id="99" name="Rectangle 53"/>
          <p:cNvSpPr/>
          <p:nvPr userDrawn="1"/>
        </p:nvSpPr>
        <p:spPr>
          <a:xfrm>
            <a:off x="11442826" y="3714358"/>
            <a:ext cx="481942" cy="5043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700" b="1" dirty="0">
              <a:latin typeface="Roboto Bold" charset="0"/>
            </a:endParaRPr>
          </a:p>
        </p:txBody>
      </p:sp>
      <p:sp>
        <p:nvSpPr>
          <p:cNvPr id="101" name="Rectangle 55"/>
          <p:cNvSpPr/>
          <p:nvPr userDrawn="1"/>
        </p:nvSpPr>
        <p:spPr>
          <a:xfrm>
            <a:off x="11442826" y="9063525"/>
            <a:ext cx="481942" cy="5043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700" b="1" dirty="0">
              <a:latin typeface="Roboto Bold" charset="0"/>
            </a:endParaRPr>
          </a:p>
        </p:txBody>
      </p:sp>
      <p:sp>
        <p:nvSpPr>
          <p:cNvPr id="106" name="Rectangle 60"/>
          <p:cNvSpPr/>
          <p:nvPr userDrawn="1"/>
        </p:nvSpPr>
        <p:spPr>
          <a:xfrm>
            <a:off x="11442826" y="7314655"/>
            <a:ext cx="481942" cy="5043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700" b="1" dirty="0">
              <a:latin typeface="Roboto Bold" charset="0"/>
            </a:endParaRPr>
          </a:p>
        </p:txBody>
      </p:sp>
      <p:sp>
        <p:nvSpPr>
          <p:cNvPr id="108" name="Rectangle 80"/>
          <p:cNvSpPr/>
          <p:nvPr userDrawn="1"/>
        </p:nvSpPr>
        <p:spPr>
          <a:xfrm>
            <a:off x="11442826" y="5533399"/>
            <a:ext cx="481942" cy="5043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700" b="1" dirty="0">
              <a:latin typeface="Roboto Bold" charset="0"/>
            </a:endParaRPr>
          </a:p>
        </p:txBody>
      </p:sp>
      <p:sp>
        <p:nvSpPr>
          <p:cNvPr id="114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12060238" y="3620552"/>
            <a:ext cx="3479529" cy="604156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15" name="文本占位符 8"/>
          <p:cNvSpPr>
            <a:spLocks noGrp="1"/>
          </p:cNvSpPr>
          <p:nvPr>
            <p:ph type="body" sz="quarter" idx="29" hasCustomPrompt="1"/>
          </p:nvPr>
        </p:nvSpPr>
        <p:spPr>
          <a:xfrm>
            <a:off x="12060238" y="4295964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116" name="文本占位符 8"/>
          <p:cNvSpPr>
            <a:spLocks noGrp="1"/>
          </p:cNvSpPr>
          <p:nvPr>
            <p:ph type="body" sz="quarter" idx="32" hasCustomPrompt="1"/>
          </p:nvPr>
        </p:nvSpPr>
        <p:spPr>
          <a:xfrm>
            <a:off x="12060238" y="5452519"/>
            <a:ext cx="3479529" cy="604156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17" name="文本占位符 8"/>
          <p:cNvSpPr>
            <a:spLocks noGrp="1"/>
          </p:cNvSpPr>
          <p:nvPr>
            <p:ph type="body" sz="quarter" idx="33" hasCustomPrompt="1"/>
          </p:nvPr>
        </p:nvSpPr>
        <p:spPr>
          <a:xfrm>
            <a:off x="12060238" y="6127931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118" name="文本占位符 8"/>
          <p:cNvSpPr>
            <a:spLocks noGrp="1"/>
          </p:cNvSpPr>
          <p:nvPr>
            <p:ph type="body" sz="quarter" idx="34" hasCustomPrompt="1"/>
          </p:nvPr>
        </p:nvSpPr>
        <p:spPr>
          <a:xfrm>
            <a:off x="12060238" y="7214803"/>
            <a:ext cx="3479529" cy="604156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19" name="文本占位符 8"/>
          <p:cNvSpPr>
            <a:spLocks noGrp="1"/>
          </p:cNvSpPr>
          <p:nvPr>
            <p:ph type="body" sz="quarter" idx="35" hasCustomPrompt="1"/>
          </p:nvPr>
        </p:nvSpPr>
        <p:spPr>
          <a:xfrm>
            <a:off x="12060238" y="7890215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120" name="文本占位符 8"/>
          <p:cNvSpPr>
            <a:spLocks noGrp="1"/>
          </p:cNvSpPr>
          <p:nvPr>
            <p:ph type="body" sz="quarter" idx="36" hasCustomPrompt="1"/>
          </p:nvPr>
        </p:nvSpPr>
        <p:spPr>
          <a:xfrm>
            <a:off x="12060238" y="8969674"/>
            <a:ext cx="3479529" cy="604156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21" name="文本占位符 8"/>
          <p:cNvSpPr>
            <a:spLocks noGrp="1"/>
          </p:cNvSpPr>
          <p:nvPr>
            <p:ph type="body" sz="quarter" idx="37" hasCustomPrompt="1"/>
          </p:nvPr>
        </p:nvSpPr>
        <p:spPr>
          <a:xfrm>
            <a:off x="12060238" y="9645086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122" name="文本占位符 8"/>
          <p:cNvSpPr>
            <a:spLocks noGrp="1"/>
          </p:cNvSpPr>
          <p:nvPr>
            <p:ph type="body" sz="quarter" idx="38" hasCustomPrompt="1"/>
          </p:nvPr>
        </p:nvSpPr>
        <p:spPr>
          <a:xfrm>
            <a:off x="12060238" y="10762273"/>
            <a:ext cx="3479529" cy="604156"/>
          </a:xfrm>
        </p:spPr>
        <p:txBody>
          <a:bodyPr>
            <a:noAutofit/>
          </a:bodyPr>
          <a:lstStyle>
            <a:lvl1pPr marL="0" indent="0" algn="l">
              <a:lnSpc>
                <a:spcPct val="150000"/>
              </a:lnSpc>
              <a:buNone/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123" name="文本占位符 8"/>
          <p:cNvSpPr>
            <a:spLocks noGrp="1"/>
          </p:cNvSpPr>
          <p:nvPr>
            <p:ph type="body" sz="quarter" idx="39" hasCustomPrompt="1"/>
          </p:nvPr>
        </p:nvSpPr>
        <p:spPr>
          <a:xfrm>
            <a:off x="12060238" y="11437685"/>
            <a:ext cx="8839485" cy="63794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请输入文字内容对标题进行补充说明；请输入文字</a:t>
            </a:r>
            <a:endParaRPr lang="zh-CN" altLang="en-US" dirty="0"/>
          </a:p>
        </p:txBody>
      </p:sp>
      <p:sp>
        <p:nvSpPr>
          <p:cNvPr id="33" name="文本占位符 14"/>
          <p:cNvSpPr>
            <a:spLocks noGrp="1"/>
          </p:cNvSpPr>
          <p:nvPr>
            <p:ph type="body" sz="quarter" idx="41" hasCustomPrompt="1"/>
          </p:nvPr>
        </p:nvSpPr>
        <p:spPr>
          <a:xfrm>
            <a:off x="5004113" y="4240871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34" name="文本占位符 14"/>
          <p:cNvSpPr>
            <a:spLocks noGrp="1"/>
          </p:cNvSpPr>
          <p:nvPr>
            <p:ph type="body" sz="quarter" idx="42" hasCustomPrompt="1"/>
          </p:nvPr>
        </p:nvSpPr>
        <p:spPr>
          <a:xfrm>
            <a:off x="7776214" y="6252369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5" name="文本占位符 14"/>
          <p:cNvSpPr>
            <a:spLocks noGrp="1"/>
          </p:cNvSpPr>
          <p:nvPr>
            <p:ph type="body" sz="quarter" idx="43" hasCustomPrompt="1"/>
          </p:nvPr>
        </p:nvSpPr>
        <p:spPr>
          <a:xfrm>
            <a:off x="6725223" y="9634590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36" name="文本占位符 14"/>
          <p:cNvSpPr>
            <a:spLocks noGrp="1"/>
          </p:cNvSpPr>
          <p:nvPr>
            <p:ph type="body" sz="quarter" idx="44" hasCustomPrompt="1"/>
          </p:nvPr>
        </p:nvSpPr>
        <p:spPr>
          <a:xfrm>
            <a:off x="3264114" y="9615129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39" name="文本占位符 14"/>
          <p:cNvSpPr>
            <a:spLocks noGrp="1"/>
          </p:cNvSpPr>
          <p:nvPr>
            <p:ph type="body" sz="quarter" idx="45" hasCustomPrompt="1"/>
          </p:nvPr>
        </p:nvSpPr>
        <p:spPr>
          <a:xfrm>
            <a:off x="2219647" y="6252369"/>
            <a:ext cx="2345679" cy="1174750"/>
          </a:xfrm>
        </p:spPr>
        <p:txBody>
          <a:bodyPr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5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类标题+内容+树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37" name="平行四边形 136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38" name="文本占位符 6"/>
          <p:cNvSpPr>
            <a:spLocks noGrp="1"/>
          </p:cNvSpPr>
          <p:nvPr>
            <p:ph type="body" sz="quarter" idx="31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87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41" name="Freeform 37"/>
          <p:cNvSpPr/>
          <p:nvPr userDrawn="1"/>
        </p:nvSpPr>
        <p:spPr bwMode="auto">
          <a:xfrm>
            <a:off x="16971206" y="3229107"/>
            <a:ext cx="1381307" cy="2837099"/>
          </a:xfrm>
          <a:custGeom>
            <a:avLst/>
            <a:gdLst>
              <a:gd name="connsiteX0" fmla="*/ 317964 w 722358"/>
              <a:gd name="connsiteY0" fmla="*/ 0 h 1483668"/>
              <a:gd name="connsiteX1" fmla="*/ 364555 w 722358"/>
              <a:gd name="connsiteY1" fmla="*/ 1470071 h 1483668"/>
              <a:gd name="connsiteX2" fmla="*/ 355718 w 722358"/>
              <a:gd name="connsiteY2" fmla="*/ 673449 h 1483668"/>
              <a:gd name="connsiteX3" fmla="*/ 240046 w 722358"/>
              <a:gd name="connsiteY3" fmla="*/ 1483668 h 1483668"/>
              <a:gd name="connsiteX4" fmla="*/ 317964 w 722358"/>
              <a:gd name="connsiteY4" fmla="*/ 0 h 1483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358" h="1483668">
                <a:moveTo>
                  <a:pt x="317964" y="0"/>
                </a:moveTo>
                <a:cubicBezTo>
                  <a:pt x="317964" y="0"/>
                  <a:pt x="1195948" y="727837"/>
                  <a:pt x="364555" y="1470071"/>
                </a:cubicBezTo>
                <a:cubicBezTo>
                  <a:pt x="364555" y="1470071"/>
                  <a:pt x="290653" y="915795"/>
                  <a:pt x="355718" y="673449"/>
                </a:cubicBezTo>
                <a:cubicBezTo>
                  <a:pt x="355718" y="673449"/>
                  <a:pt x="161325" y="1209330"/>
                  <a:pt x="240046" y="1483668"/>
                </a:cubicBezTo>
                <a:cubicBezTo>
                  <a:pt x="240046" y="1483668"/>
                  <a:pt x="-348757" y="878204"/>
                  <a:pt x="3179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2" name="Freeform 38"/>
          <p:cNvSpPr/>
          <p:nvPr userDrawn="1"/>
        </p:nvSpPr>
        <p:spPr bwMode="auto">
          <a:xfrm>
            <a:off x="17687757" y="4966658"/>
            <a:ext cx="2085313" cy="1769383"/>
          </a:xfrm>
          <a:custGeom>
            <a:avLst/>
            <a:gdLst>
              <a:gd name="connsiteX0" fmla="*/ 1090513 w 1090520"/>
              <a:gd name="connsiteY0" fmla="*/ 0 h 925303"/>
              <a:gd name="connsiteX1" fmla="*/ 84318 w 1090520"/>
              <a:gd name="connsiteY1" fmla="*/ 913276 h 925303"/>
              <a:gd name="connsiteX2" fmla="*/ 640014 w 1090520"/>
              <a:gd name="connsiteY2" fmla="*/ 429448 h 925303"/>
              <a:gd name="connsiteX3" fmla="*/ 0 w 1090520"/>
              <a:gd name="connsiteY3" fmla="*/ 834104 h 925303"/>
              <a:gd name="connsiteX4" fmla="*/ 1090513 w 1090520"/>
              <a:gd name="connsiteY4" fmla="*/ 0 h 925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0520" h="925303">
                <a:moveTo>
                  <a:pt x="1090513" y="0"/>
                </a:moveTo>
                <a:cubicBezTo>
                  <a:pt x="1090513" y="0"/>
                  <a:pt x="1103361" y="1048428"/>
                  <a:pt x="84318" y="913276"/>
                </a:cubicBezTo>
                <a:cubicBezTo>
                  <a:pt x="84318" y="913276"/>
                  <a:pt x="429620" y="529412"/>
                  <a:pt x="640014" y="429448"/>
                </a:cubicBezTo>
                <a:cubicBezTo>
                  <a:pt x="640014" y="429448"/>
                  <a:pt x="145348" y="614982"/>
                  <a:pt x="0" y="834104"/>
                </a:cubicBezTo>
                <a:cubicBezTo>
                  <a:pt x="0" y="834104"/>
                  <a:pt x="73076" y="60779"/>
                  <a:pt x="109051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3" name="Freeform 39"/>
          <p:cNvSpPr/>
          <p:nvPr userDrawn="1"/>
        </p:nvSpPr>
        <p:spPr bwMode="auto">
          <a:xfrm>
            <a:off x="15401963" y="5408840"/>
            <a:ext cx="2001232" cy="1314732"/>
          </a:xfrm>
          <a:custGeom>
            <a:avLst/>
            <a:gdLst>
              <a:gd name="connsiteX0" fmla="*/ 356924 w 1046550"/>
              <a:gd name="connsiteY0" fmla="*/ 64 h 687542"/>
              <a:gd name="connsiteX1" fmla="*/ 1046550 w 1046550"/>
              <a:gd name="connsiteY1" fmla="*/ 576479 h 687542"/>
              <a:gd name="connsiteX2" fmla="*/ 485124 w 1046550"/>
              <a:gd name="connsiteY2" fmla="*/ 289336 h 687542"/>
              <a:gd name="connsiteX3" fmla="*/ 1010407 w 1046550"/>
              <a:gd name="connsiteY3" fmla="*/ 668461 h 687542"/>
              <a:gd name="connsiteX4" fmla="*/ 0 w 1046550"/>
              <a:gd name="connsiteY4" fmla="*/ 67780 h 687542"/>
              <a:gd name="connsiteX5" fmla="*/ 356924 w 1046550"/>
              <a:gd name="connsiteY5" fmla="*/ 64 h 687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6550" h="687542">
                <a:moveTo>
                  <a:pt x="356924" y="64"/>
                </a:moveTo>
                <a:cubicBezTo>
                  <a:pt x="610656" y="-2950"/>
                  <a:pt x="926825" y="98224"/>
                  <a:pt x="1046550" y="576479"/>
                </a:cubicBezTo>
                <a:cubicBezTo>
                  <a:pt x="1046550" y="576479"/>
                  <a:pt x="631304" y="423710"/>
                  <a:pt x="485124" y="289336"/>
                </a:cubicBezTo>
                <a:cubicBezTo>
                  <a:pt x="485124" y="289336"/>
                  <a:pt x="789531" y="622070"/>
                  <a:pt x="1010407" y="668461"/>
                </a:cubicBezTo>
                <a:cubicBezTo>
                  <a:pt x="1010407" y="668461"/>
                  <a:pt x="369465" y="854024"/>
                  <a:pt x="0" y="67780"/>
                </a:cubicBezTo>
                <a:cubicBezTo>
                  <a:pt x="0" y="67780"/>
                  <a:pt x="159577" y="2409"/>
                  <a:pt x="356924" y="6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4" name="Freeform 40"/>
          <p:cNvSpPr/>
          <p:nvPr userDrawn="1"/>
        </p:nvSpPr>
        <p:spPr bwMode="auto">
          <a:xfrm>
            <a:off x="19153699" y="5406220"/>
            <a:ext cx="1238743" cy="2124232"/>
          </a:xfrm>
          <a:custGeom>
            <a:avLst/>
            <a:gdLst>
              <a:gd name="connsiteX0" fmla="*/ 527284 w 647804"/>
              <a:gd name="connsiteY0" fmla="*/ 0 h 1110873"/>
              <a:gd name="connsiteX1" fmla="*/ 143389 w 647804"/>
              <a:gd name="connsiteY1" fmla="*/ 1110873 h 1110873"/>
              <a:gd name="connsiteX2" fmla="*/ 364249 w 647804"/>
              <a:gd name="connsiteY2" fmla="*/ 513449 h 1110873"/>
              <a:gd name="connsiteX3" fmla="*/ 46211 w 647804"/>
              <a:gd name="connsiteY3" fmla="*/ 1085281 h 1110873"/>
              <a:gd name="connsiteX4" fmla="*/ 527284 w 647804"/>
              <a:gd name="connsiteY4" fmla="*/ 0 h 111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804" h="1110873">
                <a:moveTo>
                  <a:pt x="527284" y="0"/>
                </a:moveTo>
                <a:cubicBezTo>
                  <a:pt x="527284" y="0"/>
                  <a:pt x="975428" y="791767"/>
                  <a:pt x="143389" y="1110873"/>
                </a:cubicBezTo>
                <a:cubicBezTo>
                  <a:pt x="143389" y="1110873"/>
                  <a:pt x="246189" y="675801"/>
                  <a:pt x="364249" y="513449"/>
                </a:cubicBezTo>
                <a:cubicBezTo>
                  <a:pt x="364249" y="513449"/>
                  <a:pt x="65486" y="858947"/>
                  <a:pt x="46211" y="1085281"/>
                </a:cubicBezTo>
                <a:cubicBezTo>
                  <a:pt x="46211" y="1085281"/>
                  <a:pt x="-220427" y="467063"/>
                  <a:pt x="5272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5" name="Freeform 41"/>
          <p:cNvSpPr/>
          <p:nvPr userDrawn="1"/>
        </p:nvSpPr>
        <p:spPr bwMode="auto">
          <a:xfrm>
            <a:off x="13770410" y="6307842"/>
            <a:ext cx="1567348" cy="1830793"/>
          </a:xfrm>
          <a:custGeom>
            <a:avLst/>
            <a:gdLst>
              <a:gd name="connsiteX0" fmla="*/ 0 w 819649"/>
              <a:gd name="connsiteY0" fmla="*/ 6 h 957418"/>
              <a:gd name="connsiteX1" fmla="*/ 808998 w 819649"/>
              <a:gd name="connsiteY1" fmla="*/ 883833 h 957418"/>
              <a:gd name="connsiteX2" fmla="*/ 380800 w 819649"/>
              <a:gd name="connsiteY2" fmla="*/ 395928 h 957418"/>
              <a:gd name="connsiteX3" fmla="*/ 739105 w 819649"/>
              <a:gd name="connsiteY3" fmla="*/ 957418 h 957418"/>
              <a:gd name="connsiteX4" fmla="*/ 0 w 819649"/>
              <a:gd name="connsiteY4" fmla="*/ 6 h 95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649" h="957418">
                <a:moveTo>
                  <a:pt x="0" y="6"/>
                </a:moveTo>
                <a:cubicBezTo>
                  <a:pt x="0" y="6"/>
                  <a:pt x="928701" y="-11192"/>
                  <a:pt x="808998" y="883833"/>
                </a:cubicBezTo>
                <a:cubicBezTo>
                  <a:pt x="808998" y="883833"/>
                  <a:pt x="468368" y="579892"/>
                  <a:pt x="380800" y="395928"/>
                </a:cubicBezTo>
                <a:cubicBezTo>
                  <a:pt x="380800" y="395928"/>
                  <a:pt x="544688" y="830243"/>
                  <a:pt x="739105" y="957418"/>
                </a:cubicBezTo>
                <a:cubicBezTo>
                  <a:pt x="739105" y="957418"/>
                  <a:pt x="53826" y="893431"/>
                  <a:pt x="0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6" name="Freeform 42"/>
          <p:cNvSpPr/>
          <p:nvPr userDrawn="1"/>
        </p:nvSpPr>
        <p:spPr bwMode="auto">
          <a:xfrm>
            <a:off x="15489807" y="6475598"/>
            <a:ext cx="991202" cy="1739070"/>
          </a:xfrm>
          <a:custGeom>
            <a:avLst/>
            <a:gdLst>
              <a:gd name="connsiteX0" fmla="*/ 410800 w 518352"/>
              <a:gd name="connsiteY0" fmla="*/ 0 h 909451"/>
              <a:gd name="connsiteX1" fmla="*/ 122441 w 518352"/>
              <a:gd name="connsiteY1" fmla="*/ 909451 h 909451"/>
              <a:gd name="connsiteX2" fmla="*/ 288709 w 518352"/>
              <a:gd name="connsiteY2" fmla="*/ 419931 h 909451"/>
              <a:gd name="connsiteX3" fmla="*/ 43724 w 518352"/>
              <a:gd name="connsiteY3" fmla="*/ 891054 h 909451"/>
              <a:gd name="connsiteX4" fmla="*/ 410800 w 518352"/>
              <a:gd name="connsiteY4" fmla="*/ 0 h 909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352" h="909451">
                <a:moveTo>
                  <a:pt x="410800" y="0"/>
                </a:moveTo>
                <a:cubicBezTo>
                  <a:pt x="410800" y="0"/>
                  <a:pt x="790728" y="632696"/>
                  <a:pt x="122441" y="909451"/>
                </a:cubicBezTo>
                <a:cubicBezTo>
                  <a:pt x="122441" y="909451"/>
                  <a:pt x="196338" y="554309"/>
                  <a:pt x="288709" y="419931"/>
                </a:cubicBezTo>
                <a:cubicBezTo>
                  <a:pt x="288709" y="419931"/>
                  <a:pt x="54166" y="707084"/>
                  <a:pt x="43724" y="891054"/>
                </a:cubicBezTo>
                <a:cubicBezTo>
                  <a:pt x="43724" y="891054"/>
                  <a:pt x="-186803" y="395135"/>
                  <a:pt x="4108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7" name="Freeform 43"/>
          <p:cNvSpPr/>
          <p:nvPr userDrawn="1"/>
        </p:nvSpPr>
        <p:spPr bwMode="auto">
          <a:xfrm>
            <a:off x="15520914" y="6971546"/>
            <a:ext cx="3872280" cy="6634861"/>
          </a:xfrm>
          <a:custGeom>
            <a:avLst/>
            <a:gdLst>
              <a:gd name="connsiteX0" fmla="*/ 960699 w 2025019"/>
              <a:gd name="connsiteY0" fmla="*/ 0 h 3469718"/>
              <a:gd name="connsiteX1" fmla="*/ 1151072 w 2025019"/>
              <a:gd name="connsiteY1" fmla="*/ 0 h 3469718"/>
              <a:gd name="connsiteX2" fmla="*/ 1229791 w 2025019"/>
              <a:gd name="connsiteY2" fmla="*/ 1049394 h 3469718"/>
              <a:gd name="connsiteX3" fmla="*/ 1884448 w 2025019"/>
              <a:gd name="connsiteY3" fmla="*/ 350331 h 3469718"/>
              <a:gd name="connsiteX4" fmla="*/ 2025019 w 2025019"/>
              <a:gd name="connsiteY4" fmla="*/ 536695 h 3469718"/>
              <a:gd name="connsiteX5" fmla="*/ 1335018 w 2025019"/>
              <a:gd name="connsiteY5" fmla="*/ 1363732 h 3469718"/>
              <a:gd name="connsiteX6" fmla="*/ 1287626 w 2025019"/>
              <a:gd name="connsiteY6" fmla="*/ 2190770 h 3469718"/>
              <a:gd name="connsiteX7" fmla="*/ 1416951 w 2025019"/>
              <a:gd name="connsiteY7" fmla="*/ 3469718 h 3469718"/>
              <a:gd name="connsiteX8" fmla="*/ 722131 w 2025019"/>
              <a:gd name="connsiteY8" fmla="*/ 3469718 h 3469718"/>
              <a:gd name="connsiteX9" fmla="*/ 796834 w 2025019"/>
              <a:gd name="connsiteY9" fmla="*/ 1946018 h 3469718"/>
              <a:gd name="connsiteX10" fmla="*/ 0 w 2025019"/>
              <a:gd name="connsiteY10" fmla="*/ 875828 h 3469718"/>
              <a:gd name="connsiteX11" fmla="*/ 129325 w 2025019"/>
              <a:gd name="connsiteY11" fmla="*/ 759051 h 3469718"/>
              <a:gd name="connsiteX12" fmla="*/ 878767 w 2025019"/>
              <a:gd name="connsiteY12" fmla="*/ 1608484 h 3469718"/>
              <a:gd name="connsiteX13" fmla="*/ 960699 w 2025019"/>
              <a:gd name="connsiteY13" fmla="*/ 0 h 3469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25019" h="3469718">
                <a:moveTo>
                  <a:pt x="960699" y="0"/>
                </a:moveTo>
                <a:cubicBezTo>
                  <a:pt x="1151072" y="0"/>
                  <a:pt x="1151072" y="0"/>
                  <a:pt x="1151072" y="0"/>
                </a:cubicBezTo>
                <a:cubicBezTo>
                  <a:pt x="1229791" y="1049394"/>
                  <a:pt x="1229791" y="1049394"/>
                  <a:pt x="1229791" y="1049394"/>
                </a:cubicBezTo>
                <a:cubicBezTo>
                  <a:pt x="1884448" y="350331"/>
                  <a:pt x="1884448" y="350331"/>
                  <a:pt x="1884448" y="350331"/>
                </a:cubicBezTo>
                <a:cubicBezTo>
                  <a:pt x="2025019" y="536695"/>
                  <a:pt x="2025019" y="536695"/>
                  <a:pt x="2025019" y="536695"/>
                </a:cubicBezTo>
                <a:cubicBezTo>
                  <a:pt x="1335018" y="1363732"/>
                  <a:pt x="1335018" y="1363732"/>
                  <a:pt x="1335018" y="1363732"/>
                </a:cubicBezTo>
                <a:cubicBezTo>
                  <a:pt x="1335018" y="1363732"/>
                  <a:pt x="1217742" y="1363732"/>
                  <a:pt x="1287626" y="2190770"/>
                </a:cubicBezTo>
                <a:cubicBezTo>
                  <a:pt x="1358313" y="3017807"/>
                  <a:pt x="1416951" y="3469718"/>
                  <a:pt x="1416951" y="3469718"/>
                </a:cubicBezTo>
                <a:lnTo>
                  <a:pt x="722131" y="3469718"/>
                </a:lnTo>
                <a:cubicBezTo>
                  <a:pt x="722131" y="3469718"/>
                  <a:pt x="902061" y="2295549"/>
                  <a:pt x="796834" y="1946018"/>
                </a:cubicBezTo>
                <a:cubicBezTo>
                  <a:pt x="0" y="875828"/>
                  <a:pt x="0" y="875828"/>
                  <a:pt x="0" y="875828"/>
                </a:cubicBezTo>
                <a:cubicBezTo>
                  <a:pt x="129325" y="759051"/>
                  <a:pt x="129325" y="759051"/>
                  <a:pt x="129325" y="759051"/>
                </a:cubicBezTo>
                <a:cubicBezTo>
                  <a:pt x="878767" y="1608484"/>
                  <a:pt x="878767" y="1608484"/>
                  <a:pt x="878767" y="1608484"/>
                </a:cubicBezTo>
                <a:cubicBezTo>
                  <a:pt x="960699" y="0"/>
                  <a:pt x="960699" y="0"/>
                  <a:pt x="96069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8" name="Freeform 44"/>
          <p:cNvSpPr/>
          <p:nvPr userDrawn="1"/>
        </p:nvSpPr>
        <p:spPr bwMode="auto">
          <a:xfrm>
            <a:off x="19436928" y="7346463"/>
            <a:ext cx="2706018" cy="1304185"/>
          </a:xfrm>
          <a:custGeom>
            <a:avLst/>
            <a:gdLst>
              <a:gd name="connsiteX0" fmla="*/ 698996 w 1415119"/>
              <a:gd name="connsiteY0" fmla="*/ 394 h 682027"/>
              <a:gd name="connsiteX1" fmla="*/ 1415119 w 1415119"/>
              <a:gd name="connsiteY1" fmla="*/ 251915 h 682027"/>
              <a:gd name="connsiteX2" fmla="*/ 20078 w 1415119"/>
              <a:gd name="connsiteY2" fmla="*/ 384714 h 682027"/>
              <a:gd name="connsiteX3" fmla="*/ 777432 w 1415119"/>
              <a:gd name="connsiteY3" fmla="*/ 328714 h 682027"/>
              <a:gd name="connsiteX4" fmla="*/ 0 w 1415119"/>
              <a:gd name="connsiteY4" fmla="*/ 267915 h 682027"/>
              <a:gd name="connsiteX5" fmla="*/ 698996 w 1415119"/>
              <a:gd name="connsiteY5" fmla="*/ 394 h 68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15119" h="682027">
                <a:moveTo>
                  <a:pt x="698996" y="394"/>
                </a:moveTo>
                <a:cubicBezTo>
                  <a:pt x="900769" y="5980"/>
                  <a:pt x="1141552" y="71917"/>
                  <a:pt x="1415119" y="251915"/>
                </a:cubicBezTo>
                <a:cubicBezTo>
                  <a:pt x="1415119" y="251915"/>
                  <a:pt x="775826" y="1123906"/>
                  <a:pt x="20078" y="384714"/>
                </a:cubicBezTo>
                <a:cubicBezTo>
                  <a:pt x="20078" y="384714"/>
                  <a:pt x="542917" y="281515"/>
                  <a:pt x="777432" y="328714"/>
                </a:cubicBezTo>
                <a:cubicBezTo>
                  <a:pt x="777432" y="328714"/>
                  <a:pt x="255396" y="176716"/>
                  <a:pt x="0" y="267915"/>
                </a:cubicBezTo>
                <a:cubicBezTo>
                  <a:pt x="0" y="267915"/>
                  <a:pt x="255095" y="-11895"/>
                  <a:pt x="698996" y="39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49" name="Freeform 57"/>
          <p:cNvSpPr/>
          <p:nvPr userDrawn="1"/>
        </p:nvSpPr>
        <p:spPr bwMode="auto">
          <a:xfrm>
            <a:off x="12729862" y="7970115"/>
            <a:ext cx="2228379" cy="1074792"/>
          </a:xfrm>
          <a:custGeom>
            <a:avLst/>
            <a:gdLst>
              <a:gd name="connsiteX0" fmla="*/ 599725 w 1165337"/>
              <a:gd name="connsiteY0" fmla="*/ 1063 h 562065"/>
              <a:gd name="connsiteX1" fmla="*/ 1146865 w 1165337"/>
              <a:gd name="connsiteY1" fmla="*/ 234334 h 562065"/>
              <a:gd name="connsiteX2" fmla="*/ 523639 w 1165337"/>
              <a:gd name="connsiteY2" fmla="*/ 293528 h 562065"/>
              <a:gd name="connsiteX3" fmla="*/ 1165337 w 1165337"/>
              <a:gd name="connsiteY3" fmla="*/ 330324 h 562065"/>
              <a:gd name="connsiteX4" fmla="*/ 0 w 1165337"/>
              <a:gd name="connsiteY4" fmla="*/ 367120 h 562065"/>
              <a:gd name="connsiteX5" fmla="*/ 599725 w 1165337"/>
              <a:gd name="connsiteY5" fmla="*/ 1063 h 562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337" h="562065">
                <a:moveTo>
                  <a:pt x="599725" y="1063"/>
                </a:moveTo>
                <a:cubicBezTo>
                  <a:pt x="762242" y="-8765"/>
                  <a:pt x="948593" y="48104"/>
                  <a:pt x="1146865" y="234334"/>
                </a:cubicBezTo>
                <a:cubicBezTo>
                  <a:pt x="1146865" y="234334"/>
                  <a:pt x="717996" y="327924"/>
                  <a:pt x="523639" y="293528"/>
                </a:cubicBezTo>
                <a:cubicBezTo>
                  <a:pt x="523639" y="293528"/>
                  <a:pt x="956524" y="409515"/>
                  <a:pt x="1165337" y="330324"/>
                </a:cubicBezTo>
                <a:cubicBezTo>
                  <a:pt x="1165337" y="330324"/>
                  <a:pt x="730042" y="826271"/>
                  <a:pt x="0" y="367120"/>
                </a:cubicBezTo>
                <a:cubicBezTo>
                  <a:pt x="0" y="367120"/>
                  <a:pt x="242186" y="22685"/>
                  <a:pt x="599725" y="10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50" name="Freeform 58"/>
          <p:cNvSpPr/>
          <p:nvPr userDrawn="1"/>
        </p:nvSpPr>
        <p:spPr bwMode="auto">
          <a:xfrm>
            <a:off x="14067158" y="8731854"/>
            <a:ext cx="1453756" cy="1821668"/>
          </a:xfrm>
          <a:custGeom>
            <a:avLst/>
            <a:gdLst>
              <a:gd name="connsiteX0" fmla="*/ 671798 w 760246"/>
              <a:gd name="connsiteY0" fmla="*/ 0 h 952646"/>
              <a:gd name="connsiteX1" fmla="*/ 310318 w 760246"/>
              <a:gd name="connsiteY1" fmla="*/ 508718 h 952646"/>
              <a:gd name="connsiteX2" fmla="*/ 756947 w 760246"/>
              <a:gd name="connsiteY2" fmla="*/ 47992 h 952646"/>
              <a:gd name="connsiteX3" fmla="*/ 25151 w 760246"/>
              <a:gd name="connsiteY3" fmla="*/ 952646 h 952646"/>
              <a:gd name="connsiteX4" fmla="*/ 671798 w 760246"/>
              <a:gd name="connsiteY4" fmla="*/ 0 h 95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0246" h="952646">
                <a:moveTo>
                  <a:pt x="671798" y="0"/>
                </a:moveTo>
                <a:cubicBezTo>
                  <a:pt x="671798" y="0"/>
                  <a:pt x="463747" y="384738"/>
                  <a:pt x="310318" y="508718"/>
                </a:cubicBezTo>
                <a:cubicBezTo>
                  <a:pt x="310318" y="508718"/>
                  <a:pt x="680635" y="257559"/>
                  <a:pt x="756947" y="47992"/>
                </a:cubicBezTo>
                <a:cubicBezTo>
                  <a:pt x="756947" y="47992"/>
                  <a:pt x="851735" y="700687"/>
                  <a:pt x="25151" y="952646"/>
                </a:cubicBezTo>
                <a:cubicBezTo>
                  <a:pt x="25151" y="952646"/>
                  <a:pt x="-195754" y="90386"/>
                  <a:pt x="67179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no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400" b="1" dirty="0">
              <a:latin typeface="Roboto Bold" charset="0"/>
            </a:endParaRPr>
          </a:p>
        </p:txBody>
      </p:sp>
      <p:sp>
        <p:nvSpPr>
          <p:cNvPr id="53" name="文本占位符 8"/>
          <p:cNvSpPr>
            <a:spLocks noGrp="1"/>
          </p:cNvSpPr>
          <p:nvPr>
            <p:ph type="body" sz="quarter" idx="25" hasCustomPrompt="1"/>
          </p:nvPr>
        </p:nvSpPr>
        <p:spPr>
          <a:xfrm>
            <a:off x="2288433" y="4858179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3" name="文本占位符 8"/>
          <p:cNvSpPr>
            <a:spLocks noGrp="1"/>
          </p:cNvSpPr>
          <p:nvPr>
            <p:ph type="body" sz="quarter" idx="53" hasCustomPrompt="1"/>
          </p:nvPr>
        </p:nvSpPr>
        <p:spPr>
          <a:xfrm>
            <a:off x="1354846" y="5967017"/>
            <a:ext cx="5261036" cy="1668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64" name="文本占位符 8"/>
          <p:cNvSpPr>
            <a:spLocks noGrp="1"/>
          </p:cNvSpPr>
          <p:nvPr>
            <p:ph type="body" sz="quarter" idx="54" hasCustomPrompt="1"/>
          </p:nvPr>
        </p:nvSpPr>
        <p:spPr>
          <a:xfrm>
            <a:off x="8424235" y="4858179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6" name="文本占位符 8"/>
          <p:cNvSpPr>
            <a:spLocks noGrp="1"/>
          </p:cNvSpPr>
          <p:nvPr>
            <p:ph type="body" sz="quarter" idx="55" hasCustomPrompt="1"/>
          </p:nvPr>
        </p:nvSpPr>
        <p:spPr>
          <a:xfrm>
            <a:off x="7490648" y="5967017"/>
            <a:ext cx="5261036" cy="1668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67" name="文本占位符 8"/>
          <p:cNvSpPr>
            <a:spLocks noGrp="1"/>
          </p:cNvSpPr>
          <p:nvPr>
            <p:ph type="body" sz="quarter" idx="56" hasCustomPrompt="1"/>
          </p:nvPr>
        </p:nvSpPr>
        <p:spPr>
          <a:xfrm>
            <a:off x="2307549" y="9040155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69" name="文本占位符 8"/>
          <p:cNvSpPr>
            <a:spLocks noGrp="1"/>
          </p:cNvSpPr>
          <p:nvPr>
            <p:ph type="body" sz="quarter" idx="57" hasCustomPrompt="1"/>
          </p:nvPr>
        </p:nvSpPr>
        <p:spPr>
          <a:xfrm>
            <a:off x="1373962" y="10148993"/>
            <a:ext cx="5261036" cy="1668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70" name="文本占位符 8"/>
          <p:cNvSpPr>
            <a:spLocks noGrp="1"/>
          </p:cNvSpPr>
          <p:nvPr>
            <p:ph type="body" sz="quarter" idx="58" hasCustomPrompt="1"/>
          </p:nvPr>
        </p:nvSpPr>
        <p:spPr>
          <a:xfrm>
            <a:off x="8443351" y="9040155"/>
            <a:ext cx="3479529" cy="919218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buNone/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主标题</a:t>
            </a:r>
            <a:endParaRPr lang="zh-CN" altLang="en-US" dirty="0"/>
          </a:p>
        </p:txBody>
      </p:sp>
      <p:sp>
        <p:nvSpPr>
          <p:cNvPr id="72" name="文本占位符 8"/>
          <p:cNvSpPr>
            <a:spLocks noGrp="1"/>
          </p:cNvSpPr>
          <p:nvPr>
            <p:ph type="body" sz="quarter" idx="59" hasCustomPrompt="1"/>
          </p:nvPr>
        </p:nvSpPr>
        <p:spPr>
          <a:xfrm>
            <a:off x="7509764" y="10148993"/>
            <a:ext cx="5261036" cy="1668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2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>
              <a:defRPr sz="3400">
                <a:solidFill>
                  <a:schemeClr val="bg2"/>
                </a:solidFill>
                <a:latin typeface="+mj-lt"/>
              </a:defRPr>
            </a:lvl2pPr>
            <a:lvl3pPr>
              <a:defRPr sz="3400">
                <a:solidFill>
                  <a:schemeClr val="bg2"/>
                </a:solidFill>
                <a:latin typeface="+mj-lt"/>
              </a:defRPr>
            </a:lvl3pPr>
            <a:lvl4pPr>
              <a:defRPr sz="3400">
                <a:solidFill>
                  <a:schemeClr val="bg2"/>
                </a:solidFill>
                <a:latin typeface="+mj-lt"/>
              </a:defRPr>
            </a:lvl4pPr>
            <a:lvl5pPr>
              <a:defRPr sz="34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zh-CN" altLang="en-US" dirty="0"/>
              <a:t>请输入文字内容对标题进行补充说明；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60" hasCustomPrompt="1"/>
          </p:nvPr>
        </p:nvSpPr>
        <p:spPr>
          <a:xfrm>
            <a:off x="3490913" y="3768148"/>
            <a:ext cx="1054100" cy="91916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3" name="文本占位符 2"/>
          <p:cNvSpPr>
            <a:spLocks noGrp="1"/>
          </p:cNvSpPr>
          <p:nvPr>
            <p:ph type="body" sz="quarter" idx="61" hasCustomPrompt="1"/>
          </p:nvPr>
        </p:nvSpPr>
        <p:spPr>
          <a:xfrm>
            <a:off x="9594116" y="3761079"/>
            <a:ext cx="1054100" cy="91916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74" name="文本占位符 2"/>
          <p:cNvSpPr>
            <a:spLocks noGrp="1"/>
          </p:cNvSpPr>
          <p:nvPr>
            <p:ph type="body" sz="quarter" idx="62" hasCustomPrompt="1"/>
          </p:nvPr>
        </p:nvSpPr>
        <p:spPr>
          <a:xfrm>
            <a:off x="3485481" y="7966150"/>
            <a:ext cx="1054100" cy="91916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75" name="文本占位符 2"/>
          <p:cNvSpPr>
            <a:spLocks noGrp="1"/>
          </p:cNvSpPr>
          <p:nvPr>
            <p:ph type="body" sz="quarter" idx="63" hasCustomPrompt="1"/>
          </p:nvPr>
        </p:nvSpPr>
        <p:spPr>
          <a:xfrm>
            <a:off x="9588684" y="7959081"/>
            <a:ext cx="1054100" cy="919163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altLang="zh-CN" dirty="0"/>
              <a:t>4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图片占位符 20"/>
          <p:cNvSpPr>
            <a:spLocks noGrp="1"/>
          </p:cNvSpPr>
          <p:nvPr>
            <p:ph type="pic" sz="quarter" idx="10"/>
          </p:nvPr>
        </p:nvSpPr>
        <p:spPr>
          <a:xfrm>
            <a:off x="-2772696" y="2424113"/>
            <a:ext cx="14116972" cy="8764587"/>
          </a:xfrm>
          <a:prstGeom prst="parallelogram">
            <a:avLst>
              <a:gd name="adj" fmla="val 31058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12" name="平行四边形 11"/>
          <p:cNvSpPr/>
          <p:nvPr userDrawn="1"/>
        </p:nvSpPr>
        <p:spPr>
          <a:xfrm>
            <a:off x="5187315" y="4628515"/>
            <a:ext cx="20456525" cy="5135245"/>
          </a:xfrm>
          <a:prstGeom prst="parallelogram">
            <a:avLst>
              <a:gd name="adj" fmla="val 30813"/>
            </a:avLst>
          </a:prstGeom>
          <a:solidFill>
            <a:srgbClr val="0069B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" name="平行四边形 12"/>
          <p:cNvSpPr/>
          <p:nvPr userDrawn="1"/>
        </p:nvSpPr>
        <p:spPr>
          <a:xfrm>
            <a:off x="9098915" y="4628515"/>
            <a:ext cx="16619855" cy="513524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3"/>
              </a:solidFill>
            </a:endParaRPr>
          </a:p>
        </p:txBody>
      </p:sp>
      <p:sp>
        <p:nvSpPr>
          <p:cNvPr id="17" name="平行四边形 16"/>
          <p:cNvSpPr/>
          <p:nvPr userDrawn="1"/>
        </p:nvSpPr>
        <p:spPr>
          <a:xfrm>
            <a:off x="18079720" y="1177798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平行四边形 17"/>
          <p:cNvSpPr/>
          <p:nvPr userDrawn="1"/>
        </p:nvSpPr>
        <p:spPr>
          <a:xfrm>
            <a:off x="16850360" y="-494665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平行四边形 18"/>
          <p:cNvSpPr/>
          <p:nvPr userDrawn="1"/>
        </p:nvSpPr>
        <p:spPr>
          <a:xfrm>
            <a:off x="15883890" y="10602595"/>
            <a:ext cx="2195830" cy="1480820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平行四边形 19"/>
          <p:cNvSpPr/>
          <p:nvPr userDrawn="1"/>
        </p:nvSpPr>
        <p:spPr>
          <a:xfrm>
            <a:off x="3482340" y="673100"/>
            <a:ext cx="1417955" cy="96964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1016101" y="5448796"/>
            <a:ext cx="12551821" cy="2179172"/>
          </a:xfrm>
        </p:spPr>
        <p:txBody>
          <a:bodyPr>
            <a:normAutofit/>
          </a:bodyPr>
          <a:lstStyle>
            <a:lvl1pPr marL="0" indent="0">
              <a:buNone/>
              <a:defRPr sz="10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感谢观看！</a:t>
            </a:r>
            <a:endParaRPr lang="zh-CN" altLang="en-US" dirty="0"/>
          </a:p>
        </p:txBody>
      </p:sp>
      <p:sp>
        <p:nvSpPr>
          <p:cNvPr id="24" name="文本占位符 8"/>
          <p:cNvSpPr>
            <a:spLocks noGrp="1"/>
          </p:cNvSpPr>
          <p:nvPr>
            <p:ph type="body" sz="quarter" idx="15" hasCustomPrompt="1"/>
          </p:nvPr>
        </p:nvSpPr>
        <p:spPr>
          <a:xfrm>
            <a:off x="11016101" y="7676663"/>
            <a:ext cx="12551821" cy="1230830"/>
          </a:xfrm>
        </p:spPr>
        <p:txBody>
          <a:bodyPr>
            <a:norm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l"/>
              </a:defRPr>
            </a:lvl1pPr>
          </a:lstStyle>
          <a:p>
            <a:pPr lvl="0"/>
            <a:r>
              <a:rPr lang="en-US" altLang="zh-CN" dirty="0"/>
              <a:t>THANKS</a:t>
            </a:r>
            <a:r>
              <a:rPr lang="zh-CN" altLang="en-US" dirty="0"/>
              <a:t>！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平行四边形 19"/>
          <p:cNvSpPr/>
          <p:nvPr userDrawn="1"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4" name="平行四边形 13"/>
          <p:cNvSpPr/>
          <p:nvPr userDrawn="1"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5" name="平行四边形 14"/>
          <p:cNvSpPr/>
          <p:nvPr userDrawn="1"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892675" y="4967604"/>
            <a:ext cx="2414587" cy="2038985"/>
          </a:xfrm>
        </p:spPr>
        <p:txBody>
          <a:bodyPr lIns="90000" tIns="46800" rIns="90000" bIns="46800" anchor="b" anchorCtr="0">
            <a:noAutofit/>
          </a:bodyPr>
          <a:lstStyle>
            <a:lvl1pPr algn="l">
              <a:defRPr sz="13000" b="1" i="0" spc="3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775" y="4962753"/>
            <a:ext cx="10042525" cy="2038985"/>
          </a:xfrm>
        </p:spPr>
        <p:txBody>
          <a:bodyPr>
            <a:noAutofit/>
          </a:bodyPr>
          <a:lstStyle>
            <a:lvl1pPr marL="0" indent="0">
              <a:buNone/>
              <a:defRPr sz="1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大标题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646568" y="7593528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646568" y="8610074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775" y="9626621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19" name="平行四边形 18"/>
          <p:cNvSpPr/>
          <p:nvPr userDrawn="1"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16494918" y="7612578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16494918" y="8629124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16494125" y="9645671"/>
            <a:ext cx="6786563" cy="677862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  单击此处编辑母版文本样式</a:t>
            </a:r>
            <a:endParaRPr lang="zh-CN" altLang="en-US" dirty="0"/>
          </a:p>
        </p:txBody>
      </p:sp>
      <p:sp>
        <p:nvSpPr>
          <p:cNvPr id="25" name="平行四边形 24"/>
          <p:cNvSpPr/>
          <p:nvPr userDrawn="1"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 userDrawn="1"/>
        </p:nvSpPr>
        <p:spPr>
          <a:xfrm>
            <a:off x="8167279" y="-2425463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4" name="平行四边形 23"/>
          <p:cNvSpPr/>
          <p:nvPr userDrawn="1"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 userDrawn="1"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2:-2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8" name="矩形 7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1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矩形 16"/>
          <p:cNvSpPr/>
          <p:nvPr/>
        </p:nvSpPr>
        <p:spPr>
          <a:xfrm flipH="1">
            <a:off x="12268130" y="4398535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660507" y="4269207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3" name="文本占位符 1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46908" y="6109029"/>
            <a:ext cx="3268662" cy="1604960"/>
          </a:xfrm>
        </p:spPr>
        <p:txBody>
          <a:bodyPr>
            <a:normAutofit/>
          </a:bodyPr>
          <a:lstStyle>
            <a:lvl1pPr marL="0" indent="0">
              <a:buNone/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6" name="文本占位符 2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657196" y="4360487"/>
            <a:ext cx="5277377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7" name="文本占位符 21"/>
          <p:cNvSpPr>
            <a:spLocks noGrp="1"/>
          </p:cNvSpPr>
          <p:nvPr>
            <p:ph type="body" sz="quarter" idx="12" hasCustomPrompt="1"/>
          </p:nvPr>
        </p:nvSpPr>
        <p:spPr>
          <a:xfrm>
            <a:off x="12657196" y="5376151"/>
            <a:ext cx="5277377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0" name="文本占位符 24"/>
          <p:cNvSpPr>
            <a:spLocks noGrp="1"/>
          </p:cNvSpPr>
          <p:nvPr>
            <p:ph type="body" sz="quarter" idx="13" hasCustomPrompt="1"/>
          </p:nvPr>
        </p:nvSpPr>
        <p:spPr>
          <a:xfrm>
            <a:off x="10588530" y="4229159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31" name="矩形 30"/>
          <p:cNvSpPr/>
          <p:nvPr userDrawn="1"/>
        </p:nvSpPr>
        <p:spPr>
          <a:xfrm flipH="1">
            <a:off x="12268130" y="8016007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 userDrawn="1"/>
        </p:nvSpPr>
        <p:spPr>
          <a:xfrm>
            <a:off x="12660507" y="7886679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3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12657196" y="7977959"/>
            <a:ext cx="5277377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4" name="文本占位符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657196" y="8993623"/>
            <a:ext cx="5277377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5" name="文本占位符 24"/>
          <p:cNvSpPr>
            <a:spLocks noGrp="1"/>
          </p:cNvSpPr>
          <p:nvPr>
            <p:ph type="body" sz="quarter" idx="16" hasCustomPrompt="1"/>
          </p:nvPr>
        </p:nvSpPr>
        <p:spPr>
          <a:xfrm>
            <a:off x="10588530" y="7846631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36" name="文本框 35"/>
          <p:cNvSpPr txBox="1"/>
          <p:nvPr userDrawn="1"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2:-2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8" name="矩形 7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矩形 16"/>
          <p:cNvSpPr/>
          <p:nvPr/>
        </p:nvSpPr>
        <p:spPr>
          <a:xfrm flipH="1">
            <a:off x="12268130" y="3053826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660507" y="292449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3" name="文本占位符 1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46908" y="6109029"/>
            <a:ext cx="3268662" cy="1604960"/>
          </a:xfrm>
        </p:spPr>
        <p:txBody>
          <a:bodyPr>
            <a:normAutofit/>
          </a:bodyPr>
          <a:lstStyle>
            <a:lvl1pPr marL="0" indent="0">
              <a:buNone/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6" name="文本占位符 2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657196" y="3015778"/>
            <a:ext cx="5369798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7" name="文本占位符 21"/>
          <p:cNvSpPr>
            <a:spLocks noGrp="1"/>
          </p:cNvSpPr>
          <p:nvPr>
            <p:ph type="body" sz="quarter" idx="12" hasCustomPrompt="1"/>
          </p:nvPr>
        </p:nvSpPr>
        <p:spPr>
          <a:xfrm>
            <a:off x="12657196" y="4031442"/>
            <a:ext cx="5369798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0" name="文本占位符 24"/>
          <p:cNvSpPr>
            <a:spLocks noGrp="1"/>
          </p:cNvSpPr>
          <p:nvPr>
            <p:ph type="body" sz="quarter" idx="13" hasCustomPrompt="1"/>
          </p:nvPr>
        </p:nvSpPr>
        <p:spPr>
          <a:xfrm>
            <a:off x="10588530" y="2884450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31" name="矩形 30"/>
          <p:cNvSpPr/>
          <p:nvPr userDrawn="1"/>
        </p:nvSpPr>
        <p:spPr>
          <a:xfrm flipH="1">
            <a:off x="12268130" y="6294782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 userDrawn="1"/>
        </p:nvSpPr>
        <p:spPr>
          <a:xfrm>
            <a:off x="12660507" y="6165454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3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12657196" y="6256734"/>
            <a:ext cx="5369798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4" name="文本占位符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657196" y="7272398"/>
            <a:ext cx="5369798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5" name="文本占位符 24"/>
          <p:cNvSpPr>
            <a:spLocks noGrp="1"/>
          </p:cNvSpPr>
          <p:nvPr>
            <p:ph type="body" sz="quarter" idx="16" hasCustomPrompt="1"/>
          </p:nvPr>
        </p:nvSpPr>
        <p:spPr>
          <a:xfrm>
            <a:off x="10588530" y="6125406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20" name="矩形 19"/>
          <p:cNvSpPr/>
          <p:nvPr userDrawn="1"/>
        </p:nvSpPr>
        <p:spPr>
          <a:xfrm flipH="1">
            <a:off x="12264819" y="936058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 userDrawn="1"/>
        </p:nvSpPr>
        <p:spPr>
          <a:xfrm>
            <a:off x="12657196" y="923125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7" hasCustomPrompt="1"/>
          </p:nvPr>
        </p:nvSpPr>
        <p:spPr>
          <a:xfrm>
            <a:off x="12653885" y="9322533"/>
            <a:ext cx="5369798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4" name="文本占位符 21"/>
          <p:cNvSpPr>
            <a:spLocks noGrp="1"/>
          </p:cNvSpPr>
          <p:nvPr>
            <p:ph type="body" sz="quarter" idx="18" hasCustomPrompt="1"/>
          </p:nvPr>
        </p:nvSpPr>
        <p:spPr>
          <a:xfrm>
            <a:off x="12653885" y="10338197"/>
            <a:ext cx="5369798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19" hasCustomPrompt="1"/>
          </p:nvPr>
        </p:nvSpPr>
        <p:spPr>
          <a:xfrm>
            <a:off x="10585219" y="919120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36" name="文本框 35"/>
          <p:cNvSpPr txBox="1"/>
          <p:nvPr userDrawn="1"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目录2:-2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8" name="矩形 7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矩形 16"/>
          <p:cNvSpPr/>
          <p:nvPr/>
        </p:nvSpPr>
        <p:spPr>
          <a:xfrm flipH="1">
            <a:off x="12268130" y="170912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660507" y="157979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3" name="文本占位符 1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46908" y="6109029"/>
            <a:ext cx="3268662" cy="1604960"/>
          </a:xfrm>
        </p:spPr>
        <p:txBody>
          <a:bodyPr>
            <a:normAutofit/>
          </a:bodyPr>
          <a:lstStyle>
            <a:lvl1pPr marL="0" indent="0">
              <a:buNone/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6" name="文本占位符 2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657196" y="1671073"/>
            <a:ext cx="5595082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7" name="文本占位符 21"/>
          <p:cNvSpPr>
            <a:spLocks noGrp="1"/>
          </p:cNvSpPr>
          <p:nvPr>
            <p:ph type="body" sz="quarter" idx="12" hasCustomPrompt="1"/>
          </p:nvPr>
        </p:nvSpPr>
        <p:spPr>
          <a:xfrm>
            <a:off x="12657196" y="2686737"/>
            <a:ext cx="5595082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0" name="文本占位符 24"/>
          <p:cNvSpPr>
            <a:spLocks noGrp="1"/>
          </p:cNvSpPr>
          <p:nvPr>
            <p:ph type="body" sz="quarter" idx="13" hasCustomPrompt="1"/>
          </p:nvPr>
        </p:nvSpPr>
        <p:spPr>
          <a:xfrm>
            <a:off x="10588530" y="153974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31" name="矩形 30"/>
          <p:cNvSpPr/>
          <p:nvPr userDrawn="1"/>
        </p:nvSpPr>
        <p:spPr>
          <a:xfrm flipH="1">
            <a:off x="12268130" y="4950077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 userDrawn="1"/>
        </p:nvSpPr>
        <p:spPr>
          <a:xfrm>
            <a:off x="12660507" y="4820749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3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12657196" y="4912029"/>
            <a:ext cx="5595082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4" name="文本占位符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657196" y="5927693"/>
            <a:ext cx="5595082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5" name="文本占位符 24"/>
          <p:cNvSpPr>
            <a:spLocks noGrp="1"/>
          </p:cNvSpPr>
          <p:nvPr>
            <p:ph type="body" sz="quarter" idx="16" hasCustomPrompt="1"/>
          </p:nvPr>
        </p:nvSpPr>
        <p:spPr>
          <a:xfrm>
            <a:off x="10588530" y="4780701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20" name="矩形 19"/>
          <p:cNvSpPr/>
          <p:nvPr userDrawn="1"/>
        </p:nvSpPr>
        <p:spPr>
          <a:xfrm flipH="1">
            <a:off x="12264819" y="8015876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 userDrawn="1"/>
        </p:nvSpPr>
        <p:spPr>
          <a:xfrm>
            <a:off x="12657196" y="788654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7" hasCustomPrompt="1"/>
          </p:nvPr>
        </p:nvSpPr>
        <p:spPr>
          <a:xfrm>
            <a:off x="12653885" y="7977828"/>
            <a:ext cx="5642248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4" name="文本占位符 21"/>
          <p:cNvSpPr>
            <a:spLocks noGrp="1"/>
          </p:cNvSpPr>
          <p:nvPr>
            <p:ph type="body" sz="quarter" idx="18" hasCustomPrompt="1"/>
          </p:nvPr>
        </p:nvSpPr>
        <p:spPr>
          <a:xfrm>
            <a:off x="12653885" y="8993492"/>
            <a:ext cx="5642248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19" hasCustomPrompt="1"/>
          </p:nvPr>
        </p:nvSpPr>
        <p:spPr>
          <a:xfrm>
            <a:off x="10585219" y="7846500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28" name="矩形 27"/>
          <p:cNvSpPr/>
          <p:nvPr userDrawn="1"/>
        </p:nvSpPr>
        <p:spPr>
          <a:xfrm flipH="1">
            <a:off x="12244547" y="10802579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/>
          <p:cNvSpPr txBox="1"/>
          <p:nvPr userDrawn="1"/>
        </p:nvSpPr>
        <p:spPr>
          <a:xfrm>
            <a:off x="12636924" y="10673251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6" name="文本占位符 21"/>
          <p:cNvSpPr>
            <a:spLocks noGrp="1"/>
          </p:cNvSpPr>
          <p:nvPr>
            <p:ph type="body" sz="quarter" idx="20" hasCustomPrompt="1"/>
          </p:nvPr>
        </p:nvSpPr>
        <p:spPr>
          <a:xfrm>
            <a:off x="12633613" y="10764531"/>
            <a:ext cx="5642248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7" name="文本占位符 21"/>
          <p:cNvSpPr>
            <a:spLocks noGrp="1"/>
          </p:cNvSpPr>
          <p:nvPr>
            <p:ph type="body" sz="quarter" idx="21" hasCustomPrompt="1"/>
          </p:nvPr>
        </p:nvSpPr>
        <p:spPr>
          <a:xfrm>
            <a:off x="12633613" y="11780195"/>
            <a:ext cx="5642248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8" name="文本占位符 24"/>
          <p:cNvSpPr>
            <a:spLocks noGrp="1"/>
          </p:cNvSpPr>
          <p:nvPr>
            <p:ph type="body" sz="quarter" idx="22" hasCustomPrompt="1"/>
          </p:nvPr>
        </p:nvSpPr>
        <p:spPr>
          <a:xfrm>
            <a:off x="10564947" y="10633203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40" name="文本框 39"/>
          <p:cNvSpPr txBox="1"/>
          <p:nvPr userDrawn="1"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目录2:-2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8" name="矩形 7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矩形 16"/>
          <p:cNvSpPr/>
          <p:nvPr/>
        </p:nvSpPr>
        <p:spPr>
          <a:xfrm flipH="1">
            <a:off x="9363566" y="303347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9755943" y="290414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3" name="文本占位符 1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46908" y="6109029"/>
            <a:ext cx="3268662" cy="1604960"/>
          </a:xfrm>
        </p:spPr>
        <p:txBody>
          <a:bodyPr>
            <a:normAutofit/>
          </a:bodyPr>
          <a:lstStyle>
            <a:lvl1pPr marL="0" indent="0">
              <a:buNone/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6" name="文本占位符 2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752632" y="2995423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7" name="文本占位符 21"/>
          <p:cNvSpPr>
            <a:spLocks noGrp="1"/>
          </p:cNvSpPr>
          <p:nvPr>
            <p:ph type="body" sz="quarter" idx="12" hasCustomPrompt="1"/>
          </p:nvPr>
        </p:nvSpPr>
        <p:spPr>
          <a:xfrm>
            <a:off x="9752632" y="4011087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0" name="文本占位符 24"/>
          <p:cNvSpPr>
            <a:spLocks noGrp="1"/>
          </p:cNvSpPr>
          <p:nvPr>
            <p:ph type="body" sz="quarter" idx="13" hasCustomPrompt="1"/>
          </p:nvPr>
        </p:nvSpPr>
        <p:spPr>
          <a:xfrm>
            <a:off x="7683966" y="286409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31" name="矩形 30"/>
          <p:cNvSpPr/>
          <p:nvPr userDrawn="1"/>
        </p:nvSpPr>
        <p:spPr>
          <a:xfrm flipH="1">
            <a:off x="9363566" y="6274427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 userDrawn="1"/>
        </p:nvSpPr>
        <p:spPr>
          <a:xfrm>
            <a:off x="9755943" y="6145099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3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9752632" y="6236379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4" name="文本占位符 21"/>
          <p:cNvSpPr>
            <a:spLocks noGrp="1"/>
          </p:cNvSpPr>
          <p:nvPr>
            <p:ph type="body" sz="quarter" idx="15" hasCustomPrompt="1"/>
          </p:nvPr>
        </p:nvSpPr>
        <p:spPr>
          <a:xfrm>
            <a:off x="9752632" y="7252043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5" name="文本占位符 24"/>
          <p:cNvSpPr>
            <a:spLocks noGrp="1"/>
          </p:cNvSpPr>
          <p:nvPr>
            <p:ph type="body" sz="quarter" idx="16" hasCustomPrompt="1"/>
          </p:nvPr>
        </p:nvSpPr>
        <p:spPr>
          <a:xfrm>
            <a:off x="7683966" y="6105051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20" name="矩形 19"/>
          <p:cNvSpPr/>
          <p:nvPr userDrawn="1"/>
        </p:nvSpPr>
        <p:spPr>
          <a:xfrm flipH="1">
            <a:off x="9360255" y="9340226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 userDrawn="1"/>
        </p:nvSpPr>
        <p:spPr>
          <a:xfrm>
            <a:off x="9752632" y="921089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7" hasCustomPrompt="1"/>
          </p:nvPr>
        </p:nvSpPr>
        <p:spPr>
          <a:xfrm>
            <a:off x="9749321" y="9302178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4" name="文本占位符 21"/>
          <p:cNvSpPr>
            <a:spLocks noGrp="1"/>
          </p:cNvSpPr>
          <p:nvPr>
            <p:ph type="body" sz="quarter" idx="18" hasCustomPrompt="1"/>
          </p:nvPr>
        </p:nvSpPr>
        <p:spPr>
          <a:xfrm>
            <a:off x="9749321" y="10317842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19" hasCustomPrompt="1"/>
          </p:nvPr>
        </p:nvSpPr>
        <p:spPr>
          <a:xfrm>
            <a:off x="7680655" y="9170850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28" name="矩形 27"/>
          <p:cNvSpPr/>
          <p:nvPr userDrawn="1"/>
        </p:nvSpPr>
        <p:spPr>
          <a:xfrm flipH="1">
            <a:off x="15762060" y="4709700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/>
          <p:cNvSpPr txBox="1"/>
          <p:nvPr userDrawn="1"/>
        </p:nvSpPr>
        <p:spPr>
          <a:xfrm>
            <a:off x="16154437" y="4580372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6" name="文本占位符 21"/>
          <p:cNvSpPr>
            <a:spLocks noGrp="1"/>
          </p:cNvSpPr>
          <p:nvPr>
            <p:ph type="body" sz="quarter" idx="20" hasCustomPrompt="1"/>
          </p:nvPr>
        </p:nvSpPr>
        <p:spPr>
          <a:xfrm>
            <a:off x="16151126" y="4671652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7" name="文本占位符 21"/>
          <p:cNvSpPr>
            <a:spLocks noGrp="1"/>
          </p:cNvSpPr>
          <p:nvPr>
            <p:ph type="body" sz="quarter" idx="21" hasCustomPrompt="1"/>
          </p:nvPr>
        </p:nvSpPr>
        <p:spPr>
          <a:xfrm>
            <a:off x="16151126" y="5489604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8" name="文本占位符 24"/>
          <p:cNvSpPr>
            <a:spLocks noGrp="1"/>
          </p:cNvSpPr>
          <p:nvPr>
            <p:ph type="body" sz="quarter" idx="22" hasCustomPrompt="1"/>
          </p:nvPr>
        </p:nvSpPr>
        <p:spPr>
          <a:xfrm>
            <a:off x="14082460" y="4540324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39" name="矩形 38"/>
          <p:cNvSpPr/>
          <p:nvPr userDrawn="1"/>
        </p:nvSpPr>
        <p:spPr>
          <a:xfrm flipH="1">
            <a:off x="15762060" y="8036004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 userDrawn="1"/>
        </p:nvSpPr>
        <p:spPr>
          <a:xfrm>
            <a:off x="16154437" y="7906676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41" name="文本占位符 21"/>
          <p:cNvSpPr>
            <a:spLocks noGrp="1"/>
          </p:cNvSpPr>
          <p:nvPr>
            <p:ph type="body" sz="quarter" idx="23" hasCustomPrompt="1"/>
          </p:nvPr>
        </p:nvSpPr>
        <p:spPr>
          <a:xfrm>
            <a:off x="16151126" y="7997956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42" name="文本占位符 21"/>
          <p:cNvSpPr>
            <a:spLocks noGrp="1"/>
          </p:cNvSpPr>
          <p:nvPr>
            <p:ph type="body" sz="quarter" idx="24" hasCustomPrompt="1"/>
          </p:nvPr>
        </p:nvSpPr>
        <p:spPr>
          <a:xfrm>
            <a:off x="16151126" y="9013620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43" name="文本占位符 24"/>
          <p:cNvSpPr>
            <a:spLocks noGrp="1"/>
          </p:cNvSpPr>
          <p:nvPr>
            <p:ph type="body" sz="quarter" idx="25" hasCustomPrompt="1"/>
          </p:nvPr>
        </p:nvSpPr>
        <p:spPr>
          <a:xfrm>
            <a:off x="14082460" y="7866628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5</a:t>
            </a:r>
            <a:endParaRPr lang="zh-CN" altLang="en-US" dirty="0"/>
          </a:p>
        </p:txBody>
      </p:sp>
      <p:sp>
        <p:nvSpPr>
          <p:cNvPr id="45" name="文本框 44"/>
          <p:cNvSpPr txBox="1"/>
          <p:nvPr userDrawn="1"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目录2:-2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8" name="矩形 7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矩形 16"/>
          <p:cNvSpPr/>
          <p:nvPr/>
        </p:nvSpPr>
        <p:spPr>
          <a:xfrm flipH="1">
            <a:off x="8894003" y="303347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9286380" y="290414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3" name="文本占位符 1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46908" y="6109029"/>
            <a:ext cx="3268662" cy="1604960"/>
          </a:xfrm>
        </p:spPr>
        <p:txBody>
          <a:bodyPr>
            <a:normAutofit/>
          </a:bodyPr>
          <a:lstStyle>
            <a:lvl1pPr marL="0" indent="0">
              <a:buNone/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6" name="文本占位符 2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283069" y="2995423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7" name="文本占位符 21"/>
          <p:cNvSpPr>
            <a:spLocks noGrp="1"/>
          </p:cNvSpPr>
          <p:nvPr>
            <p:ph type="body" sz="quarter" idx="12" hasCustomPrompt="1"/>
          </p:nvPr>
        </p:nvSpPr>
        <p:spPr>
          <a:xfrm>
            <a:off x="9283069" y="4011087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0" name="文本占位符 24"/>
          <p:cNvSpPr>
            <a:spLocks noGrp="1"/>
          </p:cNvSpPr>
          <p:nvPr>
            <p:ph type="body" sz="quarter" idx="13" hasCustomPrompt="1"/>
          </p:nvPr>
        </p:nvSpPr>
        <p:spPr>
          <a:xfrm>
            <a:off x="7214403" y="286409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31" name="矩形 30"/>
          <p:cNvSpPr/>
          <p:nvPr userDrawn="1"/>
        </p:nvSpPr>
        <p:spPr>
          <a:xfrm flipH="1">
            <a:off x="8894003" y="6274427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 userDrawn="1"/>
        </p:nvSpPr>
        <p:spPr>
          <a:xfrm>
            <a:off x="9286380" y="6145099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3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9283069" y="6236379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4" name="文本占位符 21"/>
          <p:cNvSpPr>
            <a:spLocks noGrp="1"/>
          </p:cNvSpPr>
          <p:nvPr>
            <p:ph type="body" sz="quarter" idx="15" hasCustomPrompt="1"/>
          </p:nvPr>
        </p:nvSpPr>
        <p:spPr>
          <a:xfrm>
            <a:off x="9283069" y="7252043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5" name="文本占位符 24"/>
          <p:cNvSpPr>
            <a:spLocks noGrp="1"/>
          </p:cNvSpPr>
          <p:nvPr>
            <p:ph type="body" sz="quarter" idx="16" hasCustomPrompt="1"/>
          </p:nvPr>
        </p:nvSpPr>
        <p:spPr>
          <a:xfrm>
            <a:off x="7214403" y="6105051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20" name="矩形 19"/>
          <p:cNvSpPr/>
          <p:nvPr userDrawn="1"/>
        </p:nvSpPr>
        <p:spPr>
          <a:xfrm flipH="1">
            <a:off x="8890692" y="9340226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 userDrawn="1"/>
        </p:nvSpPr>
        <p:spPr>
          <a:xfrm>
            <a:off x="9283069" y="921089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7" hasCustomPrompt="1"/>
          </p:nvPr>
        </p:nvSpPr>
        <p:spPr>
          <a:xfrm>
            <a:off x="9279758" y="9302178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24" name="文本占位符 21"/>
          <p:cNvSpPr>
            <a:spLocks noGrp="1"/>
          </p:cNvSpPr>
          <p:nvPr>
            <p:ph type="body" sz="quarter" idx="18" hasCustomPrompt="1"/>
          </p:nvPr>
        </p:nvSpPr>
        <p:spPr>
          <a:xfrm>
            <a:off x="9279758" y="10317842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19" hasCustomPrompt="1"/>
          </p:nvPr>
        </p:nvSpPr>
        <p:spPr>
          <a:xfrm>
            <a:off x="7211092" y="9170850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28" name="矩形 27"/>
          <p:cNvSpPr/>
          <p:nvPr userDrawn="1"/>
        </p:nvSpPr>
        <p:spPr>
          <a:xfrm flipH="1">
            <a:off x="15769423" y="303347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/>
          <p:cNvSpPr txBox="1"/>
          <p:nvPr userDrawn="1"/>
        </p:nvSpPr>
        <p:spPr>
          <a:xfrm>
            <a:off x="16161800" y="290414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36" name="文本占位符 21"/>
          <p:cNvSpPr>
            <a:spLocks noGrp="1"/>
          </p:cNvSpPr>
          <p:nvPr>
            <p:ph type="body" sz="quarter" idx="20" hasCustomPrompt="1"/>
          </p:nvPr>
        </p:nvSpPr>
        <p:spPr>
          <a:xfrm>
            <a:off x="16158489" y="2995423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37" name="文本占位符 21"/>
          <p:cNvSpPr>
            <a:spLocks noGrp="1"/>
          </p:cNvSpPr>
          <p:nvPr>
            <p:ph type="body" sz="quarter" idx="21" hasCustomPrompt="1"/>
          </p:nvPr>
        </p:nvSpPr>
        <p:spPr>
          <a:xfrm>
            <a:off x="16158489" y="4011087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38" name="文本占位符 24"/>
          <p:cNvSpPr>
            <a:spLocks noGrp="1"/>
          </p:cNvSpPr>
          <p:nvPr>
            <p:ph type="body" sz="quarter" idx="22" hasCustomPrompt="1"/>
          </p:nvPr>
        </p:nvSpPr>
        <p:spPr>
          <a:xfrm>
            <a:off x="14089823" y="286409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39" name="矩形 38"/>
          <p:cNvSpPr/>
          <p:nvPr userDrawn="1"/>
        </p:nvSpPr>
        <p:spPr>
          <a:xfrm flipH="1">
            <a:off x="15762060" y="6274426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 userDrawn="1"/>
        </p:nvSpPr>
        <p:spPr>
          <a:xfrm>
            <a:off x="16154437" y="614509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41" name="文本占位符 21"/>
          <p:cNvSpPr>
            <a:spLocks noGrp="1"/>
          </p:cNvSpPr>
          <p:nvPr>
            <p:ph type="body" sz="quarter" idx="23" hasCustomPrompt="1"/>
          </p:nvPr>
        </p:nvSpPr>
        <p:spPr>
          <a:xfrm>
            <a:off x="16151126" y="6236378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42" name="文本占位符 21"/>
          <p:cNvSpPr>
            <a:spLocks noGrp="1"/>
          </p:cNvSpPr>
          <p:nvPr>
            <p:ph type="body" sz="quarter" idx="24" hasCustomPrompt="1"/>
          </p:nvPr>
        </p:nvSpPr>
        <p:spPr>
          <a:xfrm>
            <a:off x="16151126" y="7252042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43" name="文本占位符 24"/>
          <p:cNvSpPr>
            <a:spLocks noGrp="1"/>
          </p:cNvSpPr>
          <p:nvPr>
            <p:ph type="body" sz="quarter" idx="25" hasCustomPrompt="1"/>
          </p:nvPr>
        </p:nvSpPr>
        <p:spPr>
          <a:xfrm>
            <a:off x="14082460" y="6105050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5</a:t>
            </a:r>
            <a:endParaRPr lang="zh-CN" altLang="en-US" dirty="0"/>
          </a:p>
        </p:txBody>
      </p:sp>
      <p:sp>
        <p:nvSpPr>
          <p:cNvPr id="44" name="矩形 43"/>
          <p:cNvSpPr/>
          <p:nvPr userDrawn="1"/>
        </p:nvSpPr>
        <p:spPr>
          <a:xfrm flipH="1">
            <a:off x="15769423" y="9356841"/>
            <a:ext cx="45719" cy="1209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文本框 44"/>
          <p:cNvSpPr txBox="1"/>
          <p:nvPr userDrawn="1"/>
        </p:nvSpPr>
        <p:spPr>
          <a:xfrm>
            <a:off x="16161800" y="9227513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dirty="0"/>
              <a:t>公司介绍</a:t>
            </a:r>
            <a:endParaRPr lang="zh-CN" altLang="en-US" sz="6000" dirty="0"/>
          </a:p>
        </p:txBody>
      </p:sp>
      <p:sp>
        <p:nvSpPr>
          <p:cNvPr id="46" name="文本占位符 21"/>
          <p:cNvSpPr>
            <a:spLocks noGrp="1"/>
          </p:cNvSpPr>
          <p:nvPr>
            <p:ph type="body" sz="quarter" idx="26" hasCustomPrompt="1"/>
          </p:nvPr>
        </p:nvSpPr>
        <p:spPr>
          <a:xfrm>
            <a:off x="16158489" y="9318793"/>
            <a:ext cx="4257195" cy="874251"/>
          </a:xfrm>
        </p:spPr>
        <p:txBody>
          <a:bodyPr>
            <a:noAutofit/>
          </a:bodyPr>
          <a:lstStyle>
            <a:lvl1pPr marL="0" indent="0">
              <a:buNone/>
              <a:defRPr sz="6000"/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zh-CN" altLang="en-US" dirty="0"/>
              <a:t>公司介绍</a:t>
            </a:r>
            <a:endParaRPr lang="zh-CN" altLang="en-US" dirty="0"/>
          </a:p>
        </p:txBody>
      </p:sp>
      <p:sp>
        <p:nvSpPr>
          <p:cNvPr id="47" name="文本占位符 21"/>
          <p:cNvSpPr>
            <a:spLocks noGrp="1"/>
          </p:cNvSpPr>
          <p:nvPr>
            <p:ph type="body" sz="quarter" idx="27" hasCustomPrompt="1"/>
          </p:nvPr>
        </p:nvSpPr>
        <p:spPr>
          <a:xfrm>
            <a:off x="16158489" y="10334457"/>
            <a:ext cx="4257195" cy="37022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altLang="zh-CN" dirty="0"/>
              <a:t>CONPANY INTRODUCTION</a:t>
            </a:r>
            <a:endParaRPr lang="zh-CN" altLang="en-US" dirty="0"/>
          </a:p>
        </p:txBody>
      </p:sp>
      <p:sp>
        <p:nvSpPr>
          <p:cNvPr id="48" name="文本占位符 24"/>
          <p:cNvSpPr>
            <a:spLocks noGrp="1"/>
          </p:cNvSpPr>
          <p:nvPr>
            <p:ph type="body" sz="quarter" idx="28" hasCustomPrompt="1"/>
          </p:nvPr>
        </p:nvSpPr>
        <p:spPr>
          <a:xfrm>
            <a:off x="14089823" y="9187465"/>
            <a:ext cx="1609031" cy="1476376"/>
          </a:xfrm>
        </p:spPr>
        <p:txBody>
          <a:bodyPr/>
          <a:lstStyle>
            <a:lvl1pPr marL="0" indent="0">
              <a:buNone/>
              <a:defRPr sz="12000">
                <a:solidFill>
                  <a:schemeClr val="accent3"/>
                </a:solidFill>
                <a:latin typeface="Futura LT Condensed" panose="02000606050000020003" pitchFamily="2" charset="0"/>
              </a:defRPr>
            </a:lvl1pPr>
          </a:lstStyle>
          <a:p>
            <a:pPr lvl="0"/>
            <a:r>
              <a:rPr lang="en-US" altLang="zh-CN" dirty="0"/>
              <a:t>06</a:t>
            </a:r>
            <a:endParaRPr lang="zh-CN" altLang="en-US" dirty="0"/>
          </a:p>
        </p:txBody>
      </p:sp>
      <p:sp>
        <p:nvSpPr>
          <p:cNvPr id="50" name="文本框 49"/>
          <p:cNvSpPr txBox="1"/>
          <p:nvPr userDrawn="1"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+无内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10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3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4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7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图片+文案-样式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1187450" y="3028952"/>
            <a:ext cx="21717000" cy="68960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203325" y="10058400"/>
            <a:ext cx="21717000" cy="2133600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修改文字</a:t>
            </a:r>
            <a:endParaRPr lang="zh-CN" altLang="en-US" dirty="0"/>
          </a:p>
        </p:txBody>
      </p:sp>
      <p:sp>
        <p:nvSpPr>
          <p:cNvPr id="10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3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4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图片+文案-样式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平行四边形 10"/>
          <p:cNvSpPr/>
          <p:nvPr userDrawn="1"/>
        </p:nvSpPr>
        <p:spPr>
          <a:xfrm>
            <a:off x="456145" y="846307"/>
            <a:ext cx="876300" cy="641181"/>
          </a:xfrm>
          <a:prstGeom prst="parallelogram">
            <a:avLst>
              <a:gd name="adj" fmla="val 27842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3"/>
          </p:nvPr>
        </p:nvSpPr>
        <p:spPr>
          <a:xfrm>
            <a:off x="1575878" y="4396898"/>
            <a:ext cx="11400817" cy="663666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3259200" y="5497323"/>
            <a:ext cx="8601210" cy="5536240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图片说明文字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7450" y="2840475"/>
            <a:ext cx="21729700" cy="64118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说明文字</a:t>
            </a:r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1203325" y="1695619"/>
            <a:ext cx="21701125" cy="1047582"/>
          </a:xfrm>
        </p:spPr>
        <p:txBody>
          <a:bodyPr>
            <a:normAutofit/>
          </a:bodyPr>
          <a:lstStyle>
            <a:lvl1pPr marL="0" indent="0" algn="ctr">
              <a:buNone/>
              <a:defRPr sz="600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主标题</a:t>
            </a:r>
            <a:endParaRPr lang="zh-CN" altLang="en-US" dirty="0"/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18" hasCustomPrompt="1"/>
          </p:nvPr>
        </p:nvSpPr>
        <p:spPr>
          <a:xfrm>
            <a:off x="13259200" y="4396898"/>
            <a:ext cx="8601210" cy="856035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图片标题</a:t>
            </a:r>
            <a:endParaRPr lang="zh-CN" altLang="en-US" dirty="0"/>
          </a:p>
        </p:txBody>
      </p:sp>
      <p:sp>
        <p:nvSpPr>
          <p:cNvPr id="15" name="文本占位符 8"/>
          <p:cNvSpPr>
            <a:spLocks noGrp="1"/>
          </p:cNvSpPr>
          <p:nvPr>
            <p:ph type="body" sz="quarter" idx="19" hasCustomPrompt="1"/>
          </p:nvPr>
        </p:nvSpPr>
        <p:spPr>
          <a:xfrm>
            <a:off x="2975681" y="11122310"/>
            <a:ext cx="8601210" cy="63194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单击此处编辑图片名字</a:t>
            </a:r>
            <a:r>
              <a:rPr lang="en-US" altLang="zh-CN" dirty="0"/>
              <a:t>-</a:t>
            </a:r>
            <a:endParaRPr lang="zh-CN" altLang="en-US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203618" y="731838"/>
            <a:ext cx="1002893" cy="849312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4000" b="1" i="0" u="none" strike="noStrike" kern="1200" cap="none" spc="300" normalizeH="0" baseline="0" noProof="1" dirty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lang="en-US" altLang="zh-CN" dirty="0">
                <a:sym typeface="+mn-ea"/>
              </a:rPr>
              <a:t>1.1</a:t>
            </a:r>
            <a:endParaRPr dirty="0">
              <a:sym typeface="+mn-ea"/>
            </a:endParaRPr>
          </a:p>
        </p:txBody>
      </p:sp>
      <p:sp>
        <p:nvSpPr>
          <p:cNvPr id="17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2206933" y="645348"/>
            <a:ext cx="9385300" cy="963612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编辑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5" Type="http://schemas.openxmlformats.org/officeDocument/2006/relationships/theme" Target="../theme/theme1.xml"/><Relationship Id="rId64" Type="http://schemas.openxmlformats.org/officeDocument/2006/relationships/tags" Target="../tags/tag101.xml"/><Relationship Id="rId63" Type="http://schemas.openxmlformats.org/officeDocument/2006/relationships/tags" Target="../tags/tag100.xml"/><Relationship Id="rId62" Type="http://schemas.openxmlformats.org/officeDocument/2006/relationships/tags" Target="../tags/tag99.xml"/><Relationship Id="rId61" Type="http://schemas.openxmlformats.org/officeDocument/2006/relationships/tags" Target="../tags/tag98.xml"/><Relationship Id="rId60" Type="http://schemas.openxmlformats.org/officeDocument/2006/relationships/image" Target="../media/image4.jpeg"/><Relationship Id="rId6" Type="http://schemas.openxmlformats.org/officeDocument/2006/relationships/slideLayout" Target="../slideLayouts/slideLayout6.xml"/><Relationship Id="rId59" Type="http://schemas.openxmlformats.org/officeDocument/2006/relationships/slideLayout" Target="../slideLayouts/slideLayout59.xml"/><Relationship Id="rId58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56.xml"/><Relationship Id="rId55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50.xml"/><Relationship Id="rId5" Type="http://schemas.openxmlformats.org/officeDocument/2006/relationships/slideLayout" Target="../slideLayouts/slideLayout5.xml"/><Relationship Id="rId49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.xml"/><Relationship Id="rId39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7" Type="http://schemas.openxmlformats.org/officeDocument/2006/relationships/theme" Target="../theme/theme2.xml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794"/>
            <a:ext cx="24120475" cy="13679488"/>
          </a:xfrm>
          <a:prstGeom prst="rect">
            <a:avLst/>
          </a:prstGeom>
          <a:blipFill dpi="0" rotWithShape="1">
            <a:blip r:embed="rId60">
              <a:alphaModFix amt="20000"/>
            </a:blip>
            <a:srcRect/>
            <a:tile tx="-12065000" ty="0" sx="100000" sy="100000" flip="none" algn="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  <p:custDataLst>
              <p:tags r:id="rId61"/>
            </p:custDataLst>
          </p:nvPr>
        </p:nvSpPr>
        <p:spPr>
          <a:xfrm>
            <a:off x="1230923" y="717654"/>
            <a:ext cx="21700734" cy="1407476"/>
          </a:xfrm>
          <a:prstGeom prst="rect">
            <a:avLst/>
          </a:prstGeom>
        </p:spPr>
        <p:txBody>
          <a:bodyPr vert="horz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62"/>
            </p:custDataLst>
          </p:nvPr>
        </p:nvSpPr>
        <p:spPr>
          <a:xfrm>
            <a:off x="1203618" y="2972934"/>
            <a:ext cx="21700734" cy="9493282"/>
          </a:xfrm>
          <a:prstGeom prst="rect">
            <a:avLst/>
          </a:prstGeo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10125" y="12777168"/>
            <a:ext cx="529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大数据推进教育变革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22120127" y="12770592"/>
            <a:ext cx="890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chemeClr val="accent3"/>
                </a:solidFill>
              </a:rPr>
              <a:t>-</a:t>
            </a:r>
            <a:endParaRPr lang="zh-CN" altLang="en-US" b="1" dirty="0">
              <a:solidFill>
                <a:schemeClr val="accent3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63"/>
            </p:custDataLst>
          </p:nvPr>
        </p:nvSpPr>
        <p:spPr>
          <a:xfrm>
            <a:off x="22139910" y="12671674"/>
            <a:ext cx="634902" cy="6319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98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  <p:custDataLst>
      <p:tags r:id="rId6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</p:sldLayoutIdLst>
  <p:hf hdr="0" dt="0"/>
  <p:txStyles>
    <p:titleStyle>
      <a:lvl1pPr algn="l" defTabSz="1809115" rtl="0" eaLnBrk="1" fontAlgn="auto" latinLnBrk="0" hangingPunct="1">
        <a:lnSpc>
          <a:spcPct val="100000"/>
        </a:lnSpc>
        <a:spcBef>
          <a:spcPct val="0"/>
        </a:spcBef>
        <a:buNone/>
        <a:defRPr sz="5000" b="1" u="none" strike="noStrike" kern="1200" cap="none" spc="300" normalizeH="0" baseline="0"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j-cs"/>
        </a:defRPr>
      </a:lvl1pPr>
    </p:titleStyle>
    <p:bodyStyle>
      <a:lvl1pPr marL="452120" indent="-452120" algn="l" defTabSz="1809115" rtl="0" eaLnBrk="1" fontAlgn="auto" latinLnBrk="0" hangingPunct="1">
        <a:lnSpc>
          <a:spcPct val="130000"/>
        </a:lnSpc>
        <a:spcBef>
          <a:spcPct val="1000"/>
        </a:spcBef>
        <a:spcAft>
          <a:spcPts val="1000"/>
        </a:spcAft>
        <a:buFont typeface="Wingdings" panose="05000000000000000000" charset="0"/>
        <a:buChar char="u"/>
        <a:defRPr sz="356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1pPr>
      <a:lvl2pPr marL="1356995" indent="-452120" algn="l" defTabSz="1809115" rtl="0" eaLnBrk="1" fontAlgn="auto" latinLnBrk="0" hangingPunct="1">
        <a:lnSpc>
          <a:spcPct val="120000"/>
        </a:lnSpc>
        <a:spcBef>
          <a:spcPct val="1000"/>
        </a:spcBef>
        <a:spcAft>
          <a:spcPts val="600"/>
        </a:spcAft>
        <a:buFont typeface="Wingdings" panose="05000000000000000000" charset="0"/>
        <a:buChar char="u"/>
        <a:tabLst>
          <a:tab pos="3184525" algn="l"/>
          <a:tab pos="3184525" algn="l"/>
          <a:tab pos="3184525" algn="l"/>
          <a:tab pos="3184525" algn="l"/>
        </a:tabLst>
        <a:defRPr sz="3165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2pPr>
      <a:lvl3pPr marL="2261235" indent="-452120" algn="l" defTabSz="1809115" rtl="0" eaLnBrk="1" fontAlgn="auto" latinLnBrk="0" hangingPunct="1">
        <a:lnSpc>
          <a:spcPct val="120000"/>
        </a:lnSpc>
        <a:spcBef>
          <a:spcPct val="1000"/>
        </a:spcBef>
        <a:spcAft>
          <a:spcPts val="600"/>
        </a:spcAft>
        <a:buFont typeface="Wingdings" panose="05000000000000000000" charset="0"/>
        <a:buChar char="u"/>
        <a:defRPr sz="3165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3pPr>
      <a:lvl4pPr marL="3165475" indent="-452120" algn="l" defTabSz="1809115" rtl="0" eaLnBrk="1" fontAlgn="auto" latinLnBrk="0" hangingPunct="1">
        <a:lnSpc>
          <a:spcPct val="120000"/>
        </a:lnSpc>
        <a:spcBef>
          <a:spcPct val="1000"/>
        </a:spcBef>
        <a:spcAft>
          <a:spcPts val="300"/>
        </a:spcAft>
        <a:buFont typeface="Wingdings" panose="05000000000000000000" charset="0"/>
        <a:buChar char="u"/>
        <a:defRPr sz="277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4pPr>
      <a:lvl5pPr marL="4070350" indent="-452120" algn="l" defTabSz="1809115" rtl="0" eaLnBrk="1" fontAlgn="auto" latinLnBrk="0" hangingPunct="1">
        <a:lnSpc>
          <a:spcPct val="120000"/>
        </a:lnSpc>
        <a:spcBef>
          <a:spcPct val="1000"/>
        </a:spcBef>
        <a:spcAft>
          <a:spcPts val="300"/>
        </a:spcAft>
        <a:buFont typeface="Wingdings" panose="05000000000000000000" charset="0"/>
        <a:buChar char="u"/>
        <a:defRPr sz="277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5pPr>
      <a:lvl6pPr marL="4974590" indent="-452120" algn="l" defTabSz="1809115" rtl="0" eaLnBrk="1" latinLnBrk="0" hangingPunct="1">
        <a:lnSpc>
          <a:spcPct val="90000"/>
        </a:lnSpc>
        <a:spcBef>
          <a:spcPts val="990"/>
        </a:spcBef>
        <a:buFont typeface="Arial" panose="020B0604020202020204" pitchFamily="34" charset="0"/>
        <a:buChar char="•"/>
        <a:defRPr sz="3560" kern="1200">
          <a:solidFill>
            <a:schemeClr val="tx1"/>
          </a:solidFill>
          <a:latin typeface="+mn-lt"/>
          <a:ea typeface="+mn-ea"/>
          <a:cs typeface="+mn-cs"/>
        </a:defRPr>
      </a:lvl6pPr>
      <a:lvl7pPr marL="5879465" indent="-452120" algn="l" defTabSz="1809115" rtl="0" eaLnBrk="1" latinLnBrk="0" hangingPunct="1">
        <a:lnSpc>
          <a:spcPct val="90000"/>
        </a:lnSpc>
        <a:spcBef>
          <a:spcPts val="990"/>
        </a:spcBef>
        <a:buFont typeface="Arial" panose="020B0604020202020204" pitchFamily="34" charset="0"/>
        <a:buChar char="•"/>
        <a:defRPr sz="3560" kern="1200">
          <a:solidFill>
            <a:schemeClr val="tx1"/>
          </a:solidFill>
          <a:latin typeface="+mn-lt"/>
          <a:ea typeface="+mn-ea"/>
          <a:cs typeface="+mn-cs"/>
        </a:defRPr>
      </a:lvl7pPr>
      <a:lvl8pPr marL="6783705" indent="-452120" algn="l" defTabSz="1809115" rtl="0" eaLnBrk="1" latinLnBrk="0" hangingPunct="1">
        <a:lnSpc>
          <a:spcPct val="90000"/>
        </a:lnSpc>
        <a:spcBef>
          <a:spcPts val="990"/>
        </a:spcBef>
        <a:buFont typeface="Arial" panose="020B0604020202020204" pitchFamily="34" charset="0"/>
        <a:buChar char="•"/>
        <a:defRPr sz="3560" kern="1200">
          <a:solidFill>
            <a:schemeClr val="tx1"/>
          </a:solidFill>
          <a:latin typeface="+mn-lt"/>
          <a:ea typeface="+mn-ea"/>
          <a:cs typeface="+mn-cs"/>
        </a:defRPr>
      </a:lvl8pPr>
      <a:lvl9pPr marL="7687945" indent="-452120" algn="l" defTabSz="1809115" rtl="0" eaLnBrk="1" latinLnBrk="0" hangingPunct="1">
        <a:lnSpc>
          <a:spcPct val="90000"/>
        </a:lnSpc>
        <a:spcBef>
          <a:spcPts val="990"/>
        </a:spcBef>
        <a:buFont typeface="Arial" panose="020B0604020202020204" pitchFamily="34" charset="0"/>
        <a:buChar char="•"/>
        <a:defRPr sz="3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1pPr>
      <a:lvl2pPr marL="904240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2pPr>
      <a:lvl3pPr marL="1809115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3pPr>
      <a:lvl4pPr marL="2713355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4pPr>
      <a:lvl5pPr marL="3618230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5pPr>
      <a:lvl6pPr marL="4522470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6pPr>
      <a:lvl7pPr marL="5426710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7pPr>
      <a:lvl8pPr marL="6331585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8pPr>
      <a:lvl9pPr marL="7235825" algn="l" defTabSz="1809115" rtl="0" eaLnBrk="1" latinLnBrk="0" hangingPunct="1">
        <a:defRPr sz="3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794"/>
            <a:ext cx="24120475" cy="13679488"/>
          </a:xfrm>
          <a:prstGeom prst="rect">
            <a:avLst/>
          </a:prstGeom>
          <a:blipFill dpi="0" rotWithShape="1">
            <a:blip r:embed="rId6">
              <a:alphaModFix amt="20000"/>
            </a:blip>
            <a:srcRect/>
            <a:tile tx="-12065000" ty="0" sx="100000" sy="100000" flip="none" algn="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658938" y="728663"/>
            <a:ext cx="20802600" cy="26431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658938" y="3641725"/>
            <a:ext cx="20802600" cy="8678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7035463" y="12679363"/>
            <a:ext cx="5426075" cy="727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0DAD98-CBB3-400C-94DA-4298270032C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u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u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u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u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u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slideLayout" Target="../slideLayouts/slideLayout58.xml"/><Relationship Id="rId7" Type="http://schemas.openxmlformats.org/officeDocument/2006/relationships/tags" Target="../tags/tag10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tags" Target="../tags/tag10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0" Type="http://schemas.openxmlformats.org/officeDocument/2006/relationships/notesSlide" Target="../notesSlides/notesSlide1.xml"/><Relationship Id="rId1" Type="http://schemas.openxmlformats.org/officeDocument/2006/relationships/tags" Target="../tags/tag102.xml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8.xml"/><Relationship Id="rId5" Type="http://schemas.openxmlformats.org/officeDocument/2006/relationships/tags" Target="../tags/tag117.xml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21.xml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58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2.bin"/><Relationship Id="rId2" Type="http://schemas.openxmlformats.org/officeDocument/2006/relationships/tags" Target="../tags/tag105.xml"/><Relationship Id="rId1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3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3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40.xml"/></Relationships>
</file>

<file path=ppt/slides/_rels/slide2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3.vml"/><Relationship Id="rId8" Type="http://schemas.openxmlformats.org/officeDocument/2006/relationships/slideLayout" Target="../slideLayouts/slideLayout58.xml"/><Relationship Id="rId7" Type="http://schemas.openxmlformats.org/officeDocument/2006/relationships/tags" Target="../tags/tag14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tags" Target="../tags/tag14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0" Type="http://schemas.openxmlformats.org/officeDocument/2006/relationships/notesSlide" Target="../notesSlides/notesSlide9.xml"/><Relationship Id="rId1" Type="http://schemas.openxmlformats.org/officeDocument/2006/relationships/tags" Target="../tags/tag14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0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0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12.xml"/><Relationship Id="rId1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1ï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ṧḷîḍ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42" y="59392"/>
          <a:ext cx="3142" cy="31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ṩḻid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142" y="59392"/>
                        <a:ext cx="3142" cy="31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ļîḍe" hidden="1"/>
          <p:cNvSpPr/>
          <p:nvPr>
            <p:custDataLst>
              <p:tags r:id="rId4"/>
            </p:custDataLst>
          </p:nvPr>
        </p:nvSpPr>
        <p:spPr>
          <a:xfrm>
            <a:off x="0" y="56250"/>
            <a:ext cx="314063" cy="314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7915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平行四边形 4"/>
          <p:cNvSpPr/>
          <p:nvPr/>
        </p:nvSpPr>
        <p:spPr>
          <a:xfrm>
            <a:off x="-4806950" y="2424430"/>
            <a:ext cx="16150590" cy="8763635"/>
          </a:xfrm>
          <a:prstGeom prst="parallelogram">
            <a:avLst>
              <a:gd name="adj" fmla="val 30813"/>
            </a:avLst>
          </a:prstGeom>
          <a:blipFill rotWithShape="1"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362" y="3133510"/>
            <a:ext cx="4434528" cy="1176299"/>
          </a:xfrm>
          <a:prstGeom prst="rect">
            <a:avLst/>
          </a:prstGeom>
        </p:spPr>
      </p:pic>
      <p:sp>
        <p:nvSpPr>
          <p:cNvPr id="26" name="平行四边形 25"/>
          <p:cNvSpPr/>
          <p:nvPr/>
        </p:nvSpPr>
        <p:spPr>
          <a:xfrm>
            <a:off x="5187315" y="4628515"/>
            <a:ext cx="20456525" cy="5135245"/>
          </a:xfrm>
          <a:prstGeom prst="parallelogram">
            <a:avLst>
              <a:gd name="adj" fmla="val 30813"/>
            </a:avLst>
          </a:prstGeom>
          <a:solidFill>
            <a:srgbClr val="0069B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平行四边形 26"/>
          <p:cNvSpPr/>
          <p:nvPr/>
        </p:nvSpPr>
        <p:spPr>
          <a:xfrm>
            <a:off x="9079865" y="4628515"/>
            <a:ext cx="16619855" cy="513524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3"/>
              </a:solidFill>
            </a:endParaRPr>
          </a:p>
        </p:txBody>
      </p:sp>
      <p:sp>
        <p:nvSpPr>
          <p:cNvPr id="28" name="íṩļiḍê"/>
          <p:cNvSpPr/>
          <p:nvPr/>
        </p:nvSpPr>
        <p:spPr>
          <a:xfrm>
            <a:off x="11279261" y="5706110"/>
            <a:ext cx="12938760" cy="1630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0" b="1" dirty="0">
                <a:solidFill>
                  <a:schemeClr val="bg1"/>
                </a:solidFill>
                <a:latin typeface="+mj-ea"/>
              </a:rPr>
              <a:t>学分银行</a:t>
            </a:r>
            <a:endParaRPr lang="zh-CN" altLang="en-US" sz="10000" b="1" dirty="0">
              <a:solidFill>
                <a:schemeClr val="bg1"/>
              </a:solidFill>
              <a:latin typeface="+mj-ea"/>
            </a:endParaRPr>
          </a:p>
        </p:txBody>
      </p:sp>
      <p:sp>
        <p:nvSpPr>
          <p:cNvPr id="29" name="íṩļiḍê"/>
          <p:cNvSpPr/>
          <p:nvPr/>
        </p:nvSpPr>
        <p:spPr>
          <a:xfrm>
            <a:off x="11279261" y="7709535"/>
            <a:ext cx="12938760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sz="6000" dirty="0">
                <a:solidFill>
                  <a:schemeClr val="bg1"/>
                </a:solidFill>
                <a:latin typeface="+mj-ea"/>
              </a:rPr>
              <a:t>研究</a:t>
            </a:r>
            <a:r>
              <a:rPr lang="zh-CN" sz="6000" dirty="0">
                <a:solidFill>
                  <a:schemeClr val="bg1"/>
                </a:solidFill>
                <a:latin typeface="+mj-ea"/>
              </a:rPr>
              <a:t>报告</a:t>
            </a:r>
            <a:endParaRPr lang="zh-CN" sz="6000" dirty="0">
              <a:solidFill>
                <a:schemeClr val="bg1"/>
              </a:solidFill>
              <a:latin typeface="+mj-ea"/>
            </a:endParaRPr>
          </a:p>
        </p:txBody>
      </p:sp>
      <p:sp>
        <p:nvSpPr>
          <p:cNvPr id="31" name="平行四边形 30"/>
          <p:cNvSpPr/>
          <p:nvPr/>
        </p:nvSpPr>
        <p:spPr>
          <a:xfrm>
            <a:off x="18079720" y="1177798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平行四边形 31"/>
          <p:cNvSpPr/>
          <p:nvPr/>
        </p:nvSpPr>
        <p:spPr>
          <a:xfrm>
            <a:off x="16850360" y="-494665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平行四边形 32"/>
          <p:cNvSpPr/>
          <p:nvPr/>
        </p:nvSpPr>
        <p:spPr>
          <a:xfrm>
            <a:off x="15883890" y="10602595"/>
            <a:ext cx="2195830" cy="1480820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平行四边形 33"/>
          <p:cNvSpPr/>
          <p:nvPr/>
        </p:nvSpPr>
        <p:spPr>
          <a:xfrm>
            <a:off x="3482340" y="673100"/>
            <a:ext cx="1417955" cy="96964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 34"/>
          <p:cNvSpPr/>
          <p:nvPr/>
        </p:nvSpPr>
        <p:spPr>
          <a:xfrm>
            <a:off x="11390408" y="9876695"/>
            <a:ext cx="6706349" cy="1062450"/>
          </a:xfrm>
          <a:prstGeom prst="rect">
            <a:avLst/>
          </a:prstGeom>
          <a:noFill/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0"/>
              </a:spcAft>
            </a:pP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陈黎</a:t>
            </a: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    </a:t>
            </a:r>
            <a:r>
              <a:rPr lang="en-US" altLang="zh-CN" sz="2500" spc="200" dirty="0">
                <a:solidFill>
                  <a:srgbClr val="2B3342"/>
                </a:solidFill>
                <a:latin typeface="+mj-ea"/>
                <a:ea typeface="+mj-ea"/>
              </a:rPr>
              <a:t>2020.07.25</a:t>
            </a: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   </a:t>
            </a:r>
            <a:endParaRPr lang="en-US" altLang="zh-CN" sz="2500" spc="200" dirty="0">
              <a:solidFill>
                <a:srgbClr val="2B3342"/>
              </a:solidFill>
              <a:latin typeface="+mj-ea"/>
              <a:ea typeface="+mj-ea"/>
            </a:endParaRPr>
          </a:p>
        </p:txBody>
      </p:sp>
      <p:sp>
        <p:nvSpPr>
          <p:cNvPr id="36" name="íṩļiḍê"/>
          <p:cNvSpPr/>
          <p:nvPr/>
        </p:nvSpPr>
        <p:spPr>
          <a:xfrm>
            <a:off x="2215515" y="11777980"/>
            <a:ext cx="20054550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zh-CN" sz="2000" cap="all" dirty="0">
                <a:solidFill>
                  <a:schemeClr val="bg1">
                    <a:lumMod val="50000"/>
                  </a:schemeClr>
                </a:solidFill>
                <a:uFillTx/>
                <a:latin typeface="+mj-ea"/>
              </a:rPr>
              <a:t>Credit  bank  research report </a:t>
            </a:r>
            <a:endParaRPr lang="zh-CN" sz="2000" cap="all" dirty="0">
              <a:solidFill>
                <a:schemeClr val="bg1">
                  <a:lumMod val="50000"/>
                </a:schemeClr>
              </a:solidFill>
              <a:uFillTx/>
              <a:latin typeface="+mj-ea"/>
            </a:endParaRPr>
          </a:p>
        </p:txBody>
      </p:sp>
    </p:spTree>
    <p:custDataLst>
      <p:tags r:id="rId7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建设现状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4121785" y="2547620"/>
            <a:ext cx="1529080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571500" indent="-571500">
              <a:buFont typeface="Arial" panose="020B0604020202020204" pitchFamily="34" charset="0"/>
              <a:buChar char="•"/>
            </a:pPr>
            <a:endParaRPr lang="en-US" altLang="zh-CN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74970" y="1137285"/>
            <a:ext cx="12172315" cy="1196594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4970" y="1090295"/>
            <a:ext cx="11891645" cy="120129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4970" y="1137285"/>
            <a:ext cx="11891645" cy="1206627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7830" y="3595370"/>
            <a:ext cx="12149455" cy="5378450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3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525"/>
            <a:ext cx="1164018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ym typeface="+mn-ea"/>
              </a:rPr>
              <a:t>核心业务</a:t>
            </a:r>
            <a:endParaRPr lang="zh-CN" altLang="en-US" dirty="0">
              <a:sym typeface="+mn-ea"/>
            </a:endParaRPr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914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圆角矩形 116"/>
          <p:cNvSpPr/>
          <p:nvPr/>
        </p:nvSpPr>
        <p:spPr>
          <a:xfrm>
            <a:off x="2252345" y="3256280"/>
            <a:ext cx="20570825" cy="7233920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核心逻辑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0531475" y="2263775"/>
            <a:ext cx="37388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ctr"/>
            <a:r>
              <a:rPr lang="zh-CN" altLang="en-US" sz="28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学习成果认证转换流程</a:t>
            </a:r>
            <a:endParaRPr lang="zh-CN" altLang="en-US" sz="2800">
              <a:solidFill>
                <a:schemeClr val="accent1">
                  <a:lumMod val="40000"/>
                  <a:lumOff val="60000"/>
                </a:schemeClr>
              </a:solidFill>
              <a:sym typeface="+mn-ea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92785" y="5348605"/>
            <a:ext cx="487680" cy="228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个人用户</a:t>
            </a:r>
            <a:endParaRPr lang="zh-CN" altLang="en-US"/>
          </a:p>
        </p:txBody>
      </p:sp>
      <p:grpSp>
        <p:nvGrpSpPr>
          <p:cNvPr id="13" name="组合 12"/>
          <p:cNvGrpSpPr/>
          <p:nvPr/>
        </p:nvGrpSpPr>
        <p:grpSpPr>
          <a:xfrm rot="0">
            <a:off x="8094345" y="4564380"/>
            <a:ext cx="2221230" cy="922655"/>
            <a:chOff x="13356" y="7440"/>
            <a:chExt cx="3015" cy="1216"/>
          </a:xfrm>
        </p:grpSpPr>
        <p:sp>
          <p:nvSpPr>
            <p:cNvPr id="51" name="credit-card_70932"/>
            <p:cNvSpPr>
              <a:spLocks noChangeAspect="1"/>
            </p:cNvSpPr>
            <p:nvPr/>
          </p:nvSpPr>
          <p:spPr bwMode="auto">
            <a:xfrm>
              <a:off x="14427" y="8008"/>
              <a:ext cx="960" cy="648"/>
            </a:xfrm>
            <a:custGeom>
              <a:avLst/>
              <a:gdLst>
                <a:gd name="connsiteX0" fmla="*/ 446363 w 605522"/>
                <a:gd name="connsiteY0" fmla="*/ 272524 h 408856"/>
                <a:gd name="connsiteX1" fmla="*/ 455923 w 605522"/>
                <a:gd name="connsiteY1" fmla="*/ 274195 h 408856"/>
                <a:gd name="connsiteX2" fmla="*/ 448036 w 605522"/>
                <a:gd name="connsiteY2" fmla="*/ 299974 h 408856"/>
                <a:gd name="connsiteX3" fmla="*/ 455923 w 605522"/>
                <a:gd name="connsiteY3" fmla="*/ 325753 h 408856"/>
                <a:gd name="connsiteX4" fmla="*/ 446363 w 605522"/>
                <a:gd name="connsiteY4" fmla="*/ 327424 h 408856"/>
                <a:gd name="connsiteX5" fmla="*/ 418876 w 605522"/>
                <a:gd name="connsiteY5" fmla="*/ 299974 h 408856"/>
                <a:gd name="connsiteX6" fmla="*/ 446363 w 605522"/>
                <a:gd name="connsiteY6" fmla="*/ 272524 h 408856"/>
                <a:gd name="connsiteX7" fmla="*/ 446344 w 605522"/>
                <a:gd name="connsiteY7" fmla="*/ 253641 h 408856"/>
                <a:gd name="connsiteX8" fmla="*/ 400096 w 605522"/>
                <a:gd name="connsiteY8" fmla="*/ 299931 h 408856"/>
                <a:gd name="connsiteX9" fmla="*/ 446344 w 605522"/>
                <a:gd name="connsiteY9" fmla="*/ 346102 h 408856"/>
                <a:gd name="connsiteX10" fmla="*/ 470364 w 605522"/>
                <a:gd name="connsiteY10" fmla="*/ 339421 h 408856"/>
                <a:gd name="connsiteX11" fmla="*/ 494384 w 605522"/>
                <a:gd name="connsiteY11" fmla="*/ 346102 h 408856"/>
                <a:gd name="connsiteX12" fmla="*/ 540751 w 605522"/>
                <a:gd name="connsiteY12" fmla="*/ 299931 h 408856"/>
                <a:gd name="connsiteX13" fmla="*/ 494384 w 605522"/>
                <a:gd name="connsiteY13" fmla="*/ 253641 h 408856"/>
                <a:gd name="connsiteX14" fmla="*/ 470364 w 605522"/>
                <a:gd name="connsiteY14" fmla="*/ 260322 h 408856"/>
                <a:gd name="connsiteX15" fmla="*/ 446344 w 605522"/>
                <a:gd name="connsiteY15" fmla="*/ 253641 h 408856"/>
                <a:gd name="connsiteX16" fmla="*/ 63934 w 605522"/>
                <a:gd name="connsiteY16" fmla="*/ 82201 h 408856"/>
                <a:gd name="connsiteX17" fmla="*/ 47682 w 605522"/>
                <a:gd name="connsiteY17" fmla="*/ 98426 h 408856"/>
                <a:gd name="connsiteX18" fmla="*/ 47682 w 605522"/>
                <a:gd name="connsiteY18" fmla="*/ 132547 h 408856"/>
                <a:gd name="connsiteX19" fmla="*/ 63934 w 605522"/>
                <a:gd name="connsiteY19" fmla="*/ 148773 h 408856"/>
                <a:gd name="connsiteX20" fmla="*/ 541588 w 605522"/>
                <a:gd name="connsiteY20" fmla="*/ 148773 h 408856"/>
                <a:gd name="connsiteX21" fmla="*/ 557840 w 605522"/>
                <a:gd name="connsiteY21" fmla="*/ 132547 h 408856"/>
                <a:gd name="connsiteX22" fmla="*/ 557840 w 605522"/>
                <a:gd name="connsiteY22" fmla="*/ 98426 h 408856"/>
                <a:gd name="connsiteX23" fmla="*/ 541588 w 605522"/>
                <a:gd name="connsiteY23" fmla="*/ 82201 h 408856"/>
                <a:gd name="connsiteX24" fmla="*/ 27247 w 605522"/>
                <a:gd name="connsiteY24" fmla="*/ 0 h 408856"/>
                <a:gd name="connsiteX25" fmla="*/ 578156 w 605522"/>
                <a:gd name="connsiteY25" fmla="*/ 0 h 408856"/>
                <a:gd name="connsiteX26" fmla="*/ 605522 w 605522"/>
                <a:gd name="connsiteY26" fmla="*/ 27201 h 408856"/>
                <a:gd name="connsiteX27" fmla="*/ 605522 w 605522"/>
                <a:gd name="connsiteY27" fmla="*/ 381535 h 408856"/>
                <a:gd name="connsiteX28" fmla="*/ 578156 w 605522"/>
                <a:gd name="connsiteY28" fmla="*/ 408856 h 408856"/>
                <a:gd name="connsiteX29" fmla="*/ 27247 w 605522"/>
                <a:gd name="connsiteY29" fmla="*/ 408856 h 408856"/>
                <a:gd name="connsiteX30" fmla="*/ 0 w 605522"/>
                <a:gd name="connsiteY30" fmla="*/ 381535 h 408856"/>
                <a:gd name="connsiteX31" fmla="*/ 0 w 605522"/>
                <a:gd name="connsiteY31" fmla="*/ 27201 h 408856"/>
                <a:gd name="connsiteX32" fmla="*/ 27247 w 605522"/>
                <a:gd name="connsiteY32" fmla="*/ 0 h 408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5522" h="408856">
                  <a:moveTo>
                    <a:pt x="446363" y="272524"/>
                  </a:moveTo>
                  <a:cubicBezTo>
                    <a:pt x="449709" y="272524"/>
                    <a:pt x="452935" y="273121"/>
                    <a:pt x="455923" y="274195"/>
                  </a:cubicBezTo>
                  <a:cubicBezTo>
                    <a:pt x="451023" y="281594"/>
                    <a:pt x="448036" y="290426"/>
                    <a:pt x="448036" y="299974"/>
                  </a:cubicBezTo>
                  <a:cubicBezTo>
                    <a:pt x="448036" y="309522"/>
                    <a:pt x="451023" y="318354"/>
                    <a:pt x="455923" y="325753"/>
                  </a:cubicBezTo>
                  <a:cubicBezTo>
                    <a:pt x="452935" y="326827"/>
                    <a:pt x="449709" y="327424"/>
                    <a:pt x="446363" y="327424"/>
                  </a:cubicBezTo>
                  <a:cubicBezTo>
                    <a:pt x="431185" y="327424"/>
                    <a:pt x="418876" y="315131"/>
                    <a:pt x="418876" y="299974"/>
                  </a:cubicBezTo>
                  <a:cubicBezTo>
                    <a:pt x="418876" y="284817"/>
                    <a:pt x="431185" y="272524"/>
                    <a:pt x="446363" y="272524"/>
                  </a:cubicBezTo>
                  <a:close/>
                  <a:moveTo>
                    <a:pt x="446344" y="253641"/>
                  </a:moveTo>
                  <a:cubicBezTo>
                    <a:pt x="420890" y="253641"/>
                    <a:pt x="400096" y="274400"/>
                    <a:pt x="400096" y="299931"/>
                  </a:cubicBezTo>
                  <a:cubicBezTo>
                    <a:pt x="400096" y="325343"/>
                    <a:pt x="420890" y="346102"/>
                    <a:pt x="446344" y="346102"/>
                  </a:cubicBezTo>
                  <a:cubicBezTo>
                    <a:pt x="455187" y="346102"/>
                    <a:pt x="463313" y="343716"/>
                    <a:pt x="470364" y="339421"/>
                  </a:cubicBezTo>
                  <a:cubicBezTo>
                    <a:pt x="477415" y="343716"/>
                    <a:pt x="485541" y="346102"/>
                    <a:pt x="494384" y="346102"/>
                  </a:cubicBezTo>
                  <a:cubicBezTo>
                    <a:pt x="519958" y="346102"/>
                    <a:pt x="540751" y="325462"/>
                    <a:pt x="540751" y="299931"/>
                  </a:cubicBezTo>
                  <a:cubicBezTo>
                    <a:pt x="540751" y="274400"/>
                    <a:pt x="519958" y="253641"/>
                    <a:pt x="494384" y="253641"/>
                  </a:cubicBezTo>
                  <a:cubicBezTo>
                    <a:pt x="485541" y="253641"/>
                    <a:pt x="477415" y="256146"/>
                    <a:pt x="470364" y="260322"/>
                  </a:cubicBezTo>
                  <a:cubicBezTo>
                    <a:pt x="463313" y="256146"/>
                    <a:pt x="455187" y="253641"/>
                    <a:pt x="446344" y="253641"/>
                  </a:cubicBezTo>
                  <a:close/>
                  <a:moveTo>
                    <a:pt x="63934" y="82201"/>
                  </a:moveTo>
                  <a:cubicBezTo>
                    <a:pt x="54971" y="82201"/>
                    <a:pt x="47682" y="89478"/>
                    <a:pt x="47682" y="98426"/>
                  </a:cubicBezTo>
                  <a:lnTo>
                    <a:pt x="47682" y="132547"/>
                  </a:lnTo>
                  <a:cubicBezTo>
                    <a:pt x="47682" y="141495"/>
                    <a:pt x="54971" y="148773"/>
                    <a:pt x="63934" y="148773"/>
                  </a:cubicBezTo>
                  <a:lnTo>
                    <a:pt x="541588" y="148773"/>
                  </a:lnTo>
                  <a:cubicBezTo>
                    <a:pt x="550551" y="148773"/>
                    <a:pt x="557840" y="141495"/>
                    <a:pt x="557840" y="132547"/>
                  </a:cubicBezTo>
                  <a:lnTo>
                    <a:pt x="557840" y="98426"/>
                  </a:lnTo>
                  <a:cubicBezTo>
                    <a:pt x="557840" y="89478"/>
                    <a:pt x="550551" y="82201"/>
                    <a:pt x="541588" y="82201"/>
                  </a:cubicBezTo>
                  <a:close/>
                  <a:moveTo>
                    <a:pt x="27247" y="0"/>
                  </a:moveTo>
                  <a:lnTo>
                    <a:pt x="578156" y="0"/>
                  </a:lnTo>
                  <a:cubicBezTo>
                    <a:pt x="593213" y="0"/>
                    <a:pt x="605522" y="12169"/>
                    <a:pt x="605522" y="27201"/>
                  </a:cubicBezTo>
                  <a:lnTo>
                    <a:pt x="605522" y="381535"/>
                  </a:lnTo>
                  <a:cubicBezTo>
                    <a:pt x="605522" y="396568"/>
                    <a:pt x="593213" y="408856"/>
                    <a:pt x="578156" y="408856"/>
                  </a:cubicBezTo>
                  <a:lnTo>
                    <a:pt x="27247" y="408856"/>
                  </a:lnTo>
                  <a:cubicBezTo>
                    <a:pt x="12189" y="408856"/>
                    <a:pt x="0" y="396568"/>
                    <a:pt x="0" y="381535"/>
                  </a:cubicBezTo>
                  <a:lnTo>
                    <a:pt x="0" y="27201"/>
                  </a:lnTo>
                  <a:cubicBezTo>
                    <a:pt x="0" y="12169"/>
                    <a:pt x="12189" y="0"/>
                    <a:pt x="27247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</p:sp>
        <p:sp>
          <p:nvSpPr>
            <p:cNvPr id="4" name="文本框 3"/>
            <p:cNvSpPr txBox="1"/>
            <p:nvPr/>
          </p:nvSpPr>
          <p:spPr>
            <a:xfrm>
              <a:off x="13356" y="7440"/>
              <a:ext cx="3015" cy="4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  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学籍号</a:t>
              </a:r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/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身份证号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 rot="0">
            <a:off x="3446145" y="5306060"/>
            <a:ext cx="5400040" cy="2783205"/>
            <a:chOff x="3013" y="6025"/>
            <a:chExt cx="7329" cy="3669"/>
          </a:xfrm>
        </p:grpSpPr>
        <p:grpSp>
          <p:nvGrpSpPr>
            <p:cNvPr id="36" name="组合 35"/>
            <p:cNvGrpSpPr/>
            <p:nvPr/>
          </p:nvGrpSpPr>
          <p:grpSpPr>
            <a:xfrm>
              <a:off x="5462" y="6809"/>
              <a:ext cx="4880" cy="2885"/>
              <a:chOff x="5636" y="13673"/>
              <a:chExt cx="4880" cy="2885"/>
            </a:xfrm>
          </p:grpSpPr>
          <p:sp>
            <p:nvSpPr>
              <p:cNvPr id="37" name="文本框 36"/>
              <p:cNvSpPr txBox="1"/>
              <p:nvPr/>
            </p:nvSpPr>
            <p:spPr>
              <a:xfrm>
                <a:off x="5636" y="13677"/>
                <a:ext cx="586" cy="5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  <p:grpSp>
            <p:nvGrpSpPr>
              <p:cNvPr id="38" name="组合 37"/>
              <p:cNvGrpSpPr/>
              <p:nvPr/>
            </p:nvGrpSpPr>
            <p:grpSpPr>
              <a:xfrm>
                <a:off x="8564" y="13673"/>
                <a:ext cx="1952" cy="2649"/>
                <a:chOff x="8829" y="7232"/>
                <a:chExt cx="1952" cy="2649"/>
              </a:xfrm>
            </p:grpSpPr>
            <p:grpSp>
              <p:nvGrpSpPr>
                <p:cNvPr id="40" name="组合 39"/>
                <p:cNvGrpSpPr/>
                <p:nvPr/>
              </p:nvGrpSpPr>
              <p:grpSpPr>
                <a:xfrm rot="0">
                  <a:off x="9023" y="7232"/>
                  <a:ext cx="1137" cy="1653"/>
                  <a:chOff x="7254875" y="965200"/>
                  <a:chExt cx="1049337" cy="1533526"/>
                </a:xfrm>
                <a:solidFill>
                  <a:srgbClr val="1EB9F5"/>
                </a:solidFill>
              </p:grpSpPr>
              <p:sp>
                <p:nvSpPr>
                  <p:cNvPr id="69" name="Freeform 28"/>
                  <p:cNvSpPr/>
                  <p:nvPr/>
                </p:nvSpPr>
                <p:spPr bwMode="auto">
                  <a:xfrm>
                    <a:off x="7254875" y="1630363"/>
                    <a:ext cx="1049337" cy="868363"/>
                  </a:xfrm>
                  <a:custGeom>
                    <a:avLst/>
                    <a:gdLst>
                      <a:gd name="T0" fmla="*/ 393 w 661"/>
                      <a:gd name="T1" fmla="*/ 0 h 547"/>
                      <a:gd name="T2" fmla="*/ 393 w 661"/>
                      <a:gd name="T3" fmla="*/ 14 h 547"/>
                      <a:gd name="T4" fmla="*/ 387 w 661"/>
                      <a:gd name="T5" fmla="*/ 46 h 547"/>
                      <a:gd name="T6" fmla="*/ 377 w 661"/>
                      <a:gd name="T7" fmla="*/ 66 h 547"/>
                      <a:gd name="T8" fmla="*/ 369 w 661"/>
                      <a:gd name="T9" fmla="*/ 74 h 547"/>
                      <a:gd name="T10" fmla="*/ 387 w 661"/>
                      <a:gd name="T11" fmla="*/ 198 h 547"/>
                      <a:gd name="T12" fmla="*/ 395 w 661"/>
                      <a:gd name="T13" fmla="*/ 297 h 547"/>
                      <a:gd name="T14" fmla="*/ 395 w 661"/>
                      <a:gd name="T15" fmla="*/ 361 h 547"/>
                      <a:gd name="T16" fmla="*/ 393 w 661"/>
                      <a:gd name="T17" fmla="*/ 377 h 547"/>
                      <a:gd name="T18" fmla="*/ 377 w 661"/>
                      <a:gd name="T19" fmla="*/ 425 h 547"/>
                      <a:gd name="T20" fmla="*/ 359 w 661"/>
                      <a:gd name="T21" fmla="*/ 459 h 547"/>
                      <a:gd name="T22" fmla="*/ 339 w 661"/>
                      <a:gd name="T23" fmla="*/ 481 h 547"/>
                      <a:gd name="T24" fmla="*/ 327 w 661"/>
                      <a:gd name="T25" fmla="*/ 485 h 547"/>
                      <a:gd name="T26" fmla="*/ 323 w 661"/>
                      <a:gd name="T27" fmla="*/ 483 h 547"/>
                      <a:gd name="T28" fmla="*/ 307 w 661"/>
                      <a:gd name="T29" fmla="*/ 471 h 547"/>
                      <a:gd name="T30" fmla="*/ 289 w 661"/>
                      <a:gd name="T31" fmla="*/ 441 h 547"/>
                      <a:gd name="T32" fmla="*/ 275 w 661"/>
                      <a:gd name="T33" fmla="*/ 407 h 547"/>
                      <a:gd name="T34" fmla="*/ 269 w 661"/>
                      <a:gd name="T35" fmla="*/ 377 h 547"/>
                      <a:gd name="T36" fmla="*/ 265 w 661"/>
                      <a:gd name="T37" fmla="*/ 341 h 547"/>
                      <a:gd name="T38" fmla="*/ 273 w 661"/>
                      <a:gd name="T39" fmla="*/ 247 h 547"/>
                      <a:gd name="T40" fmla="*/ 295 w 661"/>
                      <a:gd name="T41" fmla="*/ 112 h 547"/>
                      <a:gd name="T42" fmla="*/ 303 w 661"/>
                      <a:gd name="T43" fmla="*/ 74 h 547"/>
                      <a:gd name="T44" fmla="*/ 293 w 661"/>
                      <a:gd name="T45" fmla="*/ 66 h 547"/>
                      <a:gd name="T46" fmla="*/ 285 w 661"/>
                      <a:gd name="T47" fmla="*/ 48 h 547"/>
                      <a:gd name="T48" fmla="*/ 279 w 661"/>
                      <a:gd name="T49" fmla="*/ 20 h 547"/>
                      <a:gd name="T50" fmla="*/ 174 w 661"/>
                      <a:gd name="T51" fmla="*/ 0 h 547"/>
                      <a:gd name="T52" fmla="*/ 174 w 661"/>
                      <a:gd name="T53" fmla="*/ 0 h 547"/>
                      <a:gd name="T54" fmla="*/ 138 w 661"/>
                      <a:gd name="T55" fmla="*/ 4 h 547"/>
                      <a:gd name="T56" fmla="*/ 106 w 661"/>
                      <a:gd name="T57" fmla="*/ 16 h 547"/>
                      <a:gd name="T58" fmla="*/ 74 w 661"/>
                      <a:gd name="T59" fmla="*/ 32 h 547"/>
                      <a:gd name="T60" fmla="*/ 48 w 661"/>
                      <a:gd name="T61" fmla="*/ 54 h 547"/>
                      <a:gd name="T62" fmla="*/ 26 w 661"/>
                      <a:gd name="T63" fmla="*/ 80 h 547"/>
                      <a:gd name="T64" fmla="*/ 10 w 661"/>
                      <a:gd name="T65" fmla="*/ 112 h 547"/>
                      <a:gd name="T66" fmla="*/ 2 w 661"/>
                      <a:gd name="T67" fmla="*/ 146 h 547"/>
                      <a:gd name="T68" fmla="*/ 2 w 661"/>
                      <a:gd name="T69" fmla="*/ 182 h 547"/>
                      <a:gd name="T70" fmla="*/ 26 w 661"/>
                      <a:gd name="T71" fmla="*/ 367 h 547"/>
                      <a:gd name="T72" fmla="*/ 48 w 661"/>
                      <a:gd name="T73" fmla="*/ 437 h 547"/>
                      <a:gd name="T74" fmla="*/ 64 w 661"/>
                      <a:gd name="T75" fmla="*/ 467 h 547"/>
                      <a:gd name="T76" fmla="*/ 84 w 661"/>
                      <a:gd name="T77" fmla="*/ 495 h 547"/>
                      <a:gd name="T78" fmla="*/ 108 w 661"/>
                      <a:gd name="T79" fmla="*/ 515 h 547"/>
                      <a:gd name="T80" fmla="*/ 134 w 661"/>
                      <a:gd name="T81" fmla="*/ 533 h 547"/>
                      <a:gd name="T82" fmla="*/ 164 w 661"/>
                      <a:gd name="T83" fmla="*/ 543 h 547"/>
                      <a:gd name="T84" fmla="*/ 200 w 661"/>
                      <a:gd name="T85" fmla="*/ 547 h 547"/>
                      <a:gd name="T86" fmla="*/ 463 w 661"/>
                      <a:gd name="T87" fmla="*/ 547 h 547"/>
                      <a:gd name="T88" fmla="*/ 497 w 661"/>
                      <a:gd name="T89" fmla="*/ 543 h 547"/>
                      <a:gd name="T90" fmla="*/ 527 w 661"/>
                      <a:gd name="T91" fmla="*/ 531 h 547"/>
                      <a:gd name="T92" fmla="*/ 555 w 661"/>
                      <a:gd name="T93" fmla="*/ 515 h 547"/>
                      <a:gd name="T94" fmla="*/ 577 w 661"/>
                      <a:gd name="T95" fmla="*/ 493 h 547"/>
                      <a:gd name="T96" fmla="*/ 597 w 661"/>
                      <a:gd name="T97" fmla="*/ 465 h 547"/>
                      <a:gd name="T98" fmla="*/ 613 w 661"/>
                      <a:gd name="T99" fmla="*/ 435 h 547"/>
                      <a:gd name="T100" fmla="*/ 635 w 661"/>
                      <a:gd name="T101" fmla="*/ 365 h 547"/>
                      <a:gd name="T102" fmla="*/ 661 w 661"/>
                      <a:gd name="T103" fmla="*/ 180 h 547"/>
                      <a:gd name="T104" fmla="*/ 661 w 661"/>
                      <a:gd name="T105" fmla="*/ 144 h 547"/>
                      <a:gd name="T106" fmla="*/ 651 w 661"/>
                      <a:gd name="T107" fmla="*/ 110 h 547"/>
                      <a:gd name="T108" fmla="*/ 637 w 661"/>
                      <a:gd name="T109" fmla="*/ 80 h 547"/>
                      <a:gd name="T110" fmla="*/ 615 w 661"/>
                      <a:gd name="T111" fmla="*/ 54 h 547"/>
                      <a:gd name="T112" fmla="*/ 587 w 661"/>
                      <a:gd name="T113" fmla="*/ 32 h 547"/>
                      <a:gd name="T114" fmla="*/ 557 w 661"/>
                      <a:gd name="T115" fmla="*/ 14 h 547"/>
                      <a:gd name="T116" fmla="*/ 523 w 661"/>
                      <a:gd name="T117" fmla="*/ 4 h 547"/>
                      <a:gd name="T118" fmla="*/ 487 w 661"/>
                      <a:gd name="T119" fmla="*/ 0 h 5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661" h="547">
                        <a:moveTo>
                          <a:pt x="487" y="0"/>
                        </a:moveTo>
                        <a:lnTo>
                          <a:pt x="393" y="0"/>
                        </a:lnTo>
                        <a:lnTo>
                          <a:pt x="393" y="0"/>
                        </a:lnTo>
                        <a:lnTo>
                          <a:pt x="393" y="14"/>
                        </a:lnTo>
                        <a:lnTo>
                          <a:pt x="391" y="34"/>
                        </a:lnTo>
                        <a:lnTo>
                          <a:pt x="387" y="46"/>
                        </a:lnTo>
                        <a:lnTo>
                          <a:pt x="383" y="56"/>
                        </a:lnTo>
                        <a:lnTo>
                          <a:pt x="377" y="66"/>
                        </a:lnTo>
                        <a:lnTo>
                          <a:pt x="369" y="74"/>
                        </a:lnTo>
                        <a:lnTo>
                          <a:pt x="369" y="74"/>
                        </a:lnTo>
                        <a:lnTo>
                          <a:pt x="375" y="112"/>
                        </a:lnTo>
                        <a:lnTo>
                          <a:pt x="387" y="198"/>
                        </a:lnTo>
                        <a:lnTo>
                          <a:pt x="393" y="249"/>
                        </a:lnTo>
                        <a:lnTo>
                          <a:pt x="395" y="297"/>
                        </a:lnTo>
                        <a:lnTo>
                          <a:pt x="397" y="343"/>
                        </a:lnTo>
                        <a:lnTo>
                          <a:pt x="395" y="361"/>
                        </a:lnTo>
                        <a:lnTo>
                          <a:pt x="393" y="377"/>
                        </a:lnTo>
                        <a:lnTo>
                          <a:pt x="393" y="377"/>
                        </a:lnTo>
                        <a:lnTo>
                          <a:pt x="383" y="407"/>
                        </a:lnTo>
                        <a:lnTo>
                          <a:pt x="377" y="425"/>
                        </a:lnTo>
                        <a:lnTo>
                          <a:pt x="369" y="443"/>
                        </a:lnTo>
                        <a:lnTo>
                          <a:pt x="359" y="459"/>
                        </a:lnTo>
                        <a:lnTo>
                          <a:pt x="349" y="473"/>
                        </a:lnTo>
                        <a:lnTo>
                          <a:pt x="339" y="481"/>
                        </a:lnTo>
                        <a:lnTo>
                          <a:pt x="333" y="483"/>
                        </a:lnTo>
                        <a:lnTo>
                          <a:pt x="327" y="485"/>
                        </a:lnTo>
                        <a:lnTo>
                          <a:pt x="327" y="485"/>
                        </a:lnTo>
                        <a:lnTo>
                          <a:pt x="323" y="483"/>
                        </a:lnTo>
                        <a:lnTo>
                          <a:pt x="317" y="481"/>
                        </a:lnTo>
                        <a:lnTo>
                          <a:pt x="307" y="471"/>
                        </a:lnTo>
                        <a:lnTo>
                          <a:pt x="297" y="459"/>
                        </a:lnTo>
                        <a:lnTo>
                          <a:pt x="289" y="441"/>
                        </a:lnTo>
                        <a:lnTo>
                          <a:pt x="281" y="423"/>
                        </a:lnTo>
                        <a:lnTo>
                          <a:pt x="275" y="407"/>
                        </a:lnTo>
                        <a:lnTo>
                          <a:pt x="269" y="377"/>
                        </a:lnTo>
                        <a:lnTo>
                          <a:pt x="269" y="377"/>
                        </a:lnTo>
                        <a:lnTo>
                          <a:pt x="265" y="361"/>
                        </a:lnTo>
                        <a:lnTo>
                          <a:pt x="265" y="341"/>
                        </a:lnTo>
                        <a:lnTo>
                          <a:pt x="267" y="297"/>
                        </a:lnTo>
                        <a:lnTo>
                          <a:pt x="273" y="247"/>
                        </a:lnTo>
                        <a:lnTo>
                          <a:pt x="279" y="198"/>
                        </a:lnTo>
                        <a:lnTo>
                          <a:pt x="295" y="112"/>
                        </a:lnTo>
                        <a:lnTo>
                          <a:pt x="303" y="74"/>
                        </a:lnTo>
                        <a:lnTo>
                          <a:pt x="303" y="74"/>
                        </a:lnTo>
                        <a:lnTo>
                          <a:pt x="297" y="70"/>
                        </a:lnTo>
                        <a:lnTo>
                          <a:pt x="293" y="66"/>
                        </a:lnTo>
                        <a:lnTo>
                          <a:pt x="289" y="58"/>
                        </a:lnTo>
                        <a:lnTo>
                          <a:pt x="285" y="48"/>
                        </a:lnTo>
                        <a:lnTo>
                          <a:pt x="283" y="36"/>
                        </a:lnTo>
                        <a:lnTo>
                          <a:pt x="279" y="20"/>
                        </a:lnTo>
                        <a:lnTo>
                          <a:pt x="277" y="0"/>
                        </a:lnTo>
                        <a:lnTo>
                          <a:pt x="174" y="0"/>
                        </a:lnTo>
                        <a:lnTo>
                          <a:pt x="174" y="0"/>
                        </a:lnTo>
                        <a:lnTo>
                          <a:pt x="174" y="0"/>
                        </a:lnTo>
                        <a:lnTo>
                          <a:pt x="156" y="2"/>
                        </a:lnTo>
                        <a:lnTo>
                          <a:pt x="138" y="4"/>
                        </a:lnTo>
                        <a:lnTo>
                          <a:pt x="122" y="8"/>
                        </a:lnTo>
                        <a:lnTo>
                          <a:pt x="106" y="16"/>
                        </a:lnTo>
                        <a:lnTo>
                          <a:pt x="90" y="22"/>
                        </a:lnTo>
                        <a:lnTo>
                          <a:pt x="74" y="32"/>
                        </a:lnTo>
                        <a:lnTo>
                          <a:pt x="60" y="42"/>
                        </a:lnTo>
                        <a:lnTo>
                          <a:pt x="48" y="54"/>
                        </a:lnTo>
                        <a:lnTo>
                          <a:pt x="36" y="68"/>
                        </a:lnTo>
                        <a:lnTo>
                          <a:pt x="26" y="80"/>
                        </a:lnTo>
                        <a:lnTo>
                          <a:pt x="16" y="96"/>
                        </a:lnTo>
                        <a:lnTo>
                          <a:pt x="10" y="112"/>
                        </a:lnTo>
                        <a:lnTo>
                          <a:pt x="4" y="128"/>
                        </a:lnTo>
                        <a:lnTo>
                          <a:pt x="2" y="146"/>
                        </a:lnTo>
                        <a:lnTo>
                          <a:pt x="0" y="164"/>
                        </a:lnTo>
                        <a:lnTo>
                          <a:pt x="2" y="182"/>
                        </a:lnTo>
                        <a:lnTo>
                          <a:pt x="26" y="367"/>
                        </a:lnTo>
                        <a:lnTo>
                          <a:pt x="26" y="367"/>
                        </a:lnTo>
                        <a:lnTo>
                          <a:pt x="34" y="403"/>
                        </a:lnTo>
                        <a:lnTo>
                          <a:pt x="48" y="437"/>
                        </a:lnTo>
                        <a:lnTo>
                          <a:pt x="56" y="453"/>
                        </a:lnTo>
                        <a:lnTo>
                          <a:pt x="64" y="467"/>
                        </a:lnTo>
                        <a:lnTo>
                          <a:pt x="74" y="481"/>
                        </a:lnTo>
                        <a:lnTo>
                          <a:pt x="84" y="495"/>
                        </a:lnTo>
                        <a:lnTo>
                          <a:pt x="96" y="505"/>
                        </a:lnTo>
                        <a:lnTo>
                          <a:pt x="108" y="515"/>
                        </a:lnTo>
                        <a:lnTo>
                          <a:pt x="120" y="525"/>
                        </a:lnTo>
                        <a:lnTo>
                          <a:pt x="134" y="533"/>
                        </a:lnTo>
                        <a:lnTo>
                          <a:pt x="150" y="539"/>
                        </a:lnTo>
                        <a:lnTo>
                          <a:pt x="164" y="543"/>
                        </a:lnTo>
                        <a:lnTo>
                          <a:pt x="182" y="545"/>
                        </a:lnTo>
                        <a:lnTo>
                          <a:pt x="200" y="547"/>
                        </a:lnTo>
                        <a:lnTo>
                          <a:pt x="463" y="547"/>
                        </a:lnTo>
                        <a:lnTo>
                          <a:pt x="463" y="547"/>
                        </a:lnTo>
                        <a:lnTo>
                          <a:pt x="479" y="545"/>
                        </a:lnTo>
                        <a:lnTo>
                          <a:pt x="497" y="543"/>
                        </a:lnTo>
                        <a:lnTo>
                          <a:pt x="513" y="537"/>
                        </a:lnTo>
                        <a:lnTo>
                          <a:pt x="527" y="531"/>
                        </a:lnTo>
                        <a:lnTo>
                          <a:pt x="541" y="525"/>
                        </a:lnTo>
                        <a:lnTo>
                          <a:pt x="555" y="515"/>
                        </a:lnTo>
                        <a:lnTo>
                          <a:pt x="567" y="505"/>
                        </a:lnTo>
                        <a:lnTo>
                          <a:pt x="577" y="493"/>
                        </a:lnTo>
                        <a:lnTo>
                          <a:pt x="589" y="479"/>
                        </a:lnTo>
                        <a:lnTo>
                          <a:pt x="597" y="465"/>
                        </a:lnTo>
                        <a:lnTo>
                          <a:pt x="607" y="451"/>
                        </a:lnTo>
                        <a:lnTo>
                          <a:pt x="613" y="435"/>
                        </a:lnTo>
                        <a:lnTo>
                          <a:pt x="627" y="401"/>
                        </a:lnTo>
                        <a:lnTo>
                          <a:pt x="635" y="365"/>
                        </a:lnTo>
                        <a:lnTo>
                          <a:pt x="661" y="180"/>
                        </a:lnTo>
                        <a:lnTo>
                          <a:pt x="661" y="180"/>
                        </a:lnTo>
                        <a:lnTo>
                          <a:pt x="661" y="162"/>
                        </a:lnTo>
                        <a:lnTo>
                          <a:pt x="661" y="144"/>
                        </a:lnTo>
                        <a:lnTo>
                          <a:pt x="657" y="126"/>
                        </a:lnTo>
                        <a:lnTo>
                          <a:pt x="651" y="110"/>
                        </a:lnTo>
                        <a:lnTo>
                          <a:pt x="645" y="94"/>
                        </a:lnTo>
                        <a:lnTo>
                          <a:pt x="637" y="80"/>
                        </a:lnTo>
                        <a:lnTo>
                          <a:pt x="625" y="66"/>
                        </a:lnTo>
                        <a:lnTo>
                          <a:pt x="615" y="54"/>
                        </a:lnTo>
                        <a:lnTo>
                          <a:pt x="601" y="42"/>
                        </a:lnTo>
                        <a:lnTo>
                          <a:pt x="587" y="32"/>
                        </a:lnTo>
                        <a:lnTo>
                          <a:pt x="573" y="22"/>
                        </a:lnTo>
                        <a:lnTo>
                          <a:pt x="557" y="14"/>
                        </a:lnTo>
                        <a:lnTo>
                          <a:pt x="539" y="8"/>
                        </a:lnTo>
                        <a:lnTo>
                          <a:pt x="523" y="4"/>
                        </a:lnTo>
                        <a:lnTo>
                          <a:pt x="505" y="2"/>
                        </a:lnTo>
                        <a:lnTo>
                          <a:pt x="487" y="0"/>
                        </a:lnTo>
                        <a:lnTo>
                          <a:pt x="487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p>
                    <a:endParaRPr lang="zh-CN" altLang="en-US"/>
                  </a:p>
                </p:txBody>
              </p:sp>
              <p:sp>
                <p:nvSpPr>
                  <p:cNvPr id="70" name="Freeform 29"/>
                  <p:cNvSpPr/>
                  <p:nvPr/>
                </p:nvSpPr>
                <p:spPr bwMode="auto">
                  <a:xfrm>
                    <a:off x="7499350" y="965200"/>
                    <a:ext cx="560387" cy="573088"/>
                  </a:xfrm>
                  <a:custGeom>
                    <a:avLst/>
                    <a:gdLst>
                      <a:gd name="T0" fmla="*/ 353 w 353"/>
                      <a:gd name="T1" fmla="*/ 181 h 361"/>
                      <a:gd name="T2" fmla="*/ 349 w 353"/>
                      <a:gd name="T3" fmla="*/ 217 h 361"/>
                      <a:gd name="T4" fmla="*/ 339 w 353"/>
                      <a:gd name="T5" fmla="*/ 251 h 361"/>
                      <a:gd name="T6" fmla="*/ 323 w 353"/>
                      <a:gd name="T7" fmla="*/ 283 h 361"/>
                      <a:gd name="T8" fmla="*/ 301 w 353"/>
                      <a:gd name="T9" fmla="*/ 309 h 361"/>
                      <a:gd name="T10" fmla="*/ 275 w 353"/>
                      <a:gd name="T11" fmla="*/ 331 h 361"/>
                      <a:gd name="T12" fmla="*/ 245 w 353"/>
                      <a:gd name="T13" fmla="*/ 347 h 361"/>
                      <a:gd name="T14" fmla="*/ 211 w 353"/>
                      <a:gd name="T15" fmla="*/ 359 h 361"/>
                      <a:gd name="T16" fmla="*/ 177 w 353"/>
                      <a:gd name="T17" fmla="*/ 361 h 361"/>
                      <a:gd name="T18" fmla="*/ 159 w 353"/>
                      <a:gd name="T19" fmla="*/ 361 h 361"/>
                      <a:gd name="T20" fmla="*/ 123 w 353"/>
                      <a:gd name="T21" fmla="*/ 353 h 361"/>
                      <a:gd name="T22" fmla="*/ 94 w 353"/>
                      <a:gd name="T23" fmla="*/ 341 h 361"/>
                      <a:gd name="T24" fmla="*/ 66 w 353"/>
                      <a:gd name="T25" fmla="*/ 321 h 361"/>
                      <a:gd name="T26" fmla="*/ 42 w 353"/>
                      <a:gd name="T27" fmla="*/ 295 h 361"/>
                      <a:gd name="T28" fmla="*/ 22 w 353"/>
                      <a:gd name="T29" fmla="*/ 267 h 361"/>
                      <a:gd name="T30" fmla="*/ 8 w 353"/>
                      <a:gd name="T31" fmla="*/ 235 h 361"/>
                      <a:gd name="T32" fmla="*/ 2 w 353"/>
                      <a:gd name="T33" fmla="*/ 199 h 361"/>
                      <a:gd name="T34" fmla="*/ 0 w 353"/>
                      <a:gd name="T35" fmla="*/ 181 h 361"/>
                      <a:gd name="T36" fmla="*/ 4 w 353"/>
                      <a:gd name="T37" fmla="*/ 146 h 361"/>
                      <a:gd name="T38" fmla="*/ 14 w 353"/>
                      <a:gd name="T39" fmla="*/ 112 h 361"/>
                      <a:gd name="T40" fmla="*/ 32 w 353"/>
                      <a:gd name="T41" fmla="*/ 80 h 361"/>
                      <a:gd name="T42" fmla="*/ 52 w 353"/>
                      <a:gd name="T43" fmla="*/ 54 h 361"/>
                      <a:gd name="T44" fmla="*/ 78 w 353"/>
                      <a:gd name="T45" fmla="*/ 32 h 361"/>
                      <a:gd name="T46" fmla="*/ 108 w 353"/>
                      <a:gd name="T47" fmla="*/ 14 h 361"/>
                      <a:gd name="T48" fmla="*/ 141 w 353"/>
                      <a:gd name="T49" fmla="*/ 4 h 361"/>
                      <a:gd name="T50" fmla="*/ 177 w 353"/>
                      <a:gd name="T51" fmla="*/ 0 h 361"/>
                      <a:gd name="T52" fmla="*/ 195 w 353"/>
                      <a:gd name="T53" fmla="*/ 2 h 361"/>
                      <a:gd name="T54" fmla="*/ 229 w 353"/>
                      <a:gd name="T55" fmla="*/ 8 h 361"/>
                      <a:gd name="T56" fmla="*/ 261 w 353"/>
                      <a:gd name="T57" fmla="*/ 22 h 361"/>
                      <a:gd name="T58" fmla="*/ 289 w 353"/>
                      <a:gd name="T59" fmla="*/ 42 h 361"/>
                      <a:gd name="T60" fmla="*/ 313 w 353"/>
                      <a:gd name="T61" fmla="*/ 66 h 361"/>
                      <a:gd name="T62" fmla="*/ 331 w 353"/>
                      <a:gd name="T63" fmla="*/ 96 h 361"/>
                      <a:gd name="T64" fmla="*/ 345 w 353"/>
                      <a:gd name="T65" fmla="*/ 128 h 361"/>
                      <a:gd name="T66" fmla="*/ 351 w 353"/>
                      <a:gd name="T67" fmla="*/ 163 h 361"/>
                      <a:gd name="T68" fmla="*/ 353 w 353"/>
                      <a:gd name="T69" fmla="*/ 181 h 3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353" h="361">
                        <a:moveTo>
                          <a:pt x="353" y="181"/>
                        </a:moveTo>
                        <a:lnTo>
                          <a:pt x="353" y="181"/>
                        </a:lnTo>
                        <a:lnTo>
                          <a:pt x="351" y="199"/>
                        </a:lnTo>
                        <a:lnTo>
                          <a:pt x="349" y="217"/>
                        </a:lnTo>
                        <a:lnTo>
                          <a:pt x="345" y="235"/>
                        </a:lnTo>
                        <a:lnTo>
                          <a:pt x="339" y="251"/>
                        </a:lnTo>
                        <a:lnTo>
                          <a:pt x="331" y="267"/>
                        </a:lnTo>
                        <a:lnTo>
                          <a:pt x="323" y="283"/>
                        </a:lnTo>
                        <a:lnTo>
                          <a:pt x="313" y="295"/>
                        </a:lnTo>
                        <a:lnTo>
                          <a:pt x="301" y="309"/>
                        </a:lnTo>
                        <a:lnTo>
                          <a:pt x="289" y="321"/>
                        </a:lnTo>
                        <a:lnTo>
                          <a:pt x="275" y="331"/>
                        </a:lnTo>
                        <a:lnTo>
                          <a:pt x="261" y="341"/>
                        </a:lnTo>
                        <a:lnTo>
                          <a:pt x="245" y="347"/>
                        </a:lnTo>
                        <a:lnTo>
                          <a:pt x="229" y="353"/>
                        </a:lnTo>
                        <a:lnTo>
                          <a:pt x="211" y="359"/>
                        </a:lnTo>
                        <a:lnTo>
                          <a:pt x="195" y="361"/>
                        </a:lnTo>
                        <a:lnTo>
                          <a:pt x="177" y="361"/>
                        </a:lnTo>
                        <a:lnTo>
                          <a:pt x="177" y="361"/>
                        </a:lnTo>
                        <a:lnTo>
                          <a:pt x="159" y="361"/>
                        </a:lnTo>
                        <a:lnTo>
                          <a:pt x="141" y="359"/>
                        </a:lnTo>
                        <a:lnTo>
                          <a:pt x="123" y="353"/>
                        </a:lnTo>
                        <a:lnTo>
                          <a:pt x="108" y="347"/>
                        </a:lnTo>
                        <a:lnTo>
                          <a:pt x="94" y="341"/>
                        </a:lnTo>
                        <a:lnTo>
                          <a:pt x="78" y="331"/>
                        </a:lnTo>
                        <a:lnTo>
                          <a:pt x="66" y="321"/>
                        </a:lnTo>
                        <a:lnTo>
                          <a:pt x="52" y="309"/>
                        </a:lnTo>
                        <a:lnTo>
                          <a:pt x="42" y="295"/>
                        </a:lnTo>
                        <a:lnTo>
                          <a:pt x="32" y="283"/>
                        </a:lnTo>
                        <a:lnTo>
                          <a:pt x="22" y="267"/>
                        </a:lnTo>
                        <a:lnTo>
                          <a:pt x="14" y="251"/>
                        </a:lnTo>
                        <a:lnTo>
                          <a:pt x="8" y="235"/>
                        </a:lnTo>
                        <a:lnTo>
                          <a:pt x="4" y="217"/>
                        </a:lnTo>
                        <a:lnTo>
                          <a:pt x="2" y="199"/>
                        </a:lnTo>
                        <a:lnTo>
                          <a:pt x="0" y="181"/>
                        </a:lnTo>
                        <a:lnTo>
                          <a:pt x="0" y="181"/>
                        </a:lnTo>
                        <a:lnTo>
                          <a:pt x="2" y="163"/>
                        </a:lnTo>
                        <a:lnTo>
                          <a:pt x="4" y="146"/>
                        </a:lnTo>
                        <a:lnTo>
                          <a:pt x="8" y="128"/>
                        </a:lnTo>
                        <a:lnTo>
                          <a:pt x="14" y="112"/>
                        </a:lnTo>
                        <a:lnTo>
                          <a:pt x="22" y="96"/>
                        </a:lnTo>
                        <a:lnTo>
                          <a:pt x="32" y="80"/>
                        </a:lnTo>
                        <a:lnTo>
                          <a:pt x="42" y="66"/>
                        </a:lnTo>
                        <a:lnTo>
                          <a:pt x="52" y="54"/>
                        </a:lnTo>
                        <a:lnTo>
                          <a:pt x="66" y="42"/>
                        </a:lnTo>
                        <a:lnTo>
                          <a:pt x="78" y="32"/>
                        </a:lnTo>
                        <a:lnTo>
                          <a:pt x="94" y="22"/>
                        </a:lnTo>
                        <a:lnTo>
                          <a:pt x="108" y="14"/>
                        </a:lnTo>
                        <a:lnTo>
                          <a:pt x="123" y="8"/>
                        </a:lnTo>
                        <a:lnTo>
                          <a:pt x="141" y="4"/>
                        </a:lnTo>
                        <a:lnTo>
                          <a:pt x="159" y="2"/>
                        </a:lnTo>
                        <a:lnTo>
                          <a:pt x="177" y="0"/>
                        </a:lnTo>
                        <a:lnTo>
                          <a:pt x="177" y="0"/>
                        </a:lnTo>
                        <a:lnTo>
                          <a:pt x="195" y="2"/>
                        </a:lnTo>
                        <a:lnTo>
                          <a:pt x="211" y="4"/>
                        </a:lnTo>
                        <a:lnTo>
                          <a:pt x="229" y="8"/>
                        </a:lnTo>
                        <a:lnTo>
                          <a:pt x="245" y="14"/>
                        </a:lnTo>
                        <a:lnTo>
                          <a:pt x="261" y="22"/>
                        </a:lnTo>
                        <a:lnTo>
                          <a:pt x="275" y="32"/>
                        </a:lnTo>
                        <a:lnTo>
                          <a:pt x="289" y="42"/>
                        </a:lnTo>
                        <a:lnTo>
                          <a:pt x="301" y="54"/>
                        </a:lnTo>
                        <a:lnTo>
                          <a:pt x="313" y="66"/>
                        </a:lnTo>
                        <a:lnTo>
                          <a:pt x="323" y="80"/>
                        </a:lnTo>
                        <a:lnTo>
                          <a:pt x="331" y="96"/>
                        </a:lnTo>
                        <a:lnTo>
                          <a:pt x="339" y="112"/>
                        </a:lnTo>
                        <a:lnTo>
                          <a:pt x="345" y="128"/>
                        </a:lnTo>
                        <a:lnTo>
                          <a:pt x="349" y="146"/>
                        </a:lnTo>
                        <a:lnTo>
                          <a:pt x="351" y="163"/>
                        </a:lnTo>
                        <a:lnTo>
                          <a:pt x="353" y="181"/>
                        </a:lnTo>
                        <a:lnTo>
                          <a:pt x="353" y="18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p>
                    <a:endParaRPr lang="zh-CN" altLang="en-US"/>
                  </a:p>
                </p:txBody>
              </p:sp>
            </p:grpSp>
            <p:sp>
              <p:nvSpPr>
                <p:cNvPr id="71" name="文本框 70"/>
                <p:cNvSpPr txBox="1"/>
                <p:nvPr/>
              </p:nvSpPr>
              <p:spPr>
                <a:xfrm>
                  <a:off x="8829" y="9274"/>
                  <a:ext cx="1952" cy="6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p>
                  <a:r>
                    <a:rPr lang="en-US" altLang="zh-CN" sz="2400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 </a:t>
                  </a:r>
                  <a:r>
                    <a:rPr lang="zh-CN" altLang="en-US" sz="2400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学习者</a:t>
                  </a:r>
                  <a:endParaRPr lang="zh-CN" altLang="en-US" sz="2400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sp>
            <p:nvSpPr>
              <p:cNvPr id="72" name="relativity-formulae_71039"/>
              <p:cNvSpPr>
                <a:spLocks noChangeAspect="1"/>
              </p:cNvSpPr>
              <p:nvPr/>
            </p:nvSpPr>
            <p:spPr bwMode="auto">
              <a:xfrm>
                <a:off x="7179" y="15598"/>
                <a:ext cx="904" cy="960"/>
              </a:xfrm>
              <a:custGeom>
                <a:avLst/>
                <a:gdLst>
                  <a:gd name="connsiteX0" fmla="*/ 20290 w 572003"/>
                  <a:gd name="connsiteY0" fmla="*/ 536792 h 607851"/>
                  <a:gd name="connsiteX1" fmla="*/ 454216 w 572003"/>
                  <a:gd name="connsiteY1" fmla="*/ 536792 h 607851"/>
                  <a:gd name="connsiteX2" fmla="*/ 491514 w 572003"/>
                  <a:gd name="connsiteY2" fmla="*/ 536792 h 607851"/>
                  <a:gd name="connsiteX3" fmla="*/ 551713 w 572003"/>
                  <a:gd name="connsiteY3" fmla="*/ 536792 h 607851"/>
                  <a:gd name="connsiteX4" fmla="*/ 572003 w 572003"/>
                  <a:gd name="connsiteY4" fmla="*/ 557126 h 607851"/>
                  <a:gd name="connsiteX5" fmla="*/ 572003 w 572003"/>
                  <a:gd name="connsiteY5" fmla="*/ 587591 h 607851"/>
                  <a:gd name="connsiteX6" fmla="*/ 551713 w 572003"/>
                  <a:gd name="connsiteY6" fmla="*/ 607851 h 607851"/>
                  <a:gd name="connsiteX7" fmla="*/ 20290 w 572003"/>
                  <a:gd name="connsiteY7" fmla="*/ 607851 h 607851"/>
                  <a:gd name="connsiteX8" fmla="*/ 0 w 572003"/>
                  <a:gd name="connsiteY8" fmla="*/ 587591 h 607851"/>
                  <a:gd name="connsiteX9" fmla="*/ 0 w 572003"/>
                  <a:gd name="connsiteY9" fmla="*/ 557126 h 607851"/>
                  <a:gd name="connsiteX10" fmla="*/ 20290 w 572003"/>
                  <a:gd name="connsiteY10" fmla="*/ 536792 h 607851"/>
                  <a:gd name="connsiteX11" fmla="*/ 279862 w 572003"/>
                  <a:gd name="connsiteY11" fmla="*/ 362989 h 607851"/>
                  <a:gd name="connsiteX12" fmla="*/ 298985 w 572003"/>
                  <a:gd name="connsiteY12" fmla="*/ 382077 h 607851"/>
                  <a:gd name="connsiteX13" fmla="*/ 279862 w 572003"/>
                  <a:gd name="connsiteY13" fmla="*/ 401165 h 607851"/>
                  <a:gd name="connsiteX14" fmla="*/ 260739 w 572003"/>
                  <a:gd name="connsiteY14" fmla="*/ 382077 h 607851"/>
                  <a:gd name="connsiteX15" fmla="*/ 279862 w 572003"/>
                  <a:gd name="connsiteY15" fmla="*/ 362989 h 607851"/>
                  <a:gd name="connsiteX16" fmla="*/ 204110 w 572003"/>
                  <a:gd name="connsiteY16" fmla="*/ 297927 h 607851"/>
                  <a:gd name="connsiteX17" fmla="*/ 236323 w 572003"/>
                  <a:gd name="connsiteY17" fmla="*/ 330105 h 607851"/>
                  <a:gd name="connsiteX18" fmla="*/ 204110 w 572003"/>
                  <a:gd name="connsiteY18" fmla="*/ 362283 h 607851"/>
                  <a:gd name="connsiteX19" fmla="*/ 171897 w 572003"/>
                  <a:gd name="connsiteY19" fmla="*/ 330105 h 607851"/>
                  <a:gd name="connsiteX20" fmla="*/ 204110 w 572003"/>
                  <a:gd name="connsiteY20" fmla="*/ 297927 h 607851"/>
                  <a:gd name="connsiteX21" fmla="*/ 90238 w 572003"/>
                  <a:gd name="connsiteY21" fmla="*/ 242388 h 607851"/>
                  <a:gd name="connsiteX22" fmla="*/ 67708 w 572003"/>
                  <a:gd name="connsiteY22" fmla="*/ 320155 h 607851"/>
                  <a:gd name="connsiteX23" fmla="*/ 213330 w 572003"/>
                  <a:gd name="connsiteY23" fmla="*/ 465558 h 607851"/>
                  <a:gd name="connsiteX24" fmla="*/ 358877 w 572003"/>
                  <a:gd name="connsiteY24" fmla="*/ 320155 h 607851"/>
                  <a:gd name="connsiteX25" fmla="*/ 336347 w 572003"/>
                  <a:gd name="connsiteY25" fmla="*/ 242388 h 607851"/>
                  <a:gd name="connsiteX26" fmla="*/ 472868 w 572003"/>
                  <a:gd name="connsiteY26" fmla="*/ 0 h 607851"/>
                  <a:gd name="connsiteX27" fmla="*/ 491518 w 572003"/>
                  <a:gd name="connsiteY27" fmla="*/ 18622 h 607851"/>
                  <a:gd name="connsiteX28" fmla="*/ 491518 w 572003"/>
                  <a:gd name="connsiteY28" fmla="*/ 92665 h 607851"/>
                  <a:gd name="connsiteX29" fmla="*/ 511437 w 572003"/>
                  <a:gd name="connsiteY29" fmla="*/ 92665 h 607851"/>
                  <a:gd name="connsiteX30" fmla="*/ 530087 w 572003"/>
                  <a:gd name="connsiteY30" fmla="*/ 111287 h 607851"/>
                  <a:gd name="connsiteX31" fmla="*/ 511437 w 572003"/>
                  <a:gd name="connsiteY31" fmla="*/ 129835 h 607851"/>
                  <a:gd name="connsiteX32" fmla="*/ 491518 w 572003"/>
                  <a:gd name="connsiteY32" fmla="*/ 129835 h 607851"/>
                  <a:gd name="connsiteX33" fmla="*/ 491518 w 572003"/>
                  <a:gd name="connsiteY33" fmla="*/ 506378 h 607851"/>
                  <a:gd name="connsiteX34" fmla="*/ 454217 w 572003"/>
                  <a:gd name="connsiteY34" fmla="*/ 506378 h 607851"/>
                  <a:gd name="connsiteX35" fmla="*/ 454217 w 572003"/>
                  <a:gd name="connsiteY35" fmla="*/ 129835 h 607851"/>
                  <a:gd name="connsiteX36" fmla="*/ 304194 w 572003"/>
                  <a:gd name="connsiteY36" fmla="*/ 129835 h 607851"/>
                  <a:gd name="connsiteX37" fmla="*/ 272041 w 572003"/>
                  <a:gd name="connsiteY37" fmla="*/ 129835 h 607851"/>
                  <a:gd name="connsiteX38" fmla="*/ 272041 w 572003"/>
                  <a:gd name="connsiteY38" fmla="*/ 133336 h 607851"/>
                  <a:gd name="connsiteX39" fmla="*/ 272041 w 572003"/>
                  <a:gd name="connsiteY39" fmla="*/ 149425 h 607851"/>
                  <a:gd name="connsiteX40" fmla="*/ 392149 w 572003"/>
                  <a:gd name="connsiteY40" fmla="*/ 318218 h 607851"/>
                  <a:gd name="connsiteX41" fmla="*/ 213330 w 572003"/>
                  <a:gd name="connsiteY41" fmla="*/ 496843 h 607851"/>
                  <a:gd name="connsiteX42" fmla="*/ 34436 w 572003"/>
                  <a:gd name="connsiteY42" fmla="*/ 318218 h 607851"/>
                  <a:gd name="connsiteX43" fmla="*/ 154544 w 572003"/>
                  <a:gd name="connsiteY43" fmla="*/ 149425 h 607851"/>
                  <a:gd name="connsiteX44" fmla="*/ 154544 w 572003"/>
                  <a:gd name="connsiteY44" fmla="*/ 133410 h 607851"/>
                  <a:gd name="connsiteX45" fmla="*/ 154544 w 572003"/>
                  <a:gd name="connsiteY45" fmla="*/ 129835 h 607851"/>
                  <a:gd name="connsiteX46" fmla="*/ 122391 w 572003"/>
                  <a:gd name="connsiteY46" fmla="*/ 129835 h 607851"/>
                  <a:gd name="connsiteX47" fmla="*/ 121272 w 572003"/>
                  <a:gd name="connsiteY47" fmla="*/ 129835 h 607851"/>
                  <a:gd name="connsiteX48" fmla="*/ 102622 w 572003"/>
                  <a:gd name="connsiteY48" fmla="*/ 111287 h 607851"/>
                  <a:gd name="connsiteX49" fmla="*/ 121272 w 572003"/>
                  <a:gd name="connsiteY49" fmla="*/ 92665 h 607851"/>
                  <a:gd name="connsiteX50" fmla="*/ 154544 w 572003"/>
                  <a:gd name="connsiteY50" fmla="*/ 92665 h 607851"/>
                  <a:gd name="connsiteX51" fmla="*/ 154544 w 572003"/>
                  <a:gd name="connsiteY51" fmla="*/ 73297 h 607851"/>
                  <a:gd name="connsiteX52" fmla="*/ 148800 w 572003"/>
                  <a:gd name="connsiteY52" fmla="*/ 73297 h 607851"/>
                  <a:gd name="connsiteX53" fmla="*/ 128434 w 572003"/>
                  <a:gd name="connsiteY53" fmla="*/ 52962 h 607851"/>
                  <a:gd name="connsiteX54" fmla="*/ 128434 w 572003"/>
                  <a:gd name="connsiteY54" fmla="*/ 38883 h 607851"/>
                  <a:gd name="connsiteX55" fmla="*/ 148800 w 572003"/>
                  <a:gd name="connsiteY55" fmla="*/ 18622 h 607851"/>
                  <a:gd name="connsiteX56" fmla="*/ 277785 w 572003"/>
                  <a:gd name="connsiteY56" fmla="*/ 18622 h 607851"/>
                  <a:gd name="connsiteX57" fmla="*/ 298152 w 572003"/>
                  <a:gd name="connsiteY57" fmla="*/ 38883 h 607851"/>
                  <a:gd name="connsiteX58" fmla="*/ 298152 w 572003"/>
                  <a:gd name="connsiteY58" fmla="*/ 52962 h 607851"/>
                  <a:gd name="connsiteX59" fmla="*/ 277785 w 572003"/>
                  <a:gd name="connsiteY59" fmla="*/ 73297 h 607851"/>
                  <a:gd name="connsiteX60" fmla="*/ 272041 w 572003"/>
                  <a:gd name="connsiteY60" fmla="*/ 73297 h 607851"/>
                  <a:gd name="connsiteX61" fmla="*/ 272041 w 572003"/>
                  <a:gd name="connsiteY61" fmla="*/ 92665 h 607851"/>
                  <a:gd name="connsiteX62" fmla="*/ 454217 w 572003"/>
                  <a:gd name="connsiteY62" fmla="*/ 92665 h 607851"/>
                  <a:gd name="connsiteX63" fmla="*/ 454217 w 572003"/>
                  <a:gd name="connsiteY63" fmla="*/ 18622 h 607851"/>
                  <a:gd name="connsiteX64" fmla="*/ 472868 w 572003"/>
                  <a:gd name="connsiteY64" fmla="*/ 0 h 60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572003" h="607851">
                    <a:moveTo>
                      <a:pt x="20290" y="536792"/>
                    </a:moveTo>
                    <a:lnTo>
                      <a:pt x="454216" y="536792"/>
                    </a:lnTo>
                    <a:lnTo>
                      <a:pt x="491514" y="536792"/>
                    </a:lnTo>
                    <a:lnTo>
                      <a:pt x="551713" y="536792"/>
                    </a:lnTo>
                    <a:cubicBezTo>
                      <a:pt x="562977" y="536792"/>
                      <a:pt x="572003" y="545879"/>
                      <a:pt x="572003" y="557126"/>
                    </a:cubicBezTo>
                    <a:lnTo>
                      <a:pt x="572003" y="587591"/>
                    </a:lnTo>
                    <a:cubicBezTo>
                      <a:pt x="572003" y="598764"/>
                      <a:pt x="562977" y="607851"/>
                      <a:pt x="551713" y="607851"/>
                    </a:cubicBezTo>
                    <a:lnTo>
                      <a:pt x="20290" y="607851"/>
                    </a:lnTo>
                    <a:cubicBezTo>
                      <a:pt x="9026" y="607851"/>
                      <a:pt x="0" y="598764"/>
                      <a:pt x="0" y="587591"/>
                    </a:cubicBezTo>
                    <a:lnTo>
                      <a:pt x="0" y="557126"/>
                    </a:lnTo>
                    <a:cubicBezTo>
                      <a:pt x="0" y="545879"/>
                      <a:pt x="9026" y="536792"/>
                      <a:pt x="20290" y="536792"/>
                    </a:cubicBezTo>
                    <a:close/>
                    <a:moveTo>
                      <a:pt x="279862" y="362989"/>
                    </a:moveTo>
                    <a:cubicBezTo>
                      <a:pt x="290423" y="362989"/>
                      <a:pt x="298985" y="371535"/>
                      <a:pt x="298985" y="382077"/>
                    </a:cubicBezTo>
                    <a:cubicBezTo>
                      <a:pt x="298985" y="392619"/>
                      <a:pt x="290423" y="401165"/>
                      <a:pt x="279862" y="401165"/>
                    </a:cubicBezTo>
                    <a:cubicBezTo>
                      <a:pt x="269301" y="401165"/>
                      <a:pt x="260739" y="392619"/>
                      <a:pt x="260739" y="382077"/>
                    </a:cubicBezTo>
                    <a:cubicBezTo>
                      <a:pt x="260739" y="371535"/>
                      <a:pt x="269301" y="362989"/>
                      <a:pt x="279862" y="362989"/>
                    </a:cubicBezTo>
                    <a:close/>
                    <a:moveTo>
                      <a:pt x="204110" y="297927"/>
                    </a:moveTo>
                    <a:cubicBezTo>
                      <a:pt x="221901" y="297927"/>
                      <a:pt x="236323" y="312334"/>
                      <a:pt x="236323" y="330105"/>
                    </a:cubicBezTo>
                    <a:cubicBezTo>
                      <a:pt x="236323" y="347876"/>
                      <a:pt x="221901" y="362283"/>
                      <a:pt x="204110" y="362283"/>
                    </a:cubicBezTo>
                    <a:cubicBezTo>
                      <a:pt x="186319" y="362283"/>
                      <a:pt x="171897" y="347876"/>
                      <a:pt x="171897" y="330105"/>
                    </a:cubicBezTo>
                    <a:cubicBezTo>
                      <a:pt x="171897" y="312334"/>
                      <a:pt x="186319" y="297927"/>
                      <a:pt x="204110" y="297927"/>
                    </a:cubicBezTo>
                    <a:close/>
                    <a:moveTo>
                      <a:pt x="90238" y="242388"/>
                    </a:moveTo>
                    <a:cubicBezTo>
                      <a:pt x="75914" y="264884"/>
                      <a:pt x="67708" y="291551"/>
                      <a:pt x="67708" y="320155"/>
                    </a:cubicBezTo>
                    <a:cubicBezTo>
                      <a:pt x="67708" y="400454"/>
                      <a:pt x="132910" y="465558"/>
                      <a:pt x="213330" y="465558"/>
                    </a:cubicBezTo>
                    <a:cubicBezTo>
                      <a:pt x="293675" y="465558"/>
                      <a:pt x="358877" y="400454"/>
                      <a:pt x="358877" y="320155"/>
                    </a:cubicBezTo>
                    <a:cubicBezTo>
                      <a:pt x="358877" y="291551"/>
                      <a:pt x="350671" y="264884"/>
                      <a:pt x="336347" y="242388"/>
                    </a:cubicBezTo>
                    <a:close/>
                    <a:moveTo>
                      <a:pt x="472868" y="0"/>
                    </a:moveTo>
                    <a:cubicBezTo>
                      <a:pt x="483163" y="0"/>
                      <a:pt x="491518" y="8343"/>
                      <a:pt x="491518" y="18622"/>
                    </a:cubicBezTo>
                    <a:lnTo>
                      <a:pt x="491518" y="92665"/>
                    </a:lnTo>
                    <a:lnTo>
                      <a:pt x="511437" y="92665"/>
                    </a:lnTo>
                    <a:cubicBezTo>
                      <a:pt x="521732" y="92665"/>
                      <a:pt x="530087" y="101007"/>
                      <a:pt x="530087" y="111287"/>
                    </a:cubicBezTo>
                    <a:cubicBezTo>
                      <a:pt x="530087" y="121492"/>
                      <a:pt x="521732" y="129835"/>
                      <a:pt x="511437" y="129835"/>
                    </a:cubicBezTo>
                    <a:lnTo>
                      <a:pt x="491518" y="129835"/>
                    </a:lnTo>
                    <a:lnTo>
                      <a:pt x="491518" y="506378"/>
                    </a:lnTo>
                    <a:lnTo>
                      <a:pt x="454217" y="506378"/>
                    </a:lnTo>
                    <a:lnTo>
                      <a:pt x="454217" y="129835"/>
                    </a:lnTo>
                    <a:lnTo>
                      <a:pt x="304194" y="129835"/>
                    </a:lnTo>
                    <a:lnTo>
                      <a:pt x="272041" y="129835"/>
                    </a:lnTo>
                    <a:lnTo>
                      <a:pt x="272041" y="133336"/>
                    </a:lnTo>
                    <a:lnTo>
                      <a:pt x="272041" y="149425"/>
                    </a:lnTo>
                    <a:cubicBezTo>
                      <a:pt x="342017" y="173709"/>
                      <a:pt x="392149" y="240079"/>
                      <a:pt x="392149" y="318218"/>
                    </a:cubicBezTo>
                    <a:cubicBezTo>
                      <a:pt x="392149" y="416842"/>
                      <a:pt x="312102" y="496843"/>
                      <a:pt x="213330" y="496843"/>
                    </a:cubicBezTo>
                    <a:cubicBezTo>
                      <a:pt x="114483" y="496843"/>
                      <a:pt x="34436" y="416842"/>
                      <a:pt x="34436" y="318218"/>
                    </a:cubicBezTo>
                    <a:cubicBezTo>
                      <a:pt x="34436" y="240079"/>
                      <a:pt x="84568" y="173709"/>
                      <a:pt x="154544" y="149425"/>
                    </a:cubicBezTo>
                    <a:lnTo>
                      <a:pt x="154544" y="133410"/>
                    </a:lnTo>
                    <a:lnTo>
                      <a:pt x="154544" y="129835"/>
                    </a:lnTo>
                    <a:lnTo>
                      <a:pt x="122391" y="129835"/>
                    </a:lnTo>
                    <a:lnTo>
                      <a:pt x="121272" y="129835"/>
                    </a:lnTo>
                    <a:cubicBezTo>
                      <a:pt x="110977" y="129835"/>
                      <a:pt x="102622" y="121492"/>
                      <a:pt x="102622" y="111287"/>
                    </a:cubicBezTo>
                    <a:cubicBezTo>
                      <a:pt x="102622" y="101007"/>
                      <a:pt x="110977" y="92665"/>
                      <a:pt x="121272" y="92665"/>
                    </a:cubicBezTo>
                    <a:lnTo>
                      <a:pt x="154544" y="92665"/>
                    </a:lnTo>
                    <a:lnTo>
                      <a:pt x="154544" y="73297"/>
                    </a:lnTo>
                    <a:lnTo>
                      <a:pt x="148800" y="73297"/>
                    </a:lnTo>
                    <a:cubicBezTo>
                      <a:pt x="137535" y="73297"/>
                      <a:pt x="128434" y="64210"/>
                      <a:pt x="128434" y="52962"/>
                    </a:cubicBezTo>
                    <a:lnTo>
                      <a:pt x="128434" y="38883"/>
                    </a:lnTo>
                    <a:cubicBezTo>
                      <a:pt x="128434" y="27636"/>
                      <a:pt x="137535" y="18622"/>
                      <a:pt x="148800" y="18622"/>
                    </a:cubicBezTo>
                    <a:lnTo>
                      <a:pt x="277785" y="18622"/>
                    </a:lnTo>
                    <a:cubicBezTo>
                      <a:pt x="289050" y="18622"/>
                      <a:pt x="298152" y="27636"/>
                      <a:pt x="298152" y="38883"/>
                    </a:cubicBezTo>
                    <a:lnTo>
                      <a:pt x="298152" y="52962"/>
                    </a:lnTo>
                    <a:cubicBezTo>
                      <a:pt x="298152" y="64210"/>
                      <a:pt x="289050" y="73297"/>
                      <a:pt x="277785" y="73297"/>
                    </a:cubicBezTo>
                    <a:lnTo>
                      <a:pt x="272041" y="73297"/>
                    </a:lnTo>
                    <a:lnTo>
                      <a:pt x="272041" y="92665"/>
                    </a:lnTo>
                    <a:lnTo>
                      <a:pt x="454217" y="92665"/>
                    </a:lnTo>
                    <a:lnTo>
                      <a:pt x="454217" y="18622"/>
                    </a:lnTo>
                    <a:cubicBezTo>
                      <a:pt x="454217" y="8343"/>
                      <a:pt x="462573" y="0"/>
                      <a:pt x="472868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</p:sp>
          <p:sp>
            <p:nvSpPr>
              <p:cNvPr id="73" name="relativity-formulae_71039"/>
              <p:cNvSpPr>
                <a:spLocks noChangeAspect="1"/>
              </p:cNvSpPr>
              <p:nvPr/>
            </p:nvSpPr>
            <p:spPr bwMode="auto">
              <a:xfrm>
                <a:off x="6951" y="14329"/>
                <a:ext cx="960" cy="588"/>
              </a:xfrm>
              <a:custGeom>
                <a:avLst/>
                <a:gdLst>
                  <a:gd name="T0" fmla="*/ 3334 w 3736"/>
                  <a:gd name="T1" fmla="*/ 67 h 2290"/>
                  <a:gd name="T2" fmla="*/ 3400 w 3736"/>
                  <a:gd name="T3" fmla="*/ 268 h 2290"/>
                  <a:gd name="T4" fmla="*/ 3468 w 3736"/>
                  <a:gd name="T5" fmla="*/ 200 h 2290"/>
                  <a:gd name="T6" fmla="*/ 3601 w 3736"/>
                  <a:gd name="T7" fmla="*/ 134 h 2290"/>
                  <a:gd name="T8" fmla="*/ 3371 w 3736"/>
                  <a:gd name="T9" fmla="*/ 407 h 2290"/>
                  <a:gd name="T10" fmla="*/ 3333 w 3736"/>
                  <a:gd name="T11" fmla="*/ 600 h 2290"/>
                  <a:gd name="T12" fmla="*/ 3401 w 3736"/>
                  <a:gd name="T13" fmla="*/ 667 h 2290"/>
                  <a:gd name="T14" fmla="*/ 3735 w 3736"/>
                  <a:gd name="T15" fmla="*/ 601 h 2290"/>
                  <a:gd name="T16" fmla="*/ 3668 w 3736"/>
                  <a:gd name="T17" fmla="*/ 534 h 2290"/>
                  <a:gd name="T18" fmla="*/ 3467 w 3736"/>
                  <a:gd name="T19" fmla="*/ 509 h 2290"/>
                  <a:gd name="T20" fmla="*/ 3734 w 3736"/>
                  <a:gd name="T21" fmla="*/ 334 h 2290"/>
                  <a:gd name="T22" fmla="*/ 3668 w 3736"/>
                  <a:gd name="T23" fmla="*/ 0 h 2290"/>
                  <a:gd name="T24" fmla="*/ 3401 w 3736"/>
                  <a:gd name="T25" fmla="*/ 0 h 2290"/>
                  <a:gd name="T26" fmla="*/ 1 w 3736"/>
                  <a:gd name="T27" fmla="*/ 867 h 2290"/>
                  <a:gd name="T28" fmla="*/ 67 w 3736"/>
                  <a:gd name="T29" fmla="*/ 2268 h 2290"/>
                  <a:gd name="T30" fmla="*/ 68 w 3736"/>
                  <a:gd name="T31" fmla="*/ 2268 h 2290"/>
                  <a:gd name="T32" fmla="*/ 468 w 3736"/>
                  <a:gd name="T33" fmla="*/ 2268 h 2290"/>
                  <a:gd name="T34" fmla="*/ 134 w 3736"/>
                  <a:gd name="T35" fmla="*/ 2135 h 2290"/>
                  <a:gd name="T36" fmla="*/ 334 w 3736"/>
                  <a:gd name="T37" fmla="*/ 1600 h 2290"/>
                  <a:gd name="T38" fmla="*/ 134 w 3736"/>
                  <a:gd name="T39" fmla="*/ 1467 h 2290"/>
                  <a:gd name="T40" fmla="*/ 468 w 3736"/>
                  <a:gd name="T41" fmla="*/ 933 h 2290"/>
                  <a:gd name="T42" fmla="*/ 68 w 3736"/>
                  <a:gd name="T43" fmla="*/ 799 h 2290"/>
                  <a:gd name="T44" fmla="*/ 67 w 3736"/>
                  <a:gd name="T45" fmla="*/ 799 h 2290"/>
                  <a:gd name="T46" fmla="*/ 1400 w 3736"/>
                  <a:gd name="T47" fmla="*/ 799 h 2290"/>
                  <a:gd name="T48" fmla="*/ 1334 w 3736"/>
                  <a:gd name="T49" fmla="*/ 2200 h 2290"/>
                  <a:gd name="T50" fmla="*/ 1468 w 3736"/>
                  <a:gd name="T51" fmla="*/ 2202 h 2290"/>
                  <a:gd name="T52" fmla="*/ 1468 w 3736"/>
                  <a:gd name="T53" fmla="*/ 933 h 2290"/>
                  <a:gd name="T54" fmla="*/ 1877 w 3736"/>
                  <a:gd name="T55" fmla="*/ 1568 h 2290"/>
                  <a:gd name="T56" fmla="*/ 1996 w 3736"/>
                  <a:gd name="T57" fmla="*/ 1560 h 2290"/>
                  <a:gd name="T58" fmla="*/ 2401 w 3736"/>
                  <a:gd name="T59" fmla="*/ 933 h 2290"/>
                  <a:gd name="T60" fmla="*/ 2534 w 3736"/>
                  <a:gd name="T61" fmla="*/ 2199 h 2290"/>
                  <a:gd name="T62" fmla="*/ 2468 w 3736"/>
                  <a:gd name="T63" fmla="*/ 799 h 2290"/>
                  <a:gd name="T64" fmla="*/ 2334 w 3736"/>
                  <a:gd name="T65" fmla="*/ 800 h 2290"/>
                  <a:gd name="T66" fmla="*/ 1934 w 3736"/>
                  <a:gd name="T67" fmla="*/ 1404 h 2290"/>
                  <a:gd name="T68" fmla="*/ 1537 w 3736"/>
                  <a:gd name="T69" fmla="*/ 800 h 2290"/>
                  <a:gd name="T70" fmla="*/ 1534 w 3736"/>
                  <a:gd name="T71" fmla="*/ 799 h 2290"/>
                  <a:gd name="T72" fmla="*/ 1401 w 3736"/>
                  <a:gd name="T73" fmla="*/ 799 h 2290"/>
                  <a:gd name="T74" fmla="*/ 1400 w 3736"/>
                  <a:gd name="T75" fmla="*/ 799 h 2290"/>
                  <a:gd name="T76" fmla="*/ 2668 w 3736"/>
                  <a:gd name="T77" fmla="*/ 867 h 2290"/>
                  <a:gd name="T78" fmla="*/ 2733 w 3736"/>
                  <a:gd name="T79" fmla="*/ 2268 h 2290"/>
                  <a:gd name="T80" fmla="*/ 2734 w 3736"/>
                  <a:gd name="T81" fmla="*/ 2268 h 2290"/>
                  <a:gd name="T82" fmla="*/ 3268 w 3736"/>
                  <a:gd name="T83" fmla="*/ 2135 h 2290"/>
                  <a:gd name="T84" fmla="*/ 2801 w 3736"/>
                  <a:gd name="T85" fmla="*/ 933 h 2290"/>
                  <a:gd name="T86" fmla="*/ 3268 w 3736"/>
                  <a:gd name="T87" fmla="*/ 799 h 2290"/>
                  <a:gd name="T88" fmla="*/ 2734 w 3736"/>
                  <a:gd name="T89" fmla="*/ 799 h 2290"/>
                  <a:gd name="T90" fmla="*/ 2733 w 3736"/>
                  <a:gd name="T91" fmla="*/ 799 h 2290"/>
                  <a:gd name="T92" fmla="*/ 667 w 3736"/>
                  <a:gd name="T93" fmla="*/ 1399 h 2290"/>
                  <a:gd name="T94" fmla="*/ 734 w 3736"/>
                  <a:gd name="T95" fmla="*/ 1467 h 2290"/>
                  <a:gd name="T96" fmla="*/ 1069 w 3736"/>
                  <a:gd name="T97" fmla="*/ 1401 h 2290"/>
                  <a:gd name="T98" fmla="*/ 1001 w 3736"/>
                  <a:gd name="T99" fmla="*/ 1334 h 2290"/>
                  <a:gd name="T100" fmla="*/ 734 w 3736"/>
                  <a:gd name="T101" fmla="*/ 1600 h 2290"/>
                  <a:gd name="T102" fmla="*/ 732 w 3736"/>
                  <a:gd name="T103" fmla="*/ 1734 h 2290"/>
                  <a:gd name="T104" fmla="*/ 1001 w 3736"/>
                  <a:gd name="T105" fmla="*/ 1734 h 2290"/>
                  <a:gd name="T106" fmla="*/ 1003 w 3736"/>
                  <a:gd name="T107" fmla="*/ 1600 h 2290"/>
                  <a:gd name="T108" fmla="*/ 734 w 3736"/>
                  <a:gd name="T109" fmla="*/ 1600 h 2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36" h="2290">
                    <a:moveTo>
                      <a:pt x="3401" y="0"/>
                    </a:moveTo>
                    <a:cubicBezTo>
                      <a:pt x="3364" y="0"/>
                      <a:pt x="3334" y="30"/>
                      <a:pt x="3334" y="67"/>
                    </a:cubicBezTo>
                    <a:lnTo>
                      <a:pt x="3334" y="200"/>
                    </a:lnTo>
                    <a:cubicBezTo>
                      <a:pt x="3334" y="237"/>
                      <a:pt x="3363" y="267"/>
                      <a:pt x="3400" y="268"/>
                    </a:cubicBezTo>
                    <a:cubicBezTo>
                      <a:pt x="3437" y="268"/>
                      <a:pt x="3467" y="239"/>
                      <a:pt x="3468" y="202"/>
                    </a:cubicBezTo>
                    <a:cubicBezTo>
                      <a:pt x="3468" y="202"/>
                      <a:pt x="3468" y="201"/>
                      <a:pt x="3468" y="200"/>
                    </a:cubicBezTo>
                    <a:lnTo>
                      <a:pt x="3468" y="134"/>
                    </a:lnTo>
                    <a:lnTo>
                      <a:pt x="3601" y="134"/>
                    </a:lnTo>
                    <a:lnTo>
                      <a:pt x="3601" y="292"/>
                    </a:lnTo>
                    <a:lnTo>
                      <a:pt x="3371" y="407"/>
                    </a:lnTo>
                    <a:cubicBezTo>
                      <a:pt x="3348" y="418"/>
                      <a:pt x="3334" y="441"/>
                      <a:pt x="3333" y="467"/>
                    </a:cubicBezTo>
                    <a:lnTo>
                      <a:pt x="3333" y="600"/>
                    </a:lnTo>
                    <a:cubicBezTo>
                      <a:pt x="3333" y="637"/>
                      <a:pt x="3363" y="667"/>
                      <a:pt x="3400" y="667"/>
                    </a:cubicBezTo>
                    <a:lnTo>
                      <a:pt x="3401" y="667"/>
                    </a:lnTo>
                    <a:lnTo>
                      <a:pt x="3668" y="667"/>
                    </a:lnTo>
                    <a:cubicBezTo>
                      <a:pt x="3704" y="667"/>
                      <a:pt x="3735" y="638"/>
                      <a:pt x="3735" y="601"/>
                    </a:cubicBezTo>
                    <a:cubicBezTo>
                      <a:pt x="3736" y="564"/>
                      <a:pt x="3706" y="534"/>
                      <a:pt x="3670" y="534"/>
                    </a:cubicBezTo>
                    <a:cubicBezTo>
                      <a:pt x="3669" y="534"/>
                      <a:pt x="3668" y="534"/>
                      <a:pt x="3668" y="534"/>
                    </a:cubicBezTo>
                    <a:lnTo>
                      <a:pt x="3467" y="534"/>
                    </a:lnTo>
                    <a:lnTo>
                      <a:pt x="3467" y="509"/>
                    </a:lnTo>
                    <a:lnTo>
                      <a:pt x="3698" y="393"/>
                    </a:lnTo>
                    <a:cubicBezTo>
                      <a:pt x="3720" y="382"/>
                      <a:pt x="3734" y="359"/>
                      <a:pt x="3734" y="334"/>
                    </a:cubicBezTo>
                    <a:lnTo>
                      <a:pt x="3734" y="67"/>
                    </a:lnTo>
                    <a:cubicBezTo>
                      <a:pt x="3734" y="30"/>
                      <a:pt x="3705" y="0"/>
                      <a:pt x="3668" y="0"/>
                    </a:cubicBezTo>
                    <a:lnTo>
                      <a:pt x="3401" y="0"/>
                    </a:lnTo>
                    <a:lnTo>
                      <a:pt x="3401" y="0"/>
                    </a:lnTo>
                    <a:close/>
                    <a:moveTo>
                      <a:pt x="67" y="799"/>
                    </a:moveTo>
                    <a:cubicBezTo>
                      <a:pt x="30" y="800"/>
                      <a:pt x="0" y="830"/>
                      <a:pt x="1" y="867"/>
                    </a:cubicBezTo>
                    <a:lnTo>
                      <a:pt x="1" y="2200"/>
                    </a:lnTo>
                    <a:cubicBezTo>
                      <a:pt x="1" y="2237"/>
                      <a:pt x="30" y="2267"/>
                      <a:pt x="67" y="2268"/>
                    </a:cubicBezTo>
                    <a:lnTo>
                      <a:pt x="68" y="2268"/>
                    </a:lnTo>
                    <a:lnTo>
                      <a:pt x="68" y="2268"/>
                    </a:lnTo>
                    <a:lnTo>
                      <a:pt x="69" y="2268"/>
                    </a:lnTo>
                    <a:lnTo>
                      <a:pt x="468" y="2268"/>
                    </a:lnTo>
                    <a:cubicBezTo>
                      <a:pt x="558" y="2269"/>
                      <a:pt x="558" y="2133"/>
                      <a:pt x="468" y="2135"/>
                    </a:cubicBezTo>
                    <a:lnTo>
                      <a:pt x="134" y="2135"/>
                    </a:lnTo>
                    <a:lnTo>
                      <a:pt x="134" y="1600"/>
                    </a:lnTo>
                    <a:lnTo>
                      <a:pt x="334" y="1600"/>
                    </a:lnTo>
                    <a:cubicBezTo>
                      <a:pt x="424" y="1602"/>
                      <a:pt x="424" y="1466"/>
                      <a:pt x="334" y="1467"/>
                    </a:cubicBezTo>
                    <a:lnTo>
                      <a:pt x="134" y="1467"/>
                    </a:lnTo>
                    <a:lnTo>
                      <a:pt x="134" y="933"/>
                    </a:lnTo>
                    <a:lnTo>
                      <a:pt x="468" y="933"/>
                    </a:lnTo>
                    <a:cubicBezTo>
                      <a:pt x="558" y="934"/>
                      <a:pt x="558" y="798"/>
                      <a:pt x="468" y="799"/>
                    </a:cubicBezTo>
                    <a:lnTo>
                      <a:pt x="68" y="799"/>
                    </a:lnTo>
                    <a:lnTo>
                      <a:pt x="68" y="799"/>
                    </a:lnTo>
                    <a:cubicBezTo>
                      <a:pt x="67" y="799"/>
                      <a:pt x="67" y="799"/>
                      <a:pt x="67" y="799"/>
                    </a:cubicBezTo>
                    <a:lnTo>
                      <a:pt x="67" y="799"/>
                    </a:lnTo>
                    <a:close/>
                    <a:moveTo>
                      <a:pt x="1400" y="799"/>
                    </a:moveTo>
                    <a:cubicBezTo>
                      <a:pt x="1363" y="800"/>
                      <a:pt x="1334" y="830"/>
                      <a:pt x="1334" y="867"/>
                    </a:cubicBezTo>
                    <a:lnTo>
                      <a:pt x="1334" y="2200"/>
                    </a:lnTo>
                    <a:cubicBezTo>
                      <a:pt x="1334" y="2237"/>
                      <a:pt x="1363" y="2267"/>
                      <a:pt x="1400" y="2268"/>
                    </a:cubicBezTo>
                    <a:cubicBezTo>
                      <a:pt x="1437" y="2268"/>
                      <a:pt x="1467" y="2239"/>
                      <a:pt x="1468" y="2202"/>
                    </a:cubicBezTo>
                    <a:cubicBezTo>
                      <a:pt x="1468" y="2202"/>
                      <a:pt x="1468" y="2201"/>
                      <a:pt x="1468" y="2200"/>
                    </a:cubicBezTo>
                    <a:lnTo>
                      <a:pt x="1468" y="933"/>
                    </a:lnTo>
                    <a:lnTo>
                      <a:pt x="1496" y="933"/>
                    </a:lnTo>
                    <a:lnTo>
                      <a:pt x="1877" y="1568"/>
                    </a:lnTo>
                    <a:cubicBezTo>
                      <a:pt x="1896" y="1600"/>
                      <a:pt x="1937" y="1611"/>
                      <a:pt x="1968" y="1592"/>
                    </a:cubicBezTo>
                    <a:cubicBezTo>
                      <a:pt x="1981" y="1585"/>
                      <a:pt x="1991" y="1573"/>
                      <a:pt x="1996" y="1560"/>
                    </a:cubicBezTo>
                    <a:lnTo>
                      <a:pt x="2373" y="933"/>
                    </a:lnTo>
                    <a:lnTo>
                      <a:pt x="2401" y="933"/>
                    </a:lnTo>
                    <a:lnTo>
                      <a:pt x="2401" y="2199"/>
                    </a:lnTo>
                    <a:cubicBezTo>
                      <a:pt x="2400" y="2290"/>
                      <a:pt x="2536" y="2290"/>
                      <a:pt x="2534" y="2199"/>
                    </a:cubicBezTo>
                    <a:lnTo>
                      <a:pt x="2534" y="866"/>
                    </a:lnTo>
                    <a:cubicBezTo>
                      <a:pt x="2534" y="829"/>
                      <a:pt x="2504" y="799"/>
                      <a:pt x="2468" y="799"/>
                    </a:cubicBezTo>
                    <a:lnTo>
                      <a:pt x="2334" y="799"/>
                    </a:lnTo>
                    <a:lnTo>
                      <a:pt x="2334" y="800"/>
                    </a:lnTo>
                    <a:cubicBezTo>
                      <a:pt x="2311" y="800"/>
                      <a:pt x="2289" y="812"/>
                      <a:pt x="2277" y="833"/>
                    </a:cubicBezTo>
                    <a:lnTo>
                      <a:pt x="1934" y="1404"/>
                    </a:lnTo>
                    <a:lnTo>
                      <a:pt x="1591" y="833"/>
                    </a:lnTo>
                    <a:cubicBezTo>
                      <a:pt x="1580" y="813"/>
                      <a:pt x="1559" y="801"/>
                      <a:pt x="1537" y="800"/>
                    </a:cubicBezTo>
                    <a:cubicBezTo>
                      <a:pt x="1536" y="800"/>
                      <a:pt x="1535" y="800"/>
                      <a:pt x="1534" y="800"/>
                    </a:cubicBezTo>
                    <a:lnTo>
                      <a:pt x="1534" y="799"/>
                    </a:lnTo>
                    <a:lnTo>
                      <a:pt x="1401" y="799"/>
                    </a:lnTo>
                    <a:lnTo>
                      <a:pt x="1401" y="799"/>
                    </a:lnTo>
                    <a:cubicBezTo>
                      <a:pt x="1401" y="799"/>
                      <a:pt x="1400" y="799"/>
                      <a:pt x="1400" y="799"/>
                    </a:cubicBezTo>
                    <a:lnTo>
                      <a:pt x="1400" y="799"/>
                    </a:lnTo>
                    <a:close/>
                    <a:moveTo>
                      <a:pt x="2733" y="799"/>
                    </a:moveTo>
                    <a:cubicBezTo>
                      <a:pt x="2697" y="800"/>
                      <a:pt x="2667" y="830"/>
                      <a:pt x="2668" y="867"/>
                    </a:cubicBezTo>
                    <a:lnTo>
                      <a:pt x="2668" y="2200"/>
                    </a:lnTo>
                    <a:cubicBezTo>
                      <a:pt x="2667" y="2237"/>
                      <a:pt x="2697" y="2267"/>
                      <a:pt x="2733" y="2268"/>
                    </a:cubicBezTo>
                    <a:lnTo>
                      <a:pt x="2734" y="2268"/>
                    </a:lnTo>
                    <a:lnTo>
                      <a:pt x="2734" y="2268"/>
                    </a:lnTo>
                    <a:lnTo>
                      <a:pt x="3268" y="2268"/>
                    </a:lnTo>
                    <a:cubicBezTo>
                      <a:pt x="3358" y="2269"/>
                      <a:pt x="3358" y="2133"/>
                      <a:pt x="3268" y="2135"/>
                    </a:cubicBezTo>
                    <a:lnTo>
                      <a:pt x="2801" y="2135"/>
                    </a:lnTo>
                    <a:lnTo>
                      <a:pt x="2801" y="933"/>
                    </a:lnTo>
                    <a:lnTo>
                      <a:pt x="3268" y="933"/>
                    </a:lnTo>
                    <a:cubicBezTo>
                      <a:pt x="3358" y="934"/>
                      <a:pt x="3358" y="798"/>
                      <a:pt x="3268" y="799"/>
                    </a:cubicBezTo>
                    <a:lnTo>
                      <a:pt x="2734" y="799"/>
                    </a:lnTo>
                    <a:lnTo>
                      <a:pt x="2734" y="799"/>
                    </a:lnTo>
                    <a:cubicBezTo>
                      <a:pt x="2734" y="799"/>
                      <a:pt x="2734" y="799"/>
                      <a:pt x="2733" y="799"/>
                    </a:cubicBezTo>
                    <a:lnTo>
                      <a:pt x="2733" y="799"/>
                    </a:lnTo>
                    <a:close/>
                    <a:moveTo>
                      <a:pt x="734" y="1334"/>
                    </a:moveTo>
                    <a:cubicBezTo>
                      <a:pt x="698" y="1333"/>
                      <a:pt x="667" y="1363"/>
                      <a:pt x="667" y="1399"/>
                    </a:cubicBezTo>
                    <a:cubicBezTo>
                      <a:pt x="666" y="1436"/>
                      <a:pt x="696" y="1466"/>
                      <a:pt x="732" y="1467"/>
                    </a:cubicBezTo>
                    <a:cubicBezTo>
                      <a:pt x="733" y="1467"/>
                      <a:pt x="734" y="1467"/>
                      <a:pt x="734" y="1467"/>
                    </a:cubicBezTo>
                    <a:lnTo>
                      <a:pt x="1001" y="1467"/>
                    </a:lnTo>
                    <a:cubicBezTo>
                      <a:pt x="1038" y="1467"/>
                      <a:pt x="1068" y="1438"/>
                      <a:pt x="1069" y="1401"/>
                    </a:cubicBezTo>
                    <a:cubicBezTo>
                      <a:pt x="1069" y="1364"/>
                      <a:pt x="1040" y="1334"/>
                      <a:pt x="1003" y="1334"/>
                    </a:cubicBezTo>
                    <a:cubicBezTo>
                      <a:pt x="1002" y="1334"/>
                      <a:pt x="1002" y="1334"/>
                      <a:pt x="1001" y="1334"/>
                    </a:cubicBezTo>
                    <a:lnTo>
                      <a:pt x="734" y="1334"/>
                    </a:lnTo>
                    <a:close/>
                    <a:moveTo>
                      <a:pt x="734" y="1600"/>
                    </a:moveTo>
                    <a:cubicBezTo>
                      <a:pt x="698" y="1600"/>
                      <a:pt x="667" y="1629"/>
                      <a:pt x="667" y="1666"/>
                    </a:cubicBezTo>
                    <a:cubicBezTo>
                      <a:pt x="666" y="1703"/>
                      <a:pt x="696" y="1733"/>
                      <a:pt x="732" y="1734"/>
                    </a:cubicBezTo>
                    <a:cubicBezTo>
                      <a:pt x="733" y="1734"/>
                      <a:pt x="734" y="1734"/>
                      <a:pt x="734" y="1734"/>
                    </a:cubicBezTo>
                    <a:lnTo>
                      <a:pt x="1001" y="1734"/>
                    </a:lnTo>
                    <a:cubicBezTo>
                      <a:pt x="1038" y="1734"/>
                      <a:pt x="1068" y="1705"/>
                      <a:pt x="1069" y="1668"/>
                    </a:cubicBezTo>
                    <a:cubicBezTo>
                      <a:pt x="1069" y="1631"/>
                      <a:pt x="1040" y="1601"/>
                      <a:pt x="1003" y="1600"/>
                    </a:cubicBezTo>
                    <a:cubicBezTo>
                      <a:pt x="1002" y="1600"/>
                      <a:pt x="1002" y="1600"/>
                      <a:pt x="1001" y="1600"/>
                    </a:cubicBezTo>
                    <a:lnTo>
                      <a:pt x="734" y="160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</p:sp>
        </p:grpSp>
        <p:sp>
          <p:nvSpPr>
            <p:cNvPr id="29" name="文本框 28"/>
            <p:cNvSpPr txBox="1"/>
            <p:nvPr/>
          </p:nvSpPr>
          <p:spPr>
            <a:xfrm>
              <a:off x="3560" y="6505"/>
              <a:ext cx="3170" cy="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学历教育</a:t>
              </a:r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学习成果</a:t>
              </a:r>
              <a:endParaRPr lang="zh-CN" altLang="en-US" sz="160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3013" y="7547"/>
              <a:ext cx="3707" cy="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非学历教育</a:t>
              </a:r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学习成果</a:t>
              </a:r>
              <a:endParaRPr lang="zh-CN" altLang="en-US" sz="160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3400" y="8708"/>
              <a:ext cx="3605" cy="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无一定形式</a:t>
              </a:r>
              <a:r>
                <a:rPr lang="zh-CN" altLang="en-US" sz="16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学习成果</a:t>
              </a:r>
              <a:endParaRPr lang="zh-CN" altLang="en-US" sz="160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48" name="Freeform 29"/>
            <p:cNvSpPr/>
            <p:nvPr/>
          </p:nvSpPr>
          <p:spPr bwMode="auto">
            <a:xfrm>
              <a:off x="8854" y="6824"/>
              <a:ext cx="607" cy="618"/>
            </a:xfrm>
            <a:custGeom>
              <a:avLst/>
              <a:gdLst>
                <a:gd name="T0" fmla="*/ 353 w 353"/>
                <a:gd name="T1" fmla="*/ 181 h 361"/>
                <a:gd name="T2" fmla="*/ 349 w 353"/>
                <a:gd name="T3" fmla="*/ 217 h 361"/>
                <a:gd name="T4" fmla="*/ 339 w 353"/>
                <a:gd name="T5" fmla="*/ 251 h 361"/>
                <a:gd name="T6" fmla="*/ 323 w 353"/>
                <a:gd name="T7" fmla="*/ 283 h 361"/>
                <a:gd name="T8" fmla="*/ 301 w 353"/>
                <a:gd name="T9" fmla="*/ 309 h 361"/>
                <a:gd name="T10" fmla="*/ 275 w 353"/>
                <a:gd name="T11" fmla="*/ 331 h 361"/>
                <a:gd name="T12" fmla="*/ 245 w 353"/>
                <a:gd name="T13" fmla="*/ 347 h 361"/>
                <a:gd name="T14" fmla="*/ 211 w 353"/>
                <a:gd name="T15" fmla="*/ 359 h 361"/>
                <a:gd name="T16" fmla="*/ 177 w 353"/>
                <a:gd name="T17" fmla="*/ 361 h 361"/>
                <a:gd name="T18" fmla="*/ 159 w 353"/>
                <a:gd name="T19" fmla="*/ 361 h 361"/>
                <a:gd name="T20" fmla="*/ 123 w 353"/>
                <a:gd name="T21" fmla="*/ 353 h 361"/>
                <a:gd name="T22" fmla="*/ 94 w 353"/>
                <a:gd name="T23" fmla="*/ 341 h 361"/>
                <a:gd name="T24" fmla="*/ 66 w 353"/>
                <a:gd name="T25" fmla="*/ 321 h 361"/>
                <a:gd name="T26" fmla="*/ 42 w 353"/>
                <a:gd name="T27" fmla="*/ 295 h 361"/>
                <a:gd name="T28" fmla="*/ 22 w 353"/>
                <a:gd name="T29" fmla="*/ 267 h 361"/>
                <a:gd name="T30" fmla="*/ 8 w 353"/>
                <a:gd name="T31" fmla="*/ 235 h 361"/>
                <a:gd name="T32" fmla="*/ 2 w 353"/>
                <a:gd name="T33" fmla="*/ 199 h 361"/>
                <a:gd name="T34" fmla="*/ 0 w 353"/>
                <a:gd name="T35" fmla="*/ 181 h 361"/>
                <a:gd name="T36" fmla="*/ 4 w 353"/>
                <a:gd name="T37" fmla="*/ 146 h 361"/>
                <a:gd name="T38" fmla="*/ 14 w 353"/>
                <a:gd name="T39" fmla="*/ 112 h 361"/>
                <a:gd name="T40" fmla="*/ 32 w 353"/>
                <a:gd name="T41" fmla="*/ 80 h 361"/>
                <a:gd name="T42" fmla="*/ 52 w 353"/>
                <a:gd name="T43" fmla="*/ 54 h 361"/>
                <a:gd name="T44" fmla="*/ 78 w 353"/>
                <a:gd name="T45" fmla="*/ 32 h 361"/>
                <a:gd name="T46" fmla="*/ 108 w 353"/>
                <a:gd name="T47" fmla="*/ 14 h 361"/>
                <a:gd name="T48" fmla="*/ 141 w 353"/>
                <a:gd name="T49" fmla="*/ 4 h 361"/>
                <a:gd name="T50" fmla="*/ 177 w 353"/>
                <a:gd name="T51" fmla="*/ 0 h 361"/>
                <a:gd name="T52" fmla="*/ 195 w 353"/>
                <a:gd name="T53" fmla="*/ 2 h 361"/>
                <a:gd name="T54" fmla="*/ 229 w 353"/>
                <a:gd name="T55" fmla="*/ 8 h 361"/>
                <a:gd name="T56" fmla="*/ 261 w 353"/>
                <a:gd name="T57" fmla="*/ 22 h 361"/>
                <a:gd name="T58" fmla="*/ 289 w 353"/>
                <a:gd name="T59" fmla="*/ 42 h 361"/>
                <a:gd name="T60" fmla="*/ 313 w 353"/>
                <a:gd name="T61" fmla="*/ 66 h 361"/>
                <a:gd name="T62" fmla="*/ 331 w 353"/>
                <a:gd name="T63" fmla="*/ 96 h 361"/>
                <a:gd name="T64" fmla="*/ 345 w 353"/>
                <a:gd name="T65" fmla="*/ 128 h 361"/>
                <a:gd name="T66" fmla="*/ 351 w 353"/>
                <a:gd name="T67" fmla="*/ 163 h 361"/>
                <a:gd name="T68" fmla="*/ 353 w 353"/>
                <a:gd name="T69" fmla="*/ 18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61">
                  <a:moveTo>
                    <a:pt x="353" y="181"/>
                  </a:moveTo>
                  <a:lnTo>
                    <a:pt x="353" y="181"/>
                  </a:lnTo>
                  <a:lnTo>
                    <a:pt x="351" y="199"/>
                  </a:lnTo>
                  <a:lnTo>
                    <a:pt x="349" y="217"/>
                  </a:lnTo>
                  <a:lnTo>
                    <a:pt x="345" y="235"/>
                  </a:lnTo>
                  <a:lnTo>
                    <a:pt x="339" y="251"/>
                  </a:lnTo>
                  <a:lnTo>
                    <a:pt x="331" y="267"/>
                  </a:lnTo>
                  <a:lnTo>
                    <a:pt x="323" y="283"/>
                  </a:lnTo>
                  <a:lnTo>
                    <a:pt x="313" y="295"/>
                  </a:lnTo>
                  <a:lnTo>
                    <a:pt x="301" y="309"/>
                  </a:lnTo>
                  <a:lnTo>
                    <a:pt x="289" y="321"/>
                  </a:lnTo>
                  <a:lnTo>
                    <a:pt x="275" y="331"/>
                  </a:lnTo>
                  <a:lnTo>
                    <a:pt x="261" y="341"/>
                  </a:lnTo>
                  <a:lnTo>
                    <a:pt x="245" y="347"/>
                  </a:lnTo>
                  <a:lnTo>
                    <a:pt x="229" y="353"/>
                  </a:lnTo>
                  <a:lnTo>
                    <a:pt x="211" y="359"/>
                  </a:lnTo>
                  <a:lnTo>
                    <a:pt x="195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59" y="361"/>
                  </a:lnTo>
                  <a:lnTo>
                    <a:pt x="141" y="359"/>
                  </a:lnTo>
                  <a:lnTo>
                    <a:pt x="123" y="353"/>
                  </a:lnTo>
                  <a:lnTo>
                    <a:pt x="108" y="347"/>
                  </a:lnTo>
                  <a:lnTo>
                    <a:pt x="94" y="341"/>
                  </a:lnTo>
                  <a:lnTo>
                    <a:pt x="78" y="331"/>
                  </a:lnTo>
                  <a:lnTo>
                    <a:pt x="66" y="321"/>
                  </a:lnTo>
                  <a:lnTo>
                    <a:pt x="52" y="309"/>
                  </a:lnTo>
                  <a:lnTo>
                    <a:pt x="42" y="295"/>
                  </a:lnTo>
                  <a:lnTo>
                    <a:pt x="32" y="283"/>
                  </a:lnTo>
                  <a:lnTo>
                    <a:pt x="22" y="267"/>
                  </a:lnTo>
                  <a:lnTo>
                    <a:pt x="14" y="251"/>
                  </a:lnTo>
                  <a:lnTo>
                    <a:pt x="8" y="235"/>
                  </a:lnTo>
                  <a:lnTo>
                    <a:pt x="4" y="217"/>
                  </a:lnTo>
                  <a:lnTo>
                    <a:pt x="2" y="19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2" y="163"/>
                  </a:lnTo>
                  <a:lnTo>
                    <a:pt x="4" y="146"/>
                  </a:lnTo>
                  <a:lnTo>
                    <a:pt x="8" y="128"/>
                  </a:lnTo>
                  <a:lnTo>
                    <a:pt x="14" y="112"/>
                  </a:lnTo>
                  <a:lnTo>
                    <a:pt x="22" y="96"/>
                  </a:lnTo>
                  <a:lnTo>
                    <a:pt x="32" y="80"/>
                  </a:lnTo>
                  <a:lnTo>
                    <a:pt x="42" y="66"/>
                  </a:lnTo>
                  <a:lnTo>
                    <a:pt x="52" y="54"/>
                  </a:lnTo>
                  <a:lnTo>
                    <a:pt x="66" y="42"/>
                  </a:lnTo>
                  <a:lnTo>
                    <a:pt x="78" y="32"/>
                  </a:lnTo>
                  <a:lnTo>
                    <a:pt x="94" y="22"/>
                  </a:lnTo>
                  <a:lnTo>
                    <a:pt x="108" y="14"/>
                  </a:lnTo>
                  <a:lnTo>
                    <a:pt x="123" y="8"/>
                  </a:lnTo>
                  <a:lnTo>
                    <a:pt x="141" y="4"/>
                  </a:lnTo>
                  <a:lnTo>
                    <a:pt x="159" y="2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95" y="2"/>
                  </a:lnTo>
                  <a:lnTo>
                    <a:pt x="211" y="4"/>
                  </a:lnTo>
                  <a:lnTo>
                    <a:pt x="229" y="8"/>
                  </a:lnTo>
                  <a:lnTo>
                    <a:pt x="245" y="14"/>
                  </a:lnTo>
                  <a:lnTo>
                    <a:pt x="261" y="22"/>
                  </a:lnTo>
                  <a:lnTo>
                    <a:pt x="275" y="32"/>
                  </a:lnTo>
                  <a:lnTo>
                    <a:pt x="289" y="42"/>
                  </a:lnTo>
                  <a:lnTo>
                    <a:pt x="301" y="54"/>
                  </a:lnTo>
                  <a:lnTo>
                    <a:pt x="313" y="66"/>
                  </a:lnTo>
                  <a:lnTo>
                    <a:pt x="323" y="80"/>
                  </a:lnTo>
                  <a:lnTo>
                    <a:pt x="331" y="96"/>
                  </a:lnTo>
                  <a:lnTo>
                    <a:pt x="339" y="112"/>
                  </a:lnTo>
                  <a:lnTo>
                    <a:pt x="345" y="128"/>
                  </a:lnTo>
                  <a:lnTo>
                    <a:pt x="349" y="146"/>
                  </a:lnTo>
                  <a:lnTo>
                    <a:pt x="351" y="163"/>
                  </a:lnTo>
                  <a:lnTo>
                    <a:pt x="353" y="181"/>
                  </a:lnTo>
                  <a:lnTo>
                    <a:pt x="353" y="181"/>
                  </a:lnTo>
                  <a:close/>
                </a:path>
              </a:pathLst>
            </a:custGeom>
            <a:solidFill>
              <a:srgbClr val="1EB9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54" name="iconfont-11415-4630730"/>
            <p:cNvSpPr>
              <a:spLocks noChangeAspect="1"/>
            </p:cNvSpPr>
            <p:nvPr/>
          </p:nvSpPr>
          <p:spPr bwMode="auto">
            <a:xfrm>
              <a:off x="7542" y="6025"/>
              <a:ext cx="680" cy="960"/>
            </a:xfrm>
            <a:custGeom>
              <a:avLst/>
              <a:gdLst>
                <a:gd name="T0" fmla="*/ 1973 w 1985"/>
                <a:gd name="T1" fmla="*/ 439 h 2806"/>
                <a:gd name="T2" fmla="*/ 1546 w 1985"/>
                <a:gd name="T3" fmla="*/ 11 h 2806"/>
                <a:gd name="T4" fmla="*/ 1505 w 1985"/>
                <a:gd name="T5" fmla="*/ 11 h 2806"/>
                <a:gd name="T6" fmla="*/ 1480 w 1985"/>
                <a:gd name="T7" fmla="*/ 37 h 2806"/>
                <a:gd name="T8" fmla="*/ 1480 w 1985"/>
                <a:gd name="T9" fmla="*/ 78 h 2806"/>
                <a:gd name="T10" fmla="*/ 1507 w 1985"/>
                <a:gd name="T11" fmla="*/ 105 h 2806"/>
                <a:gd name="T12" fmla="*/ 653 w 1985"/>
                <a:gd name="T13" fmla="*/ 958 h 2806"/>
                <a:gd name="T14" fmla="*/ 626 w 1985"/>
                <a:gd name="T15" fmla="*/ 931 h 2806"/>
                <a:gd name="T16" fmla="*/ 586 w 1985"/>
                <a:gd name="T17" fmla="*/ 931 h 2806"/>
                <a:gd name="T18" fmla="*/ 560 w 1985"/>
                <a:gd name="T19" fmla="*/ 956 h 2806"/>
                <a:gd name="T20" fmla="*/ 560 w 1985"/>
                <a:gd name="T21" fmla="*/ 997 h 2806"/>
                <a:gd name="T22" fmla="*/ 988 w 1985"/>
                <a:gd name="T23" fmla="*/ 1425 h 2806"/>
                <a:gd name="T24" fmla="*/ 1028 w 1985"/>
                <a:gd name="T25" fmla="*/ 1425 h 2806"/>
                <a:gd name="T26" fmla="*/ 1054 w 1985"/>
                <a:gd name="T27" fmla="*/ 1399 h 2806"/>
                <a:gd name="T28" fmla="*/ 1054 w 1985"/>
                <a:gd name="T29" fmla="*/ 1358 h 2806"/>
                <a:gd name="T30" fmla="*/ 1029 w 1985"/>
                <a:gd name="T31" fmla="*/ 1333 h 2806"/>
                <a:gd name="T32" fmla="*/ 1217 w 1985"/>
                <a:gd name="T33" fmla="*/ 1144 h 2806"/>
                <a:gd name="T34" fmla="*/ 1479 w 1985"/>
                <a:gd name="T35" fmla="*/ 1263 h 2806"/>
                <a:gd name="T36" fmla="*/ 1666 w 1985"/>
                <a:gd name="T37" fmla="*/ 1208 h 2806"/>
                <a:gd name="T38" fmla="*/ 1709 w 1985"/>
                <a:gd name="T39" fmla="*/ 1432 h 2806"/>
                <a:gd name="T40" fmla="*/ 1097 w 1985"/>
                <a:gd name="T41" fmla="*/ 2044 h 2806"/>
                <a:gd name="T42" fmla="*/ 1096 w 1985"/>
                <a:gd name="T43" fmla="*/ 2044 h 2806"/>
                <a:gd name="T44" fmla="*/ 555 w 1985"/>
                <a:gd name="T45" fmla="*/ 1718 h 2806"/>
                <a:gd name="T46" fmla="*/ 848 w 1985"/>
                <a:gd name="T47" fmla="*/ 1718 h 2806"/>
                <a:gd name="T48" fmla="*/ 919 w 1985"/>
                <a:gd name="T49" fmla="*/ 1647 h 2806"/>
                <a:gd name="T50" fmla="*/ 919 w 1985"/>
                <a:gd name="T51" fmla="*/ 1592 h 2806"/>
                <a:gd name="T52" fmla="*/ 848 w 1985"/>
                <a:gd name="T53" fmla="*/ 1521 h 2806"/>
                <a:gd name="T54" fmla="*/ 71 w 1985"/>
                <a:gd name="T55" fmla="*/ 1521 h 2806"/>
                <a:gd name="T56" fmla="*/ 0 w 1985"/>
                <a:gd name="T57" fmla="*/ 1592 h 2806"/>
                <a:gd name="T58" fmla="*/ 0 w 1985"/>
                <a:gd name="T59" fmla="*/ 1647 h 2806"/>
                <a:gd name="T60" fmla="*/ 71 w 1985"/>
                <a:gd name="T61" fmla="*/ 1718 h 2806"/>
                <a:gd name="T62" fmla="*/ 408 w 1985"/>
                <a:gd name="T63" fmla="*/ 1718 h 2806"/>
                <a:gd name="T64" fmla="*/ 940 w 1985"/>
                <a:gd name="T65" fmla="*/ 2160 h 2806"/>
                <a:gd name="T66" fmla="*/ 940 w 1985"/>
                <a:gd name="T67" fmla="*/ 2391 h 2806"/>
                <a:gd name="T68" fmla="*/ 423 w 1985"/>
                <a:gd name="T69" fmla="*/ 2806 h 2806"/>
                <a:gd name="T70" fmla="*/ 1814 w 1985"/>
                <a:gd name="T71" fmla="*/ 2806 h 2806"/>
                <a:gd name="T72" fmla="*/ 1296 w 1985"/>
                <a:gd name="T73" fmla="*/ 2391 h 2806"/>
                <a:gd name="T74" fmla="*/ 1296 w 1985"/>
                <a:gd name="T75" fmla="*/ 2152 h 2806"/>
                <a:gd name="T76" fmla="*/ 1290 w 1985"/>
                <a:gd name="T77" fmla="*/ 2152 h 2806"/>
                <a:gd name="T78" fmla="*/ 1842 w 1985"/>
                <a:gd name="T79" fmla="*/ 1432 h 2806"/>
                <a:gd name="T80" fmla="*/ 1769 w 1985"/>
                <a:gd name="T81" fmla="*/ 1109 h 2806"/>
                <a:gd name="T82" fmla="*/ 1829 w 1985"/>
                <a:gd name="T83" fmla="*/ 913 h 2806"/>
                <a:gd name="T84" fmla="*/ 1711 w 1985"/>
                <a:gd name="T85" fmla="*/ 651 h 2806"/>
                <a:gd name="T86" fmla="*/ 1882 w 1985"/>
                <a:gd name="T87" fmla="*/ 480 h 2806"/>
                <a:gd name="T88" fmla="*/ 1907 w 1985"/>
                <a:gd name="T89" fmla="*/ 505 h 2806"/>
                <a:gd name="T90" fmla="*/ 1948 w 1985"/>
                <a:gd name="T91" fmla="*/ 505 h 2806"/>
                <a:gd name="T92" fmla="*/ 1973 w 1985"/>
                <a:gd name="T93" fmla="*/ 480 h 2806"/>
                <a:gd name="T94" fmla="*/ 1973 w 1985"/>
                <a:gd name="T95" fmla="*/ 439 h 2806"/>
                <a:gd name="T96" fmla="*/ 1479 w 1985"/>
                <a:gd name="T97" fmla="*/ 1129 h 2806"/>
                <a:gd name="T98" fmla="*/ 1263 w 1985"/>
                <a:gd name="T99" fmla="*/ 913 h 2806"/>
                <a:gd name="T100" fmla="*/ 1479 w 1985"/>
                <a:gd name="T101" fmla="*/ 696 h 2806"/>
                <a:gd name="T102" fmla="*/ 1696 w 1985"/>
                <a:gd name="T103" fmla="*/ 913 h 2806"/>
                <a:gd name="T104" fmla="*/ 1479 w 1985"/>
                <a:gd name="T105" fmla="*/ 1129 h 2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5" h="2806">
                  <a:moveTo>
                    <a:pt x="1973" y="439"/>
                  </a:moveTo>
                  <a:lnTo>
                    <a:pt x="1546" y="11"/>
                  </a:lnTo>
                  <a:cubicBezTo>
                    <a:pt x="1535" y="0"/>
                    <a:pt x="1516" y="0"/>
                    <a:pt x="1505" y="11"/>
                  </a:cubicBezTo>
                  <a:lnTo>
                    <a:pt x="1480" y="37"/>
                  </a:lnTo>
                  <a:cubicBezTo>
                    <a:pt x="1468" y="48"/>
                    <a:pt x="1468" y="66"/>
                    <a:pt x="1480" y="78"/>
                  </a:cubicBezTo>
                  <a:lnTo>
                    <a:pt x="1507" y="105"/>
                  </a:lnTo>
                  <a:lnTo>
                    <a:pt x="653" y="958"/>
                  </a:lnTo>
                  <a:lnTo>
                    <a:pt x="626" y="931"/>
                  </a:lnTo>
                  <a:cubicBezTo>
                    <a:pt x="615" y="920"/>
                    <a:pt x="597" y="920"/>
                    <a:pt x="586" y="931"/>
                  </a:cubicBezTo>
                  <a:lnTo>
                    <a:pt x="560" y="956"/>
                  </a:lnTo>
                  <a:cubicBezTo>
                    <a:pt x="549" y="968"/>
                    <a:pt x="549" y="986"/>
                    <a:pt x="560" y="997"/>
                  </a:cubicBezTo>
                  <a:lnTo>
                    <a:pt x="988" y="1425"/>
                  </a:lnTo>
                  <a:cubicBezTo>
                    <a:pt x="999" y="1436"/>
                    <a:pt x="1017" y="1436"/>
                    <a:pt x="1028" y="1425"/>
                  </a:cubicBezTo>
                  <a:lnTo>
                    <a:pt x="1054" y="1399"/>
                  </a:lnTo>
                  <a:cubicBezTo>
                    <a:pt x="1065" y="1388"/>
                    <a:pt x="1065" y="1370"/>
                    <a:pt x="1054" y="1358"/>
                  </a:cubicBezTo>
                  <a:lnTo>
                    <a:pt x="1029" y="1333"/>
                  </a:lnTo>
                  <a:lnTo>
                    <a:pt x="1217" y="1144"/>
                  </a:lnTo>
                  <a:cubicBezTo>
                    <a:pt x="1281" y="1217"/>
                    <a:pt x="1375" y="1263"/>
                    <a:pt x="1479" y="1263"/>
                  </a:cubicBezTo>
                  <a:cubicBezTo>
                    <a:pt x="1548" y="1263"/>
                    <a:pt x="1612" y="1243"/>
                    <a:pt x="1666" y="1208"/>
                  </a:cubicBezTo>
                  <a:cubicBezTo>
                    <a:pt x="1694" y="1278"/>
                    <a:pt x="1709" y="1353"/>
                    <a:pt x="1709" y="1432"/>
                  </a:cubicBezTo>
                  <a:cubicBezTo>
                    <a:pt x="1709" y="1769"/>
                    <a:pt x="1435" y="2044"/>
                    <a:pt x="1097" y="2044"/>
                  </a:cubicBezTo>
                  <a:lnTo>
                    <a:pt x="1096" y="2044"/>
                  </a:lnTo>
                  <a:cubicBezTo>
                    <a:pt x="869" y="2044"/>
                    <a:pt x="660" y="1916"/>
                    <a:pt x="555" y="1718"/>
                  </a:cubicBezTo>
                  <a:lnTo>
                    <a:pt x="848" y="1718"/>
                  </a:lnTo>
                  <a:cubicBezTo>
                    <a:pt x="887" y="1718"/>
                    <a:pt x="919" y="1687"/>
                    <a:pt x="919" y="1647"/>
                  </a:cubicBezTo>
                  <a:lnTo>
                    <a:pt x="919" y="1592"/>
                  </a:lnTo>
                  <a:cubicBezTo>
                    <a:pt x="919" y="1553"/>
                    <a:pt x="887" y="1521"/>
                    <a:pt x="848" y="1521"/>
                  </a:cubicBezTo>
                  <a:lnTo>
                    <a:pt x="71" y="1521"/>
                  </a:lnTo>
                  <a:cubicBezTo>
                    <a:pt x="32" y="1521"/>
                    <a:pt x="0" y="1553"/>
                    <a:pt x="0" y="1592"/>
                  </a:cubicBezTo>
                  <a:lnTo>
                    <a:pt x="0" y="1647"/>
                  </a:lnTo>
                  <a:cubicBezTo>
                    <a:pt x="0" y="1687"/>
                    <a:pt x="32" y="1718"/>
                    <a:pt x="71" y="1718"/>
                  </a:cubicBezTo>
                  <a:lnTo>
                    <a:pt x="408" y="1718"/>
                  </a:lnTo>
                  <a:cubicBezTo>
                    <a:pt x="503" y="1945"/>
                    <a:pt x="704" y="2109"/>
                    <a:pt x="940" y="2160"/>
                  </a:cubicBezTo>
                  <a:lnTo>
                    <a:pt x="940" y="2391"/>
                  </a:lnTo>
                  <a:cubicBezTo>
                    <a:pt x="643" y="2439"/>
                    <a:pt x="423" y="2607"/>
                    <a:pt x="423" y="2806"/>
                  </a:cubicBezTo>
                  <a:lnTo>
                    <a:pt x="1814" y="2806"/>
                  </a:lnTo>
                  <a:cubicBezTo>
                    <a:pt x="1814" y="2607"/>
                    <a:pt x="1594" y="2439"/>
                    <a:pt x="1296" y="2391"/>
                  </a:cubicBezTo>
                  <a:lnTo>
                    <a:pt x="1296" y="2152"/>
                  </a:lnTo>
                  <a:lnTo>
                    <a:pt x="1290" y="2152"/>
                  </a:lnTo>
                  <a:cubicBezTo>
                    <a:pt x="1608" y="2067"/>
                    <a:pt x="1842" y="1776"/>
                    <a:pt x="1842" y="1432"/>
                  </a:cubicBezTo>
                  <a:cubicBezTo>
                    <a:pt x="1842" y="1316"/>
                    <a:pt x="1816" y="1207"/>
                    <a:pt x="1769" y="1109"/>
                  </a:cubicBezTo>
                  <a:cubicBezTo>
                    <a:pt x="1807" y="1053"/>
                    <a:pt x="1829" y="986"/>
                    <a:pt x="1829" y="913"/>
                  </a:cubicBezTo>
                  <a:cubicBezTo>
                    <a:pt x="1829" y="808"/>
                    <a:pt x="1783" y="715"/>
                    <a:pt x="1711" y="651"/>
                  </a:cubicBezTo>
                  <a:lnTo>
                    <a:pt x="1882" y="480"/>
                  </a:lnTo>
                  <a:lnTo>
                    <a:pt x="1907" y="505"/>
                  </a:lnTo>
                  <a:cubicBezTo>
                    <a:pt x="1918" y="517"/>
                    <a:pt x="1937" y="517"/>
                    <a:pt x="1948" y="505"/>
                  </a:cubicBezTo>
                  <a:lnTo>
                    <a:pt x="1973" y="480"/>
                  </a:lnTo>
                  <a:cubicBezTo>
                    <a:pt x="1985" y="469"/>
                    <a:pt x="1985" y="450"/>
                    <a:pt x="1973" y="439"/>
                  </a:cubicBezTo>
                  <a:close/>
                  <a:moveTo>
                    <a:pt x="1479" y="1129"/>
                  </a:moveTo>
                  <a:cubicBezTo>
                    <a:pt x="1360" y="1129"/>
                    <a:pt x="1263" y="1032"/>
                    <a:pt x="1263" y="913"/>
                  </a:cubicBezTo>
                  <a:cubicBezTo>
                    <a:pt x="1263" y="793"/>
                    <a:pt x="1360" y="696"/>
                    <a:pt x="1479" y="696"/>
                  </a:cubicBezTo>
                  <a:cubicBezTo>
                    <a:pt x="1599" y="696"/>
                    <a:pt x="1696" y="793"/>
                    <a:pt x="1696" y="913"/>
                  </a:cubicBezTo>
                  <a:cubicBezTo>
                    <a:pt x="1696" y="1032"/>
                    <a:pt x="1599" y="1129"/>
                    <a:pt x="1479" y="1129"/>
                  </a:cubicBez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</p:sp>
      </p:grpSp>
      <p:grpSp>
        <p:nvGrpSpPr>
          <p:cNvPr id="25" name="组合 24"/>
          <p:cNvGrpSpPr/>
          <p:nvPr/>
        </p:nvGrpSpPr>
        <p:grpSpPr>
          <a:xfrm rot="0">
            <a:off x="9895840" y="8049895"/>
            <a:ext cx="1238885" cy="1626870"/>
            <a:chOff x="14470" y="14770"/>
            <a:chExt cx="2873" cy="3387"/>
          </a:xfrm>
        </p:grpSpPr>
        <p:sp>
          <p:nvSpPr>
            <p:cNvPr id="24" name="矩形 23"/>
            <p:cNvSpPr/>
            <p:nvPr/>
          </p:nvSpPr>
          <p:spPr>
            <a:xfrm>
              <a:off x="14470" y="14770"/>
              <a:ext cx="2873" cy="338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2" name="iconfont-1179-866524"/>
            <p:cNvSpPr>
              <a:spLocks noChangeAspect="1"/>
            </p:cNvSpPr>
            <p:nvPr/>
          </p:nvSpPr>
          <p:spPr bwMode="auto">
            <a:xfrm>
              <a:off x="15101" y="15365"/>
              <a:ext cx="1573" cy="1848"/>
            </a:xfrm>
            <a:custGeom>
              <a:avLst/>
              <a:gdLst>
                <a:gd name="T0" fmla="*/ 8639 w 9270"/>
                <a:gd name="T1" fmla="*/ 909 h 10898"/>
                <a:gd name="T2" fmla="*/ 4904 w 9270"/>
                <a:gd name="T3" fmla="*/ 76 h 10898"/>
                <a:gd name="T4" fmla="*/ 4361 w 9270"/>
                <a:gd name="T5" fmla="*/ 79 h 10898"/>
                <a:gd name="T6" fmla="*/ 627 w 9270"/>
                <a:gd name="T7" fmla="*/ 909 h 10898"/>
                <a:gd name="T8" fmla="*/ 0 w 9270"/>
                <a:gd name="T9" fmla="*/ 1551 h 10898"/>
                <a:gd name="T10" fmla="*/ 0 w 9270"/>
                <a:gd name="T11" fmla="*/ 7006 h 10898"/>
                <a:gd name="T12" fmla="*/ 12 w 9270"/>
                <a:gd name="T13" fmla="*/ 7074 h 10898"/>
                <a:gd name="T14" fmla="*/ 4454 w 9270"/>
                <a:gd name="T15" fmla="*/ 10880 h 10898"/>
                <a:gd name="T16" fmla="*/ 4609 w 9270"/>
                <a:gd name="T17" fmla="*/ 10898 h 10898"/>
                <a:gd name="T18" fmla="*/ 4769 w 9270"/>
                <a:gd name="T19" fmla="*/ 10878 h 10898"/>
                <a:gd name="T20" fmla="*/ 9213 w 9270"/>
                <a:gd name="T21" fmla="*/ 7184 h 10898"/>
                <a:gd name="T22" fmla="*/ 9270 w 9270"/>
                <a:gd name="T23" fmla="*/ 6918 h 10898"/>
                <a:gd name="T24" fmla="*/ 9270 w 9270"/>
                <a:gd name="T25" fmla="*/ 1551 h 10898"/>
                <a:gd name="T26" fmla="*/ 8639 w 9270"/>
                <a:gd name="T27" fmla="*/ 909 h 10898"/>
                <a:gd name="T28" fmla="*/ 8869 w 9270"/>
                <a:gd name="T29" fmla="*/ 6918 h 10898"/>
                <a:gd name="T30" fmla="*/ 8852 w 9270"/>
                <a:gd name="T31" fmla="*/ 7013 h 10898"/>
                <a:gd name="T32" fmla="*/ 4676 w 9270"/>
                <a:gd name="T33" fmla="*/ 10489 h 10898"/>
                <a:gd name="T34" fmla="*/ 4548 w 9270"/>
                <a:gd name="T35" fmla="*/ 10491 h 10898"/>
                <a:gd name="T36" fmla="*/ 401 w 9270"/>
                <a:gd name="T37" fmla="*/ 6969 h 10898"/>
                <a:gd name="T38" fmla="*/ 401 w 9270"/>
                <a:gd name="T39" fmla="*/ 1551 h 10898"/>
                <a:gd name="T40" fmla="*/ 638 w 9270"/>
                <a:gd name="T41" fmla="*/ 1309 h 10898"/>
                <a:gd name="T42" fmla="*/ 4523 w 9270"/>
                <a:gd name="T43" fmla="*/ 444 h 10898"/>
                <a:gd name="T44" fmla="*/ 4741 w 9270"/>
                <a:gd name="T45" fmla="*/ 442 h 10898"/>
                <a:gd name="T46" fmla="*/ 8628 w 9270"/>
                <a:gd name="T47" fmla="*/ 1309 h 10898"/>
                <a:gd name="T48" fmla="*/ 8869 w 9270"/>
                <a:gd name="T49" fmla="*/ 1551 h 10898"/>
                <a:gd name="T50" fmla="*/ 8869 w 9270"/>
                <a:gd name="T51" fmla="*/ 6918 h 10898"/>
                <a:gd name="T52" fmla="*/ 6288 w 9270"/>
                <a:gd name="T53" fmla="*/ 6715 h 10898"/>
                <a:gd name="T54" fmla="*/ 6571 w 9270"/>
                <a:gd name="T55" fmla="*/ 6732 h 10898"/>
                <a:gd name="T56" fmla="*/ 6588 w 9270"/>
                <a:gd name="T57" fmla="*/ 6449 h 10898"/>
                <a:gd name="T58" fmla="*/ 5271 w 9270"/>
                <a:gd name="T59" fmla="*/ 5620 h 10898"/>
                <a:gd name="T60" fmla="*/ 6278 w 9270"/>
                <a:gd name="T61" fmla="*/ 4027 h 10898"/>
                <a:gd name="T62" fmla="*/ 4498 w 9270"/>
                <a:gd name="T63" fmla="*/ 2249 h 10898"/>
                <a:gd name="T64" fmla="*/ 2717 w 9270"/>
                <a:gd name="T65" fmla="*/ 4027 h 10898"/>
                <a:gd name="T66" fmla="*/ 3725 w 9270"/>
                <a:gd name="T67" fmla="*/ 5621 h 10898"/>
                <a:gd name="T68" fmla="*/ 1766 w 9270"/>
                <a:gd name="T69" fmla="*/ 7833 h 10898"/>
                <a:gd name="T70" fmla="*/ 1932 w 9270"/>
                <a:gd name="T71" fmla="*/ 8062 h 10898"/>
                <a:gd name="T72" fmla="*/ 1964 w 9270"/>
                <a:gd name="T73" fmla="*/ 8065 h 10898"/>
                <a:gd name="T74" fmla="*/ 2161 w 9270"/>
                <a:gd name="T75" fmla="*/ 7896 h 10898"/>
                <a:gd name="T76" fmla="*/ 4498 w 9270"/>
                <a:gd name="T77" fmla="*/ 5907 h 10898"/>
                <a:gd name="T78" fmla="*/ 6288 w 9270"/>
                <a:gd name="T79" fmla="*/ 6715 h 10898"/>
                <a:gd name="T80" fmla="*/ 7705 w 9270"/>
                <a:gd name="T81" fmla="*/ 6149 h 10898"/>
                <a:gd name="T82" fmla="*/ 5774 w 9270"/>
                <a:gd name="T83" fmla="*/ 8076 h 10898"/>
                <a:gd name="T84" fmla="*/ 5705 w 9270"/>
                <a:gd name="T85" fmla="*/ 8107 h 10898"/>
                <a:gd name="T86" fmla="*/ 5623 w 9270"/>
                <a:gd name="T87" fmla="*/ 8051 h 10898"/>
                <a:gd name="T88" fmla="*/ 4711 w 9270"/>
                <a:gd name="T89" fmla="*/ 6999 h 10898"/>
                <a:gd name="T90" fmla="*/ 4429 w 9270"/>
                <a:gd name="T91" fmla="*/ 6978 h 10898"/>
                <a:gd name="T92" fmla="*/ 4408 w 9270"/>
                <a:gd name="T93" fmla="*/ 7261 h 10898"/>
                <a:gd name="T94" fmla="*/ 5312 w 9270"/>
                <a:gd name="T95" fmla="*/ 8302 h 10898"/>
                <a:gd name="T96" fmla="*/ 5685 w 9270"/>
                <a:gd name="T97" fmla="*/ 8506 h 10898"/>
                <a:gd name="T98" fmla="*/ 6057 w 9270"/>
                <a:gd name="T99" fmla="*/ 8359 h 10898"/>
                <a:gd name="T100" fmla="*/ 7989 w 9270"/>
                <a:gd name="T101" fmla="*/ 6431 h 10898"/>
                <a:gd name="T102" fmla="*/ 7989 w 9270"/>
                <a:gd name="T103" fmla="*/ 6148 h 10898"/>
                <a:gd name="T104" fmla="*/ 7705 w 9270"/>
                <a:gd name="T105" fmla="*/ 6149 h 10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70" h="10898">
                  <a:moveTo>
                    <a:pt x="8639" y="909"/>
                  </a:moveTo>
                  <a:cubicBezTo>
                    <a:pt x="6816" y="875"/>
                    <a:pt x="5423" y="317"/>
                    <a:pt x="4904" y="76"/>
                  </a:cubicBezTo>
                  <a:cubicBezTo>
                    <a:pt x="4730" y="2"/>
                    <a:pt x="4545" y="0"/>
                    <a:pt x="4361" y="79"/>
                  </a:cubicBezTo>
                  <a:cubicBezTo>
                    <a:pt x="3846" y="317"/>
                    <a:pt x="2453" y="875"/>
                    <a:pt x="627" y="909"/>
                  </a:cubicBezTo>
                  <a:cubicBezTo>
                    <a:pt x="276" y="922"/>
                    <a:pt x="0" y="1204"/>
                    <a:pt x="0" y="1551"/>
                  </a:cubicBezTo>
                  <a:lnTo>
                    <a:pt x="0" y="7006"/>
                  </a:lnTo>
                  <a:lnTo>
                    <a:pt x="12" y="7074"/>
                  </a:lnTo>
                  <a:cubicBezTo>
                    <a:pt x="56" y="7195"/>
                    <a:pt x="1114" y="10022"/>
                    <a:pt x="4454" y="10880"/>
                  </a:cubicBezTo>
                  <a:cubicBezTo>
                    <a:pt x="4509" y="10892"/>
                    <a:pt x="4559" y="10898"/>
                    <a:pt x="4609" y="10898"/>
                  </a:cubicBezTo>
                  <a:cubicBezTo>
                    <a:pt x="4658" y="10898"/>
                    <a:pt x="4707" y="10892"/>
                    <a:pt x="4769" y="10878"/>
                  </a:cubicBezTo>
                  <a:cubicBezTo>
                    <a:pt x="7691" y="10127"/>
                    <a:pt x="8913" y="7855"/>
                    <a:pt x="9213" y="7184"/>
                  </a:cubicBezTo>
                  <a:cubicBezTo>
                    <a:pt x="9251" y="7110"/>
                    <a:pt x="9270" y="7020"/>
                    <a:pt x="9270" y="6918"/>
                  </a:cubicBezTo>
                  <a:lnTo>
                    <a:pt x="9270" y="1551"/>
                  </a:lnTo>
                  <a:cubicBezTo>
                    <a:pt x="9270" y="1204"/>
                    <a:pt x="8994" y="922"/>
                    <a:pt x="8639" y="909"/>
                  </a:cubicBezTo>
                  <a:close/>
                  <a:moveTo>
                    <a:pt x="8869" y="6918"/>
                  </a:moveTo>
                  <a:cubicBezTo>
                    <a:pt x="8869" y="6970"/>
                    <a:pt x="8861" y="6995"/>
                    <a:pt x="8852" y="7013"/>
                  </a:cubicBezTo>
                  <a:cubicBezTo>
                    <a:pt x="8566" y="7650"/>
                    <a:pt x="7419" y="9784"/>
                    <a:pt x="4676" y="10489"/>
                  </a:cubicBezTo>
                  <a:cubicBezTo>
                    <a:pt x="4623" y="10500"/>
                    <a:pt x="4587" y="10500"/>
                    <a:pt x="4548" y="10491"/>
                  </a:cubicBezTo>
                  <a:cubicBezTo>
                    <a:pt x="1605" y="9735"/>
                    <a:pt x="524" y="7273"/>
                    <a:pt x="401" y="6969"/>
                  </a:cubicBezTo>
                  <a:lnTo>
                    <a:pt x="401" y="1551"/>
                  </a:lnTo>
                  <a:cubicBezTo>
                    <a:pt x="401" y="1423"/>
                    <a:pt x="509" y="1314"/>
                    <a:pt x="638" y="1309"/>
                  </a:cubicBezTo>
                  <a:cubicBezTo>
                    <a:pt x="2537" y="1273"/>
                    <a:pt x="3992" y="690"/>
                    <a:pt x="4523" y="444"/>
                  </a:cubicBezTo>
                  <a:cubicBezTo>
                    <a:pt x="4596" y="414"/>
                    <a:pt x="4679" y="416"/>
                    <a:pt x="4741" y="442"/>
                  </a:cubicBezTo>
                  <a:cubicBezTo>
                    <a:pt x="5278" y="691"/>
                    <a:pt x="6732" y="1273"/>
                    <a:pt x="8628" y="1309"/>
                  </a:cubicBezTo>
                  <a:cubicBezTo>
                    <a:pt x="8761" y="1314"/>
                    <a:pt x="8869" y="1423"/>
                    <a:pt x="8869" y="1551"/>
                  </a:cubicBezTo>
                  <a:lnTo>
                    <a:pt x="8869" y="6918"/>
                  </a:lnTo>
                  <a:close/>
                  <a:moveTo>
                    <a:pt x="6288" y="6715"/>
                  </a:moveTo>
                  <a:cubicBezTo>
                    <a:pt x="6362" y="6797"/>
                    <a:pt x="6489" y="6804"/>
                    <a:pt x="6571" y="6732"/>
                  </a:cubicBezTo>
                  <a:cubicBezTo>
                    <a:pt x="6654" y="6658"/>
                    <a:pt x="6661" y="6531"/>
                    <a:pt x="6588" y="6449"/>
                  </a:cubicBezTo>
                  <a:cubicBezTo>
                    <a:pt x="6233" y="6049"/>
                    <a:pt x="5774" y="5766"/>
                    <a:pt x="5271" y="5620"/>
                  </a:cubicBezTo>
                  <a:cubicBezTo>
                    <a:pt x="5865" y="5332"/>
                    <a:pt x="6278" y="4729"/>
                    <a:pt x="6278" y="4027"/>
                  </a:cubicBezTo>
                  <a:cubicBezTo>
                    <a:pt x="6278" y="3047"/>
                    <a:pt x="5480" y="2249"/>
                    <a:pt x="4498" y="2249"/>
                  </a:cubicBezTo>
                  <a:cubicBezTo>
                    <a:pt x="3516" y="2249"/>
                    <a:pt x="2717" y="3047"/>
                    <a:pt x="2717" y="4027"/>
                  </a:cubicBezTo>
                  <a:cubicBezTo>
                    <a:pt x="2717" y="4729"/>
                    <a:pt x="3131" y="5333"/>
                    <a:pt x="3725" y="5621"/>
                  </a:cubicBezTo>
                  <a:cubicBezTo>
                    <a:pt x="2725" y="5917"/>
                    <a:pt x="1935" y="6769"/>
                    <a:pt x="1766" y="7833"/>
                  </a:cubicBezTo>
                  <a:cubicBezTo>
                    <a:pt x="1748" y="7942"/>
                    <a:pt x="1822" y="8045"/>
                    <a:pt x="1932" y="8062"/>
                  </a:cubicBezTo>
                  <a:cubicBezTo>
                    <a:pt x="1943" y="8064"/>
                    <a:pt x="1954" y="8065"/>
                    <a:pt x="1964" y="8065"/>
                  </a:cubicBezTo>
                  <a:cubicBezTo>
                    <a:pt x="2060" y="8065"/>
                    <a:pt x="2146" y="7994"/>
                    <a:pt x="2161" y="7896"/>
                  </a:cubicBezTo>
                  <a:cubicBezTo>
                    <a:pt x="2343" y="6762"/>
                    <a:pt x="3347" y="5907"/>
                    <a:pt x="4498" y="5907"/>
                  </a:cubicBezTo>
                  <a:cubicBezTo>
                    <a:pt x="5181" y="5907"/>
                    <a:pt x="5833" y="6201"/>
                    <a:pt x="6288" y="6715"/>
                  </a:cubicBezTo>
                  <a:close/>
                  <a:moveTo>
                    <a:pt x="7705" y="6149"/>
                  </a:moveTo>
                  <a:lnTo>
                    <a:pt x="5774" y="8076"/>
                  </a:lnTo>
                  <a:cubicBezTo>
                    <a:pt x="5761" y="8089"/>
                    <a:pt x="5737" y="8106"/>
                    <a:pt x="5705" y="8107"/>
                  </a:cubicBezTo>
                  <a:cubicBezTo>
                    <a:pt x="5683" y="8105"/>
                    <a:pt x="5659" y="8098"/>
                    <a:pt x="5623" y="8051"/>
                  </a:cubicBezTo>
                  <a:lnTo>
                    <a:pt x="4711" y="6999"/>
                  </a:lnTo>
                  <a:cubicBezTo>
                    <a:pt x="4638" y="6914"/>
                    <a:pt x="4511" y="6906"/>
                    <a:pt x="4429" y="6978"/>
                  </a:cubicBezTo>
                  <a:cubicBezTo>
                    <a:pt x="4345" y="7051"/>
                    <a:pt x="4336" y="7178"/>
                    <a:pt x="4408" y="7261"/>
                  </a:cubicBezTo>
                  <a:lnTo>
                    <a:pt x="5312" y="8302"/>
                  </a:lnTo>
                  <a:cubicBezTo>
                    <a:pt x="5401" y="8421"/>
                    <a:pt x="5524" y="8490"/>
                    <a:pt x="5685" y="8506"/>
                  </a:cubicBezTo>
                  <a:cubicBezTo>
                    <a:pt x="5831" y="8506"/>
                    <a:pt x="5960" y="8455"/>
                    <a:pt x="6057" y="8359"/>
                  </a:cubicBezTo>
                  <a:lnTo>
                    <a:pt x="7989" y="6431"/>
                  </a:lnTo>
                  <a:cubicBezTo>
                    <a:pt x="8067" y="6353"/>
                    <a:pt x="8067" y="6226"/>
                    <a:pt x="7989" y="6148"/>
                  </a:cubicBezTo>
                  <a:cubicBezTo>
                    <a:pt x="7910" y="6069"/>
                    <a:pt x="7784" y="6070"/>
                    <a:pt x="7705" y="614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23" name="文本框 22"/>
            <p:cNvSpPr txBox="1"/>
            <p:nvPr/>
          </p:nvSpPr>
          <p:spPr>
            <a:xfrm>
              <a:off x="14614" y="17213"/>
              <a:ext cx="2548" cy="76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实名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认证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endParaRPr>
            </a:p>
          </p:txBody>
        </p:sp>
      </p:grpSp>
      <p:sp>
        <p:nvSpPr>
          <p:cNvPr id="141" name="圆角矩形 140"/>
          <p:cNvSpPr/>
          <p:nvPr/>
        </p:nvSpPr>
        <p:spPr>
          <a:xfrm>
            <a:off x="9798050" y="6471920"/>
            <a:ext cx="1418590" cy="60769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注册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12090400" y="6471920"/>
            <a:ext cx="1418590" cy="60769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认证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14457680" y="6471920"/>
            <a:ext cx="1418590" cy="60769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转换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17002760" y="6471920"/>
            <a:ext cx="1418590" cy="60769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兑换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cxnSp>
        <p:nvCxnSpPr>
          <p:cNvPr id="32" name="直接箭头连接符 31"/>
          <p:cNvCxnSpPr>
            <a:endCxn id="141" idx="1"/>
          </p:cNvCxnSpPr>
          <p:nvPr/>
        </p:nvCxnSpPr>
        <p:spPr>
          <a:xfrm>
            <a:off x="8773160" y="6748780"/>
            <a:ext cx="1024890" cy="273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141" idx="3"/>
            <a:endCxn id="27" idx="1"/>
          </p:cNvCxnSpPr>
          <p:nvPr/>
        </p:nvCxnSpPr>
        <p:spPr>
          <a:xfrm>
            <a:off x="11216640" y="6776085"/>
            <a:ext cx="87376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27" idx="3"/>
            <a:endCxn id="28" idx="1"/>
          </p:cNvCxnSpPr>
          <p:nvPr/>
        </p:nvCxnSpPr>
        <p:spPr>
          <a:xfrm>
            <a:off x="13508990" y="6776085"/>
            <a:ext cx="94932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28" idx="3"/>
            <a:endCxn id="30" idx="1"/>
          </p:cNvCxnSpPr>
          <p:nvPr/>
        </p:nvCxnSpPr>
        <p:spPr>
          <a:xfrm>
            <a:off x="15876270" y="6776085"/>
            <a:ext cx="112649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diploma-certification_43605"/>
          <p:cNvSpPr>
            <a:spLocks noChangeAspect="1"/>
          </p:cNvSpPr>
          <p:nvPr/>
        </p:nvSpPr>
        <p:spPr bwMode="auto">
          <a:xfrm>
            <a:off x="19646900" y="6327140"/>
            <a:ext cx="1226185" cy="870585"/>
          </a:xfrm>
          <a:custGeom>
            <a:avLst/>
            <a:gdLst>
              <a:gd name="connsiteX0" fmla="*/ 244072 w 555429"/>
              <a:gd name="connsiteY0" fmla="*/ 351281 h 382777"/>
              <a:gd name="connsiteX1" fmla="*/ 274223 w 555429"/>
              <a:gd name="connsiteY1" fmla="*/ 351281 h 382777"/>
              <a:gd name="connsiteX2" fmla="*/ 292888 w 555429"/>
              <a:gd name="connsiteY2" fmla="*/ 377029 h 382777"/>
              <a:gd name="connsiteX3" fmla="*/ 216792 w 555429"/>
              <a:gd name="connsiteY3" fmla="*/ 375599 h 382777"/>
              <a:gd name="connsiteX4" fmla="*/ 357397 w 555429"/>
              <a:gd name="connsiteY4" fmla="*/ 260932 h 382777"/>
              <a:gd name="connsiteX5" fmla="*/ 401858 w 555429"/>
              <a:gd name="connsiteY5" fmla="*/ 318271 h 382777"/>
              <a:gd name="connsiteX6" fmla="*/ 341620 w 555429"/>
              <a:gd name="connsiteY6" fmla="*/ 325438 h 382777"/>
              <a:gd name="connsiteX7" fmla="*/ 320107 w 555429"/>
              <a:gd name="connsiteY7" fmla="*/ 382777 h 382777"/>
              <a:gd name="connsiteX8" fmla="*/ 275645 w 555429"/>
              <a:gd name="connsiteY8" fmla="*/ 325438 h 382777"/>
              <a:gd name="connsiteX9" fmla="*/ 189407 w 555429"/>
              <a:gd name="connsiteY9" fmla="*/ 242310 h 382777"/>
              <a:gd name="connsiteX10" fmla="*/ 254035 w 555429"/>
              <a:gd name="connsiteY10" fmla="*/ 322481 h 382777"/>
              <a:gd name="connsiteX11" fmla="*/ 196588 w 555429"/>
              <a:gd name="connsiteY11" fmla="*/ 368293 h 382777"/>
              <a:gd name="connsiteX12" fmla="*/ 189407 w 555429"/>
              <a:gd name="connsiteY12" fmla="*/ 308165 h 382777"/>
              <a:gd name="connsiteX13" fmla="*/ 131960 w 555429"/>
              <a:gd name="connsiteY13" fmla="*/ 286690 h 382777"/>
              <a:gd name="connsiteX14" fmla="*/ 275531 w 555429"/>
              <a:gd name="connsiteY14" fmla="*/ 186446 h 382777"/>
              <a:gd name="connsiteX15" fmla="*/ 331511 w 555429"/>
              <a:gd name="connsiteY15" fmla="*/ 242311 h 382777"/>
              <a:gd name="connsiteX16" fmla="*/ 275531 w 555429"/>
              <a:gd name="connsiteY16" fmla="*/ 298176 h 382777"/>
              <a:gd name="connsiteX17" fmla="*/ 219551 w 555429"/>
              <a:gd name="connsiteY17" fmla="*/ 242311 h 382777"/>
              <a:gd name="connsiteX18" fmla="*/ 275531 w 555429"/>
              <a:gd name="connsiteY18" fmla="*/ 186446 h 382777"/>
              <a:gd name="connsiteX19" fmla="*/ 200929 w 555429"/>
              <a:gd name="connsiteY19" fmla="*/ 139087 h 382777"/>
              <a:gd name="connsiteX20" fmla="*/ 357488 w 555429"/>
              <a:gd name="connsiteY20" fmla="*/ 139087 h 382777"/>
              <a:gd name="connsiteX21" fmla="*/ 357488 w 555429"/>
              <a:gd name="connsiteY21" fmla="*/ 156329 h 382777"/>
              <a:gd name="connsiteX22" fmla="*/ 200929 w 555429"/>
              <a:gd name="connsiteY22" fmla="*/ 156329 h 382777"/>
              <a:gd name="connsiteX23" fmla="*/ 146444 w 555429"/>
              <a:gd name="connsiteY23" fmla="*/ 101844 h 382777"/>
              <a:gd name="connsiteX24" fmla="*/ 411974 w 555429"/>
              <a:gd name="connsiteY24" fmla="*/ 101844 h 382777"/>
              <a:gd name="connsiteX25" fmla="*/ 411974 w 555429"/>
              <a:gd name="connsiteY25" fmla="*/ 119086 h 382777"/>
              <a:gd name="connsiteX26" fmla="*/ 146444 w 555429"/>
              <a:gd name="connsiteY26" fmla="*/ 119086 h 382777"/>
              <a:gd name="connsiteX27" fmla="*/ 45979 w 555429"/>
              <a:gd name="connsiteY27" fmla="*/ 41611 h 382777"/>
              <a:gd name="connsiteX28" fmla="*/ 509679 w 555429"/>
              <a:gd name="connsiteY28" fmla="*/ 41611 h 382777"/>
              <a:gd name="connsiteX29" fmla="*/ 509679 w 555429"/>
              <a:gd name="connsiteY29" fmla="*/ 331050 h 382777"/>
              <a:gd name="connsiteX30" fmla="*/ 426414 w 555429"/>
              <a:gd name="connsiteY30" fmla="*/ 331050 h 382777"/>
              <a:gd name="connsiteX31" fmla="*/ 416365 w 555429"/>
              <a:gd name="connsiteY31" fmla="*/ 319587 h 382777"/>
              <a:gd name="connsiteX32" fmla="*/ 496759 w 555429"/>
              <a:gd name="connsiteY32" fmla="*/ 319587 h 382777"/>
              <a:gd name="connsiteX33" fmla="*/ 496759 w 555429"/>
              <a:gd name="connsiteY33" fmla="*/ 54507 h 382777"/>
              <a:gd name="connsiteX34" fmla="*/ 57464 w 555429"/>
              <a:gd name="connsiteY34" fmla="*/ 54507 h 382777"/>
              <a:gd name="connsiteX35" fmla="*/ 57464 w 555429"/>
              <a:gd name="connsiteY35" fmla="*/ 319587 h 382777"/>
              <a:gd name="connsiteX36" fmla="*/ 178055 w 555429"/>
              <a:gd name="connsiteY36" fmla="*/ 319587 h 382777"/>
              <a:gd name="connsiteX37" fmla="*/ 179490 w 555429"/>
              <a:gd name="connsiteY37" fmla="*/ 331050 h 382777"/>
              <a:gd name="connsiteX38" fmla="*/ 45979 w 555429"/>
              <a:gd name="connsiteY38" fmla="*/ 331050 h 382777"/>
              <a:gd name="connsiteX39" fmla="*/ 0 w 555429"/>
              <a:gd name="connsiteY39" fmla="*/ 0 h 382777"/>
              <a:gd name="connsiteX40" fmla="*/ 555429 w 555429"/>
              <a:gd name="connsiteY40" fmla="*/ 0 h 382777"/>
              <a:gd name="connsiteX41" fmla="*/ 555429 w 555429"/>
              <a:gd name="connsiteY41" fmla="*/ 375650 h 382777"/>
              <a:gd name="connsiteX42" fmla="*/ 340147 w 555429"/>
              <a:gd name="connsiteY42" fmla="*/ 375650 h 382777"/>
              <a:gd name="connsiteX43" fmla="*/ 350193 w 555429"/>
              <a:gd name="connsiteY43" fmla="*/ 351276 h 382777"/>
              <a:gd name="connsiteX44" fmla="*/ 531031 w 555429"/>
              <a:gd name="connsiteY44" fmla="*/ 351276 h 382777"/>
              <a:gd name="connsiteX45" fmla="*/ 531031 w 555429"/>
              <a:gd name="connsiteY45" fmla="*/ 24374 h 382777"/>
              <a:gd name="connsiteX46" fmla="*/ 24399 w 555429"/>
              <a:gd name="connsiteY46" fmla="*/ 24374 h 382777"/>
              <a:gd name="connsiteX47" fmla="*/ 24399 w 555429"/>
              <a:gd name="connsiteY47" fmla="*/ 351276 h 382777"/>
              <a:gd name="connsiteX48" fmla="*/ 180838 w 555429"/>
              <a:gd name="connsiteY48" fmla="*/ 351276 h 382777"/>
              <a:gd name="connsiteX49" fmla="*/ 183708 w 555429"/>
              <a:gd name="connsiteY49" fmla="*/ 375650 h 382777"/>
              <a:gd name="connsiteX50" fmla="*/ 0 w 555429"/>
              <a:gd name="connsiteY50" fmla="*/ 375650 h 38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55429" h="382777">
                <a:moveTo>
                  <a:pt x="244072" y="351281"/>
                </a:moveTo>
                <a:lnTo>
                  <a:pt x="274223" y="351281"/>
                </a:lnTo>
                <a:lnTo>
                  <a:pt x="292888" y="377029"/>
                </a:lnTo>
                <a:lnTo>
                  <a:pt x="216792" y="375599"/>
                </a:lnTo>
                <a:close/>
                <a:moveTo>
                  <a:pt x="357397" y="260932"/>
                </a:moveTo>
                <a:lnTo>
                  <a:pt x="401858" y="318271"/>
                </a:lnTo>
                <a:lnTo>
                  <a:pt x="341620" y="325438"/>
                </a:lnTo>
                <a:lnTo>
                  <a:pt x="320107" y="382777"/>
                </a:lnTo>
                <a:lnTo>
                  <a:pt x="275645" y="325438"/>
                </a:lnTo>
                <a:close/>
                <a:moveTo>
                  <a:pt x="189407" y="242310"/>
                </a:moveTo>
                <a:lnTo>
                  <a:pt x="254035" y="322481"/>
                </a:lnTo>
                <a:lnTo>
                  <a:pt x="196588" y="368293"/>
                </a:lnTo>
                <a:lnTo>
                  <a:pt x="189407" y="308165"/>
                </a:lnTo>
                <a:lnTo>
                  <a:pt x="131960" y="286690"/>
                </a:lnTo>
                <a:close/>
                <a:moveTo>
                  <a:pt x="275531" y="186446"/>
                </a:moveTo>
                <a:cubicBezTo>
                  <a:pt x="306448" y="186446"/>
                  <a:pt x="331511" y="211458"/>
                  <a:pt x="331511" y="242311"/>
                </a:cubicBezTo>
                <a:cubicBezTo>
                  <a:pt x="331511" y="273164"/>
                  <a:pt x="306448" y="298176"/>
                  <a:pt x="275531" y="298176"/>
                </a:cubicBezTo>
                <a:cubicBezTo>
                  <a:pt x="244614" y="298176"/>
                  <a:pt x="219551" y="273164"/>
                  <a:pt x="219551" y="242311"/>
                </a:cubicBezTo>
                <a:cubicBezTo>
                  <a:pt x="219551" y="211458"/>
                  <a:pt x="244614" y="186446"/>
                  <a:pt x="275531" y="186446"/>
                </a:cubicBezTo>
                <a:close/>
                <a:moveTo>
                  <a:pt x="200929" y="139087"/>
                </a:moveTo>
                <a:lnTo>
                  <a:pt x="357488" y="139087"/>
                </a:lnTo>
                <a:lnTo>
                  <a:pt x="357488" y="156329"/>
                </a:lnTo>
                <a:lnTo>
                  <a:pt x="200929" y="156329"/>
                </a:lnTo>
                <a:close/>
                <a:moveTo>
                  <a:pt x="146444" y="101844"/>
                </a:moveTo>
                <a:lnTo>
                  <a:pt x="411974" y="101844"/>
                </a:lnTo>
                <a:lnTo>
                  <a:pt x="411974" y="119086"/>
                </a:lnTo>
                <a:lnTo>
                  <a:pt x="146444" y="119086"/>
                </a:lnTo>
                <a:close/>
                <a:moveTo>
                  <a:pt x="45979" y="41611"/>
                </a:moveTo>
                <a:lnTo>
                  <a:pt x="509679" y="41611"/>
                </a:lnTo>
                <a:lnTo>
                  <a:pt x="509679" y="331050"/>
                </a:lnTo>
                <a:lnTo>
                  <a:pt x="426414" y="331050"/>
                </a:lnTo>
                <a:lnTo>
                  <a:pt x="416365" y="319587"/>
                </a:lnTo>
                <a:lnTo>
                  <a:pt x="496759" y="319587"/>
                </a:lnTo>
                <a:lnTo>
                  <a:pt x="496759" y="54507"/>
                </a:lnTo>
                <a:lnTo>
                  <a:pt x="57464" y="54507"/>
                </a:lnTo>
                <a:lnTo>
                  <a:pt x="57464" y="319587"/>
                </a:lnTo>
                <a:lnTo>
                  <a:pt x="178055" y="319587"/>
                </a:lnTo>
                <a:lnTo>
                  <a:pt x="179490" y="331050"/>
                </a:lnTo>
                <a:lnTo>
                  <a:pt x="45979" y="331050"/>
                </a:lnTo>
                <a:close/>
                <a:moveTo>
                  <a:pt x="0" y="0"/>
                </a:moveTo>
                <a:lnTo>
                  <a:pt x="555429" y="0"/>
                </a:lnTo>
                <a:lnTo>
                  <a:pt x="555429" y="375650"/>
                </a:lnTo>
                <a:lnTo>
                  <a:pt x="340147" y="375650"/>
                </a:lnTo>
                <a:lnTo>
                  <a:pt x="350193" y="351276"/>
                </a:lnTo>
                <a:lnTo>
                  <a:pt x="531031" y="351276"/>
                </a:lnTo>
                <a:lnTo>
                  <a:pt x="531031" y="24374"/>
                </a:lnTo>
                <a:lnTo>
                  <a:pt x="24399" y="24374"/>
                </a:lnTo>
                <a:lnTo>
                  <a:pt x="24399" y="351276"/>
                </a:lnTo>
                <a:lnTo>
                  <a:pt x="180838" y="351276"/>
                </a:lnTo>
                <a:lnTo>
                  <a:pt x="183708" y="375650"/>
                </a:lnTo>
                <a:lnTo>
                  <a:pt x="0" y="3756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cxnSp>
        <p:nvCxnSpPr>
          <p:cNvPr id="43" name="直接箭头连接符 42"/>
          <p:cNvCxnSpPr>
            <a:stCxn id="30" idx="3"/>
          </p:cNvCxnSpPr>
          <p:nvPr/>
        </p:nvCxnSpPr>
        <p:spPr>
          <a:xfrm flipV="1">
            <a:off x="18421350" y="6763385"/>
            <a:ext cx="1231265" cy="127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本框 51"/>
          <p:cNvSpPr txBox="1"/>
          <p:nvPr/>
        </p:nvSpPr>
        <p:spPr>
          <a:xfrm>
            <a:off x="19550380" y="7267575"/>
            <a:ext cx="1346835" cy="3689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学历</a:t>
            </a:r>
            <a:r>
              <a:rPr lang="en-US" altLang="zh-CN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/</a:t>
            </a:r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证书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  <a:sym typeface="+mn-ea"/>
            </a:endParaRPr>
          </a:p>
        </p:txBody>
      </p:sp>
      <p:grpSp>
        <p:nvGrpSpPr>
          <p:cNvPr id="53" name="组合 52"/>
          <p:cNvGrpSpPr/>
          <p:nvPr/>
        </p:nvGrpSpPr>
        <p:grpSpPr>
          <a:xfrm rot="0">
            <a:off x="12162155" y="4552315"/>
            <a:ext cx="1273175" cy="1114425"/>
            <a:chOff x="22855" y="7431"/>
            <a:chExt cx="1728" cy="1469"/>
          </a:xfrm>
        </p:grpSpPr>
        <p:sp>
          <p:nvSpPr>
            <p:cNvPr id="175" name="xlsx-file_317779"/>
            <p:cNvSpPr>
              <a:spLocks noChangeAspect="1"/>
            </p:cNvSpPr>
            <p:nvPr/>
          </p:nvSpPr>
          <p:spPr bwMode="auto">
            <a:xfrm>
              <a:off x="23354" y="7431"/>
              <a:ext cx="801" cy="960"/>
            </a:xfrm>
            <a:custGeom>
              <a:avLst/>
              <a:gdLst>
                <a:gd name="connsiteX0" fmla="*/ 278476 w 506307"/>
                <a:gd name="connsiteY0" fmla="*/ 404480 h 606722"/>
                <a:gd name="connsiteX1" fmla="*/ 278476 w 506307"/>
                <a:gd name="connsiteY1" fmla="*/ 480293 h 606722"/>
                <a:gd name="connsiteX2" fmla="*/ 354400 w 506307"/>
                <a:gd name="connsiteY2" fmla="*/ 480293 h 606722"/>
                <a:gd name="connsiteX3" fmla="*/ 354400 w 506307"/>
                <a:gd name="connsiteY3" fmla="*/ 404480 h 606722"/>
                <a:gd name="connsiteX4" fmla="*/ 151906 w 506307"/>
                <a:gd name="connsiteY4" fmla="*/ 404480 h 606722"/>
                <a:gd name="connsiteX5" fmla="*/ 151906 w 506307"/>
                <a:gd name="connsiteY5" fmla="*/ 480293 h 606722"/>
                <a:gd name="connsiteX6" fmla="*/ 227830 w 506307"/>
                <a:gd name="connsiteY6" fmla="*/ 480293 h 606722"/>
                <a:gd name="connsiteX7" fmla="*/ 227830 w 506307"/>
                <a:gd name="connsiteY7" fmla="*/ 404480 h 606722"/>
                <a:gd name="connsiteX8" fmla="*/ 278476 w 506307"/>
                <a:gd name="connsiteY8" fmla="*/ 278097 h 606722"/>
                <a:gd name="connsiteX9" fmla="*/ 278476 w 506307"/>
                <a:gd name="connsiteY9" fmla="*/ 353909 h 606722"/>
                <a:gd name="connsiteX10" fmla="*/ 354400 w 506307"/>
                <a:gd name="connsiteY10" fmla="*/ 353909 h 606722"/>
                <a:gd name="connsiteX11" fmla="*/ 354400 w 506307"/>
                <a:gd name="connsiteY11" fmla="*/ 278097 h 606722"/>
                <a:gd name="connsiteX12" fmla="*/ 151906 w 506307"/>
                <a:gd name="connsiteY12" fmla="*/ 278097 h 606722"/>
                <a:gd name="connsiteX13" fmla="*/ 151906 w 506307"/>
                <a:gd name="connsiteY13" fmla="*/ 353909 h 606722"/>
                <a:gd name="connsiteX14" fmla="*/ 227830 w 506307"/>
                <a:gd name="connsiteY14" fmla="*/ 353909 h 606722"/>
                <a:gd name="connsiteX15" fmla="*/ 227830 w 506307"/>
                <a:gd name="connsiteY15" fmla="*/ 278097 h 606722"/>
                <a:gd name="connsiteX16" fmla="*/ 151906 w 506307"/>
                <a:gd name="connsiteY16" fmla="*/ 176954 h 606722"/>
                <a:gd name="connsiteX17" fmla="*/ 151906 w 506307"/>
                <a:gd name="connsiteY17" fmla="*/ 227526 h 606722"/>
                <a:gd name="connsiteX18" fmla="*/ 354400 w 506307"/>
                <a:gd name="connsiteY18" fmla="*/ 227526 h 606722"/>
                <a:gd name="connsiteX19" fmla="*/ 354400 w 506307"/>
                <a:gd name="connsiteY19" fmla="*/ 176954 h 606722"/>
                <a:gd name="connsiteX20" fmla="*/ 101261 w 506307"/>
                <a:gd name="connsiteY20" fmla="*/ 126383 h 606722"/>
                <a:gd name="connsiteX21" fmla="*/ 405045 w 506307"/>
                <a:gd name="connsiteY21" fmla="*/ 126383 h 606722"/>
                <a:gd name="connsiteX22" fmla="*/ 405045 w 506307"/>
                <a:gd name="connsiteY22" fmla="*/ 227526 h 606722"/>
                <a:gd name="connsiteX23" fmla="*/ 405045 w 506307"/>
                <a:gd name="connsiteY23" fmla="*/ 278097 h 606722"/>
                <a:gd name="connsiteX24" fmla="*/ 405045 w 506307"/>
                <a:gd name="connsiteY24" fmla="*/ 530864 h 606722"/>
                <a:gd name="connsiteX25" fmla="*/ 101261 w 506307"/>
                <a:gd name="connsiteY25" fmla="*/ 530864 h 606722"/>
                <a:gd name="connsiteX26" fmla="*/ 101261 w 506307"/>
                <a:gd name="connsiteY26" fmla="*/ 278097 h 606722"/>
                <a:gd name="connsiteX27" fmla="*/ 101261 w 506307"/>
                <a:gd name="connsiteY27" fmla="*/ 227526 h 606722"/>
                <a:gd name="connsiteX28" fmla="*/ 50640 w 506307"/>
                <a:gd name="connsiteY28" fmla="*/ 50567 h 606722"/>
                <a:gd name="connsiteX29" fmla="*/ 50640 w 506307"/>
                <a:gd name="connsiteY29" fmla="*/ 556155 h 606722"/>
                <a:gd name="connsiteX30" fmla="*/ 455667 w 506307"/>
                <a:gd name="connsiteY30" fmla="*/ 556155 h 606722"/>
                <a:gd name="connsiteX31" fmla="*/ 455667 w 506307"/>
                <a:gd name="connsiteY31" fmla="*/ 138550 h 606722"/>
                <a:gd name="connsiteX32" fmla="*/ 345488 w 506307"/>
                <a:gd name="connsiteY32" fmla="*/ 50567 h 606722"/>
                <a:gd name="connsiteX33" fmla="*/ 0 w 506307"/>
                <a:gd name="connsiteY33" fmla="*/ 0 h 606722"/>
                <a:gd name="connsiteX34" fmla="*/ 363288 w 506307"/>
                <a:gd name="connsiteY34" fmla="*/ 0 h 606722"/>
                <a:gd name="connsiteX35" fmla="*/ 506307 w 506307"/>
                <a:gd name="connsiteY35" fmla="*/ 114288 h 606722"/>
                <a:gd name="connsiteX36" fmla="*/ 506307 w 506307"/>
                <a:gd name="connsiteY36" fmla="*/ 606722 h 606722"/>
                <a:gd name="connsiteX37" fmla="*/ 0 w 506307"/>
                <a:gd name="connsiteY37" fmla="*/ 606722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07" h="606722">
                  <a:moveTo>
                    <a:pt x="278476" y="404480"/>
                  </a:moveTo>
                  <a:lnTo>
                    <a:pt x="278476" y="480293"/>
                  </a:lnTo>
                  <a:lnTo>
                    <a:pt x="354400" y="480293"/>
                  </a:lnTo>
                  <a:lnTo>
                    <a:pt x="354400" y="404480"/>
                  </a:lnTo>
                  <a:close/>
                  <a:moveTo>
                    <a:pt x="151906" y="404480"/>
                  </a:moveTo>
                  <a:lnTo>
                    <a:pt x="151906" y="480293"/>
                  </a:lnTo>
                  <a:lnTo>
                    <a:pt x="227830" y="480293"/>
                  </a:lnTo>
                  <a:lnTo>
                    <a:pt x="227830" y="404480"/>
                  </a:lnTo>
                  <a:close/>
                  <a:moveTo>
                    <a:pt x="278476" y="278097"/>
                  </a:moveTo>
                  <a:lnTo>
                    <a:pt x="278476" y="353909"/>
                  </a:lnTo>
                  <a:lnTo>
                    <a:pt x="354400" y="353909"/>
                  </a:lnTo>
                  <a:lnTo>
                    <a:pt x="354400" y="278097"/>
                  </a:lnTo>
                  <a:close/>
                  <a:moveTo>
                    <a:pt x="151906" y="278097"/>
                  </a:moveTo>
                  <a:lnTo>
                    <a:pt x="151906" y="353909"/>
                  </a:lnTo>
                  <a:lnTo>
                    <a:pt x="227830" y="353909"/>
                  </a:lnTo>
                  <a:lnTo>
                    <a:pt x="227830" y="278097"/>
                  </a:lnTo>
                  <a:close/>
                  <a:moveTo>
                    <a:pt x="151906" y="176954"/>
                  </a:moveTo>
                  <a:lnTo>
                    <a:pt x="151906" y="227526"/>
                  </a:lnTo>
                  <a:lnTo>
                    <a:pt x="354400" y="227526"/>
                  </a:lnTo>
                  <a:lnTo>
                    <a:pt x="354400" y="176954"/>
                  </a:lnTo>
                  <a:close/>
                  <a:moveTo>
                    <a:pt x="101261" y="126383"/>
                  </a:moveTo>
                  <a:lnTo>
                    <a:pt x="405045" y="126383"/>
                  </a:lnTo>
                  <a:lnTo>
                    <a:pt x="405045" y="227526"/>
                  </a:lnTo>
                  <a:lnTo>
                    <a:pt x="405045" y="278097"/>
                  </a:lnTo>
                  <a:lnTo>
                    <a:pt x="405045" y="530864"/>
                  </a:lnTo>
                  <a:lnTo>
                    <a:pt x="101261" y="530864"/>
                  </a:lnTo>
                  <a:lnTo>
                    <a:pt x="101261" y="278097"/>
                  </a:lnTo>
                  <a:lnTo>
                    <a:pt x="101261" y="227526"/>
                  </a:lnTo>
                  <a:close/>
                  <a:moveTo>
                    <a:pt x="50640" y="50567"/>
                  </a:moveTo>
                  <a:lnTo>
                    <a:pt x="50640" y="556155"/>
                  </a:lnTo>
                  <a:lnTo>
                    <a:pt x="455667" y="556155"/>
                  </a:lnTo>
                  <a:lnTo>
                    <a:pt x="455667" y="138550"/>
                  </a:lnTo>
                  <a:lnTo>
                    <a:pt x="345488" y="50567"/>
                  </a:lnTo>
                  <a:close/>
                  <a:moveTo>
                    <a:pt x="0" y="0"/>
                  </a:moveTo>
                  <a:lnTo>
                    <a:pt x="363288" y="0"/>
                  </a:lnTo>
                  <a:lnTo>
                    <a:pt x="506307" y="114288"/>
                  </a:lnTo>
                  <a:lnTo>
                    <a:pt x="506307" y="606722"/>
                  </a:lnTo>
                  <a:lnTo>
                    <a:pt x="0" y="60672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176" name="文本框 175"/>
            <p:cNvSpPr txBox="1"/>
            <p:nvPr/>
          </p:nvSpPr>
          <p:spPr>
            <a:xfrm>
              <a:off x="22855" y="8414"/>
              <a:ext cx="1728" cy="48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认证标准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 rot="0">
            <a:off x="17049115" y="8216900"/>
            <a:ext cx="1273175" cy="960120"/>
            <a:chOff x="29700" y="7475"/>
            <a:chExt cx="1728" cy="1266"/>
          </a:xfrm>
        </p:grpSpPr>
        <p:sp>
          <p:nvSpPr>
            <p:cNvPr id="74" name="certificate-award_27477"/>
            <p:cNvSpPr>
              <a:spLocks noChangeAspect="1"/>
            </p:cNvSpPr>
            <p:nvPr/>
          </p:nvSpPr>
          <p:spPr bwMode="auto">
            <a:xfrm>
              <a:off x="30079" y="7475"/>
              <a:ext cx="960" cy="704"/>
            </a:xfrm>
            <a:custGeom>
              <a:avLst/>
              <a:gdLst>
                <a:gd name="connsiteX0" fmla="*/ 463882 w 608415"/>
                <a:gd name="connsiteY0" fmla="*/ 331728 h 445872"/>
                <a:gd name="connsiteX1" fmla="*/ 482957 w 608415"/>
                <a:gd name="connsiteY1" fmla="*/ 435849 h 445872"/>
                <a:gd name="connsiteX2" fmla="*/ 478451 w 608415"/>
                <a:gd name="connsiteY2" fmla="*/ 437797 h 445872"/>
                <a:gd name="connsiteX3" fmla="*/ 462380 w 608415"/>
                <a:gd name="connsiteY3" fmla="*/ 417572 h 445872"/>
                <a:gd name="connsiteX4" fmla="*/ 453067 w 608415"/>
                <a:gd name="connsiteY4" fmla="*/ 419220 h 445872"/>
                <a:gd name="connsiteX5" fmla="*/ 445708 w 608415"/>
                <a:gd name="connsiteY5" fmla="*/ 441992 h 445872"/>
                <a:gd name="connsiteX6" fmla="*/ 441502 w 608415"/>
                <a:gd name="connsiteY6" fmla="*/ 441542 h 445872"/>
                <a:gd name="connsiteX7" fmla="*/ 430237 w 608415"/>
                <a:gd name="connsiteY7" fmla="*/ 345211 h 445872"/>
                <a:gd name="connsiteX8" fmla="*/ 463882 w 608415"/>
                <a:gd name="connsiteY8" fmla="*/ 331728 h 445872"/>
                <a:gd name="connsiteX9" fmla="*/ 389003 w 608415"/>
                <a:gd name="connsiteY9" fmla="*/ 328271 h 445872"/>
                <a:gd name="connsiteX10" fmla="*/ 426081 w 608415"/>
                <a:gd name="connsiteY10" fmla="*/ 344598 h 445872"/>
                <a:gd name="connsiteX11" fmla="*/ 427132 w 608415"/>
                <a:gd name="connsiteY11" fmla="*/ 344598 h 445872"/>
                <a:gd name="connsiteX12" fmla="*/ 412721 w 608415"/>
                <a:gd name="connsiteY12" fmla="*/ 419192 h 445872"/>
                <a:gd name="connsiteX13" fmla="*/ 408518 w 608415"/>
                <a:gd name="connsiteY13" fmla="*/ 419342 h 445872"/>
                <a:gd name="connsiteX14" fmla="*/ 401913 w 608415"/>
                <a:gd name="connsiteY14" fmla="*/ 391032 h 445872"/>
                <a:gd name="connsiteX15" fmla="*/ 392756 w 608415"/>
                <a:gd name="connsiteY15" fmla="*/ 388785 h 445872"/>
                <a:gd name="connsiteX16" fmla="*/ 376243 w 608415"/>
                <a:gd name="connsiteY16" fmla="*/ 407209 h 445872"/>
                <a:gd name="connsiteX17" fmla="*/ 371740 w 608415"/>
                <a:gd name="connsiteY17" fmla="*/ 404962 h 445872"/>
                <a:gd name="connsiteX18" fmla="*/ 428014 w 608415"/>
                <a:gd name="connsiteY18" fmla="*/ 236606 h 445872"/>
                <a:gd name="connsiteX19" fmla="*/ 478574 w 608415"/>
                <a:gd name="connsiteY19" fmla="*/ 287096 h 445872"/>
                <a:gd name="connsiteX20" fmla="*/ 428014 w 608415"/>
                <a:gd name="connsiteY20" fmla="*/ 337586 h 445872"/>
                <a:gd name="connsiteX21" fmla="*/ 377454 w 608415"/>
                <a:gd name="connsiteY21" fmla="*/ 287096 h 445872"/>
                <a:gd name="connsiteX22" fmla="*/ 428014 w 608415"/>
                <a:gd name="connsiteY22" fmla="*/ 236606 h 445872"/>
                <a:gd name="connsiteX23" fmla="*/ 96924 w 608415"/>
                <a:gd name="connsiteY23" fmla="*/ 171248 h 445872"/>
                <a:gd name="connsiteX24" fmla="*/ 91671 w 608415"/>
                <a:gd name="connsiteY24" fmla="*/ 176642 h 445872"/>
                <a:gd name="connsiteX25" fmla="*/ 96924 w 608415"/>
                <a:gd name="connsiteY25" fmla="*/ 181886 h 445872"/>
                <a:gd name="connsiteX26" fmla="*/ 496585 w 608415"/>
                <a:gd name="connsiteY26" fmla="*/ 181886 h 445872"/>
                <a:gd name="connsiteX27" fmla="*/ 501838 w 608415"/>
                <a:gd name="connsiteY27" fmla="*/ 176642 h 445872"/>
                <a:gd name="connsiteX28" fmla="*/ 496585 w 608415"/>
                <a:gd name="connsiteY28" fmla="*/ 171248 h 445872"/>
                <a:gd name="connsiteX29" fmla="*/ 96924 w 608415"/>
                <a:gd name="connsiteY29" fmla="*/ 103823 h 445872"/>
                <a:gd name="connsiteX30" fmla="*/ 91671 w 608415"/>
                <a:gd name="connsiteY30" fmla="*/ 109067 h 445872"/>
                <a:gd name="connsiteX31" fmla="*/ 96924 w 608415"/>
                <a:gd name="connsiteY31" fmla="*/ 114311 h 445872"/>
                <a:gd name="connsiteX32" fmla="*/ 496585 w 608415"/>
                <a:gd name="connsiteY32" fmla="*/ 114311 h 445872"/>
                <a:gd name="connsiteX33" fmla="*/ 501838 w 608415"/>
                <a:gd name="connsiteY33" fmla="*/ 109067 h 445872"/>
                <a:gd name="connsiteX34" fmla="*/ 496585 w 608415"/>
                <a:gd name="connsiteY34" fmla="*/ 103823 h 445872"/>
                <a:gd name="connsiteX35" fmla="*/ 64206 w 608415"/>
                <a:gd name="connsiteY35" fmla="*/ 52430 h 445872"/>
                <a:gd name="connsiteX36" fmla="*/ 539058 w 608415"/>
                <a:gd name="connsiteY36" fmla="*/ 52430 h 445872"/>
                <a:gd name="connsiteX37" fmla="*/ 560219 w 608415"/>
                <a:gd name="connsiteY37" fmla="*/ 73706 h 445872"/>
                <a:gd name="connsiteX38" fmla="*/ 560219 w 608415"/>
                <a:gd name="connsiteY38" fmla="*/ 343406 h 445872"/>
                <a:gd name="connsiteX39" fmla="*/ 539058 w 608415"/>
                <a:gd name="connsiteY39" fmla="*/ 364682 h 445872"/>
                <a:gd name="connsiteX40" fmla="*/ 486830 w 608415"/>
                <a:gd name="connsiteY40" fmla="*/ 364682 h 445872"/>
                <a:gd name="connsiteX41" fmla="*/ 480227 w 608415"/>
                <a:gd name="connsiteY41" fmla="*/ 327973 h 445872"/>
                <a:gd name="connsiteX42" fmla="*/ 495085 w 608415"/>
                <a:gd name="connsiteY42" fmla="*/ 286170 h 445872"/>
                <a:gd name="connsiteX43" fmla="*/ 428599 w 608415"/>
                <a:gd name="connsiteY43" fmla="*/ 219793 h 445872"/>
                <a:gd name="connsiteX44" fmla="*/ 362114 w 608415"/>
                <a:gd name="connsiteY44" fmla="*/ 286170 h 445872"/>
                <a:gd name="connsiteX45" fmla="*/ 373970 w 608415"/>
                <a:gd name="connsiteY45" fmla="*/ 323778 h 445872"/>
                <a:gd name="connsiteX46" fmla="*/ 364966 w 608415"/>
                <a:gd name="connsiteY46" fmla="*/ 364682 h 445872"/>
                <a:gd name="connsiteX47" fmla="*/ 64206 w 608415"/>
                <a:gd name="connsiteY47" fmla="*/ 364682 h 445872"/>
                <a:gd name="connsiteX48" fmla="*/ 43045 w 608415"/>
                <a:gd name="connsiteY48" fmla="*/ 343406 h 445872"/>
                <a:gd name="connsiteX49" fmla="*/ 43045 w 608415"/>
                <a:gd name="connsiteY49" fmla="*/ 73706 h 445872"/>
                <a:gd name="connsiteX50" fmla="*/ 64206 w 608415"/>
                <a:gd name="connsiteY50" fmla="*/ 52430 h 445872"/>
                <a:gd name="connsiteX51" fmla="*/ 37069 w 608415"/>
                <a:gd name="connsiteY51" fmla="*/ 0 h 445872"/>
                <a:gd name="connsiteX52" fmla="*/ 571346 w 608415"/>
                <a:gd name="connsiteY52" fmla="*/ 0 h 445872"/>
                <a:gd name="connsiteX53" fmla="*/ 608415 w 608415"/>
                <a:gd name="connsiteY53" fmla="*/ 36260 h 445872"/>
                <a:gd name="connsiteX54" fmla="*/ 608415 w 608415"/>
                <a:gd name="connsiteY54" fmla="*/ 384178 h 445872"/>
                <a:gd name="connsiteX55" fmla="*/ 571346 w 608415"/>
                <a:gd name="connsiteY55" fmla="*/ 420288 h 445872"/>
                <a:gd name="connsiteX56" fmla="*/ 497508 w 608415"/>
                <a:gd name="connsiteY56" fmla="*/ 420288 h 445872"/>
                <a:gd name="connsiteX57" fmla="*/ 491655 w 608415"/>
                <a:gd name="connsiteY57" fmla="*/ 388523 h 445872"/>
                <a:gd name="connsiteX58" fmla="*/ 571346 w 608415"/>
                <a:gd name="connsiteY58" fmla="*/ 388523 h 445872"/>
                <a:gd name="connsiteX59" fmla="*/ 576599 w 608415"/>
                <a:gd name="connsiteY59" fmla="*/ 384178 h 445872"/>
                <a:gd name="connsiteX60" fmla="*/ 576599 w 608415"/>
                <a:gd name="connsiteY60" fmla="*/ 36260 h 445872"/>
                <a:gd name="connsiteX61" fmla="*/ 571346 w 608415"/>
                <a:gd name="connsiteY61" fmla="*/ 31915 h 445872"/>
                <a:gd name="connsiteX62" fmla="*/ 37069 w 608415"/>
                <a:gd name="connsiteY62" fmla="*/ 31915 h 445872"/>
                <a:gd name="connsiteX63" fmla="*/ 31816 w 608415"/>
                <a:gd name="connsiteY63" fmla="*/ 36260 h 445872"/>
                <a:gd name="connsiteX64" fmla="*/ 31816 w 608415"/>
                <a:gd name="connsiteY64" fmla="*/ 384178 h 445872"/>
                <a:gd name="connsiteX65" fmla="*/ 37069 w 608415"/>
                <a:gd name="connsiteY65" fmla="*/ 388523 h 445872"/>
                <a:gd name="connsiteX66" fmla="*/ 359736 w 608415"/>
                <a:gd name="connsiteY66" fmla="*/ 388523 h 445872"/>
                <a:gd name="connsiteX67" fmla="*/ 357185 w 608415"/>
                <a:gd name="connsiteY67" fmla="*/ 399910 h 445872"/>
                <a:gd name="connsiteX68" fmla="*/ 360337 w 608415"/>
                <a:gd name="connsiteY68" fmla="*/ 417741 h 445872"/>
                <a:gd name="connsiteX69" fmla="*/ 362588 w 608415"/>
                <a:gd name="connsiteY69" fmla="*/ 420288 h 445872"/>
                <a:gd name="connsiteX70" fmla="*/ 37069 w 608415"/>
                <a:gd name="connsiteY70" fmla="*/ 420288 h 445872"/>
                <a:gd name="connsiteX71" fmla="*/ 0 w 608415"/>
                <a:gd name="connsiteY71" fmla="*/ 384178 h 445872"/>
                <a:gd name="connsiteX72" fmla="*/ 0 w 608415"/>
                <a:gd name="connsiteY72" fmla="*/ 36260 h 445872"/>
                <a:gd name="connsiteX73" fmla="*/ 37069 w 608415"/>
                <a:gd name="connsiteY73" fmla="*/ 0 h 44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08415" h="445872">
                  <a:moveTo>
                    <a:pt x="463882" y="331728"/>
                  </a:moveTo>
                  <a:lnTo>
                    <a:pt x="482957" y="435849"/>
                  </a:lnTo>
                  <a:cubicBezTo>
                    <a:pt x="484008" y="441243"/>
                    <a:pt x="481905" y="442142"/>
                    <a:pt x="478451" y="437797"/>
                  </a:cubicBezTo>
                  <a:lnTo>
                    <a:pt x="462380" y="417572"/>
                  </a:lnTo>
                  <a:cubicBezTo>
                    <a:pt x="458925" y="413077"/>
                    <a:pt x="454719" y="413827"/>
                    <a:pt x="453067" y="419220"/>
                  </a:cubicBezTo>
                  <a:lnTo>
                    <a:pt x="445708" y="441992"/>
                  </a:lnTo>
                  <a:cubicBezTo>
                    <a:pt x="444055" y="447385"/>
                    <a:pt x="442103" y="447085"/>
                    <a:pt x="441502" y="441542"/>
                  </a:cubicBezTo>
                  <a:lnTo>
                    <a:pt x="430237" y="345211"/>
                  </a:lnTo>
                  <a:cubicBezTo>
                    <a:pt x="443304" y="345062"/>
                    <a:pt x="455020" y="339818"/>
                    <a:pt x="463882" y="331728"/>
                  </a:cubicBezTo>
                  <a:close/>
                  <a:moveTo>
                    <a:pt x="389003" y="328271"/>
                  </a:moveTo>
                  <a:cubicBezTo>
                    <a:pt x="398160" y="338307"/>
                    <a:pt x="411370" y="344598"/>
                    <a:pt x="426081" y="344598"/>
                  </a:cubicBezTo>
                  <a:cubicBezTo>
                    <a:pt x="426382" y="344598"/>
                    <a:pt x="426832" y="344598"/>
                    <a:pt x="427132" y="344598"/>
                  </a:cubicBezTo>
                  <a:lnTo>
                    <a:pt x="412721" y="419192"/>
                  </a:lnTo>
                  <a:cubicBezTo>
                    <a:pt x="411670" y="424584"/>
                    <a:pt x="409869" y="424734"/>
                    <a:pt x="408518" y="419342"/>
                  </a:cubicBezTo>
                  <a:lnTo>
                    <a:pt x="401913" y="391032"/>
                  </a:lnTo>
                  <a:cubicBezTo>
                    <a:pt x="400562" y="385490"/>
                    <a:pt x="396509" y="384591"/>
                    <a:pt x="392756" y="388785"/>
                  </a:cubicBezTo>
                  <a:lnTo>
                    <a:pt x="376243" y="407209"/>
                  </a:lnTo>
                  <a:cubicBezTo>
                    <a:pt x="372641" y="411403"/>
                    <a:pt x="370539" y="410354"/>
                    <a:pt x="371740" y="404962"/>
                  </a:cubicBezTo>
                  <a:close/>
                  <a:moveTo>
                    <a:pt x="428014" y="236606"/>
                  </a:moveTo>
                  <a:cubicBezTo>
                    <a:pt x="455938" y="236606"/>
                    <a:pt x="478574" y="259211"/>
                    <a:pt x="478574" y="287096"/>
                  </a:cubicBezTo>
                  <a:cubicBezTo>
                    <a:pt x="478574" y="314981"/>
                    <a:pt x="455938" y="337586"/>
                    <a:pt x="428014" y="337586"/>
                  </a:cubicBezTo>
                  <a:cubicBezTo>
                    <a:pt x="400090" y="337586"/>
                    <a:pt x="377454" y="314981"/>
                    <a:pt x="377454" y="287096"/>
                  </a:cubicBezTo>
                  <a:cubicBezTo>
                    <a:pt x="377454" y="259211"/>
                    <a:pt x="400090" y="236606"/>
                    <a:pt x="428014" y="236606"/>
                  </a:cubicBezTo>
                  <a:close/>
                  <a:moveTo>
                    <a:pt x="96924" y="171248"/>
                  </a:moveTo>
                  <a:cubicBezTo>
                    <a:pt x="93922" y="171248"/>
                    <a:pt x="91671" y="173645"/>
                    <a:pt x="91671" y="176642"/>
                  </a:cubicBezTo>
                  <a:cubicBezTo>
                    <a:pt x="91671" y="179488"/>
                    <a:pt x="93922" y="181886"/>
                    <a:pt x="96924" y="181886"/>
                  </a:cubicBezTo>
                  <a:lnTo>
                    <a:pt x="496585" y="181886"/>
                  </a:lnTo>
                  <a:cubicBezTo>
                    <a:pt x="499437" y="181886"/>
                    <a:pt x="501838" y="179488"/>
                    <a:pt x="501838" y="176642"/>
                  </a:cubicBezTo>
                  <a:cubicBezTo>
                    <a:pt x="501838" y="173645"/>
                    <a:pt x="499437" y="171248"/>
                    <a:pt x="496585" y="171248"/>
                  </a:cubicBezTo>
                  <a:close/>
                  <a:moveTo>
                    <a:pt x="96924" y="103823"/>
                  </a:moveTo>
                  <a:cubicBezTo>
                    <a:pt x="93922" y="103823"/>
                    <a:pt x="91671" y="106220"/>
                    <a:pt x="91671" y="109067"/>
                  </a:cubicBezTo>
                  <a:cubicBezTo>
                    <a:pt x="91671" y="112064"/>
                    <a:pt x="93922" y="114311"/>
                    <a:pt x="96924" y="114311"/>
                  </a:cubicBezTo>
                  <a:lnTo>
                    <a:pt x="496585" y="114311"/>
                  </a:lnTo>
                  <a:cubicBezTo>
                    <a:pt x="499437" y="114311"/>
                    <a:pt x="501838" y="112064"/>
                    <a:pt x="501838" y="109067"/>
                  </a:cubicBezTo>
                  <a:cubicBezTo>
                    <a:pt x="501838" y="106220"/>
                    <a:pt x="499437" y="103823"/>
                    <a:pt x="496585" y="103823"/>
                  </a:cubicBezTo>
                  <a:close/>
                  <a:moveTo>
                    <a:pt x="64206" y="52430"/>
                  </a:moveTo>
                  <a:lnTo>
                    <a:pt x="539058" y="52430"/>
                  </a:lnTo>
                  <a:cubicBezTo>
                    <a:pt x="550764" y="52430"/>
                    <a:pt x="560219" y="62019"/>
                    <a:pt x="560219" y="73706"/>
                  </a:cubicBezTo>
                  <a:lnTo>
                    <a:pt x="560219" y="343406"/>
                  </a:lnTo>
                  <a:cubicBezTo>
                    <a:pt x="560219" y="355093"/>
                    <a:pt x="550764" y="364682"/>
                    <a:pt x="539058" y="364682"/>
                  </a:cubicBezTo>
                  <a:lnTo>
                    <a:pt x="486830" y="364682"/>
                  </a:lnTo>
                  <a:lnTo>
                    <a:pt x="480227" y="327973"/>
                  </a:lnTo>
                  <a:cubicBezTo>
                    <a:pt x="489532" y="316436"/>
                    <a:pt x="495085" y="301902"/>
                    <a:pt x="495085" y="286170"/>
                  </a:cubicBezTo>
                  <a:cubicBezTo>
                    <a:pt x="495085" y="249460"/>
                    <a:pt x="465219" y="219793"/>
                    <a:pt x="428599" y="219793"/>
                  </a:cubicBezTo>
                  <a:cubicBezTo>
                    <a:pt x="391980" y="219793"/>
                    <a:pt x="362114" y="249460"/>
                    <a:pt x="362114" y="286170"/>
                  </a:cubicBezTo>
                  <a:cubicBezTo>
                    <a:pt x="362114" y="300104"/>
                    <a:pt x="366617" y="313139"/>
                    <a:pt x="373970" y="323778"/>
                  </a:cubicBezTo>
                  <a:lnTo>
                    <a:pt x="364966" y="364682"/>
                  </a:lnTo>
                  <a:lnTo>
                    <a:pt x="64206" y="364682"/>
                  </a:lnTo>
                  <a:cubicBezTo>
                    <a:pt x="52500" y="364682"/>
                    <a:pt x="43045" y="355093"/>
                    <a:pt x="43045" y="343406"/>
                  </a:cubicBezTo>
                  <a:lnTo>
                    <a:pt x="43045" y="73706"/>
                  </a:lnTo>
                  <a:cubicBezTo>
                    <a:pt x="43045" y="62019"/>
                    <a:pt x="52500" y="52430"/>
                    <a:pt x="64206" y="52430"/>
                  </a:cubicBezTo>
                  <a:close/>
                  <a:moveTo>
                    <a:pt x="37069" y="0"/>
                  </a:moveTo>
                  <a:lnTo>
                    <a:pt x="571346" y="0"/>
                  </a:lnTo>
                  <a:cubicBezTo>
                    <a:pt x="591757" y="0"/>
                    <a:pt x="608415" y="16332"/>
                    <a:pt x="608415" y="36260"/>
                  </a:cubicBezTo>
                  <a:lnTo>
                    <a:pt x="608415" y="384178"/>
                  </a:lnTo>
                  <a:cubicBezTo>
                    <a:pt x="608415" y="404106"/>
                    <a:pt x="591757" y="420288"/>
                    <a:pt x="571346" y="420288"/>
                  </a:cubicBezTo>
                  <a:lnTo>
                    <a:pt x="497508" y="420288"/>
                  </a:lnTo>
                  <a:lnTo>
                    <a:pt x="491655" y="388523"/>
                  </a:lnTo>
                  <a:lnTo>
                    <a:pt x="571346" y="388523"/>
                  </a:lnTo>
                  <a:cubicBezTo>
                    <a:pt x="574197" y="388523"/>
                    <a:pt x="576599" y="386425"/>
                    <a:pt x="576599" y="384178"/>
                  </a:cubicBezTo>
                  <a:lnTo>
                    <a:pt x="576599" y="36260"/>
                  </a:lnTo>
                  <a:cubicBezTo>
                    <a:pt x="576599" y="33863"/>
                    <a:pt x="574197" y="31915"/>
                    <a:pt x="571346" y="31915"/>
                  </a:cubicBezTo>
                  <a:lnTo>
                    <a:pt x="37069" y="31915"/>
                  </a:lnTo>
                  <a:cubicBezTo>
                    <a:pt x="34218" y="31915"/>
                    <a:pt x="31816" y="33863"/>
                    <a:pt x="31816" y="36260"/>
                  </a:cubicBezTo>
                  <a:lnTo>
                    <a:pt x="31816" y="384178"/>
                  </a:lnTo>
                  <a:cubicBezTo>
                    <a:pt x="31816" y="386425"/>
                    <a:pt x="34218" y="388523"/>
                    <a:pt x="37069" y="388523"/>
                  </a:cubicBezTo>
                  <a:lnTo>
                    <a:pt x="359736" y="388523"/>
                  </a:lnTo>
                  <a:lnTo>
                    <a:pt x="357185" y="399910"/>
                  </a:lnTo>
                  <a:cubicBezTo>
                    <a:pt x="355534" y="407103"/>
                    <a:pt x="356585" y="413096"/>
                    <a:pt x="360337" y="417741"/>
                  </a:cubicBezTo>
                  <a:lnTo>
                    <a:pt x="362588" y="420288"/>
                  </a:lnTo>
                  <a:lnTo>
                    <a:pt x="37069" y="420288"/>
                  </a:lnTo>
                  <a:cubicBezTo>
                    <a:pt x="16658" y="420288"/>
                    <a:pt x="0" y="404106"/>
                    <a:pt x="0" y="384178"/>
                  </a:cubicBezTo>
                  <a:lnTo>
                    <a:pt x="0" y="36260"/>
                  </a:lnTo>
                  <a:cubicBezTo>
                    <a:pt x="0" y="16332"/>
                    <a:pt x="16658" y="0"/>
                    <a:pt x="37069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91" name="文本框 90"/>
            <p:cNvSpPr txBox="1"/>
            <p:nvPr/>
          </p:nvSpPr>
          <p:spPr>
            <a:xfrm>
              <a:off x="29700" y="8255"/>
              <a:ext cx="1728" cy="48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转换规则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cxnSp>
        <p:nvCxnSpPr>
          <p:cNvPr id="65" name="直接箭头连接符 64"/>
          <p:cNvCxnSpPr>
            <a:endCxn id="30" idx="2"/>
          </p:cNvCxnSpPr>
          <p:nvPr/>
        </p:nvCxnSpPr>
        <p:spPr>
          <a:xfrm flipV="1">
            <a:off x="17693640" y="7079615"/>
            <a:ext cx="18415" cy="1006475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箭头连接符 65"/>
          <p:cNvCxnSpPr>
            <a:stCxn id="176" idx="2"/>
          </p:cNvCxnSpPr>
          <p:nvPr/>
        </p:nvCxnSpPr>
        <p:spPr>
          <a:xfrm flipH="1">
            <a:off x="12791440" y="5666740"/>
            <a:ext cx="8255" cy="720725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组合 95"/>
          <p:cNvGrpSpPr/>
          <p:nvPr/>
        </p:nvGrpSpPr>
        <p:grpSpPr>
          <a:xfrm rot="0">
            <a:off x="18030190" y="3952240"/>
            <a:ext cx="1869440" cy="1692275"/>
            <a:chOff x="19296" y="10260"/>
            <a:chExt cx="2905" cy="2068"/>
          </a:xfrm>
        </p:grpSpPr>
        <p:sp>
          <p:nvSpPr>
            <p:cNvPr id="90" name="school-with-a-flag_70987"/>
            <p:cNvSpPr>
              <a:spLocks noChangeAspect="1"/>
            </p:cNvSpPr>
            <p:nvPr/>
          </p:nvSpPr>
          <p:spPr bwMode="auto">
            <a:xfrm>
              <a:off x="19718" y="10260"/>
              <a:ext cx="1940" cy="1623"/>
            </a:xfrm>
            <a:custGeom>
              <a:avLst/>
              <a:gdLst>
                <a:gd name="T0" fmla="*/ 1074 w 3867"/>
                <a:gd name="T1" fmla="*/ 135 h 3239"/>
                <a:gd name="T2" fmla="*/ 1163 w 3867"/>
                <a:gd name="T3" fmla="*/ 698 h 3239"/>
                <a:gd name="T4" fmla="*/ 1242 w 3867"/>
                <a:gd name="T5" fmla="*/ 1110 h 3239"/>
                <a:gd name="T6" fmla="*/ 0 w 3867"/>
                <a:gd name="T7" fmla="*/ 1839 h 3239"/>
                <a:gd name="T8" fmla="*/ 3867 w 3867"/>
                <a:gd name="T9" fmla="*/ 3172 h 3239"/>
                <a:gd name="T10" fmla="*/ 2667 w 3867"/>
                <a:gd name="T11" fmla="*/ 1172 h 3239"/>
                <a:gd name="T12" fmla="*/ 1933 w 3867"/>
                <a:gd name="T13" fmla="*/ 39 h 3239"/>
                <a:gd name="T14" fmla="*/ 1314 w 3867"/>
                <a:gd name="T15" fmla="*/ 0 h 3239"/>
                <a:gd name="T16" fmla="*/ 1867 w 3867"/>
                <a:gd name="T17" fmla="*/ 198 h 3239"/>
                <a:gd name="T18" fmla="*/ 1326 w 3867"/>
                <a:gd name="T19" fmla="*/ 402 h 3239"/>
                <a:gd name="T20" fmla="*/ 1305 w 3867"/>
                <a:gd name="T21" fmla="*/ 133 h 3239"/>
                <a:gd name="T22" fmla="*/ 2552 w 3867"/>
                <a:gd name="T23" fmla="*/ 1885 h 3239"/>
                <a:gd name="T24" fmla="*/ 3733 w 3867"/>
                <a:gd name="T25" fmla="*/ 3105 h 3239"/>
                <a:gd name="T26" fmla="*/ 1600 w 3867"/>
                <a:gd name="T27" fmla="*/ 2639 h 3239"/>
                <a:gd name="T28" fmla="*/ 1267 w 3867"/>
                <a:gd name="T29" fmla="*/ 1905 h 3239"/>
                <a:gd name="T30" fmla="*/ 1533 w 3867"/>
                <a:gd name="T31" fmla="*/ 1372 h 3239"/>
                <a:gd name="T32" fmla="*/ 1800 w 3867"/>
                <a:gd name="T33" fmla="*/ 1772 h 3239"/>
                <a:gd name="T34" fmla="*/ 1533 w 3867"/>
                <a:gd name="T35" fmla="*/ 1372 h 3239"/>
                <a:gd name="T36" fmla="*/ 2067 w 3867"/>
                <a:gd name="T37" fmla="*/ 1772 h 3239"/>
                <a:gd name="T38" fmla="*/ 2333 w 3867"/>
                <a:gd name="T39" fmla="*/ 1372 h 3239"/>
                <a:gd name="T40" fmla="*/ 1733 w 3867"/>
                <a:gd name="T41" fmla="*/ 1639 h 3239"/>
                <a:gd name="T42" fmla="*/ 2267 w 3867"/>
                <a:gd name="T43" fmla="*/ 1505 h 3239"/>
                <a:gd name="T44" fmla="*/ 1533 w 3867"/>
                <a:gd name="T45" fmla="*/ 1905 h 3239"/>
                <a:gd name="T46" fmla="*/ 1800 w 3867"/>
                <a:gd name="T47" fmla="*/ 2305 h 3239"/>
                <a:gd name="T48" fmla="*/ 1533 w 3867"/>
                <a:gd name="T49" fmla="*/ 1905 h 3239"/>
                <a:gd name="T50" fmla="*/ 2067 w 3867"/>
                <a:gd name="T51" fmla="*/ 2305 h 3239"/>
                <a:gd name="T52" fmla="*/ 2333 w 3867"/>
                <a:gd name="T53" fmla="*/ 1905 h 3239"/>
                <a:gd name="T54" fmla="*/ 267 w 3867"/>
                <a:gd name="T55" fmla="*/ 2372 h 3239"/>
                <a:gd name="T56" fmla="*/ 667 w 3867"/>
                <a:gd name="T57" fmla="*/ 2105 h 3239"/>
                <a:gd name="T58" fmla="*/ 800 w 3867"/>
                <a:gd name="T59" fmla="*/ 2105 h 3239"/>
                <a:gd name="T60" fmla="*/ 1200 w 3867"/>
                <a:gd name="T61" fmla="*/ 2372 h 3239"/>
                <a:gd name="T62" fmla="*/ 1600 w 3867"/>
                <a:gd name="T63" fmla="*/ 2039 h 3239"/>
                <a:gd name="T64" fmla="*/ 1600 w 3867"/>
                <a:gd name="T65" fmla="*/ 2039 h 3239"/>
                <a:gd name="T66" fmla="*/ 2133 w 3867"/>
                <a:gd name="T67" fmla="*/ 2172 h 3239"/>
                <a:gd name="T68" fmla="*/ 2667 w 3867"/>
                <a:gd name="T69" fmla="*/ 2372 h 3239"/>
                <a:gd name="T70" fmla="*/ 3067 w 3867"/>
                <a:gd name="T71" fmla="*/ 2105 h 3239"/>
                <a:gd name="T72" fmla="*/ 3200 w 3867"/>
                <a:gd name="T73" fmla="*/ 2105 h 3239"/>
                <a:gd name="T74" fmla="*/ 3600 w 3867"/>
                <a:gd name="T75" fmla="*/ 2372 h 3239"/>
                <a:gd name="T76" fmla="*/ 400 w 3867"/>
                <a:gd name="T77" fmla="*/ 2172 h 3239"/>
                <a:gd name="T78" fmla="*/ 400 w 3867"/>
                <a:gd name="T79" fmla="*/ 2172 h 3239"/>
                <a:gd name="T80" fmla="*/ 933 w 3867"/>
                <a:gd name="T81" fmla="*/ 2305 h 3239"/>
                <a:gd name="T82" fmla="*/ 2933 w 3867"/>
                <a:gd name="T83" fmla="*/ 2305 h 3239"/>
                <a:gd name="T84" fmla="*/ 3467 w 3867"/>
                <a:gd name="T85" fmla="*/ 2172 h 3239"/>
                <a:gd name="T86" fmla="*/ 1933 w 3867"/>
                <a:gd name="T87" fmla="*/ 2505 h 3239"/>
                <a:gd name="T88" fmla="*/ 1733 w 3867"/>
                <a:gd name="T89" fmla="*/ 2639 h 3239"/>
                <a:gd name="T90" fmla="*/ 267 w 3867"/>
                <a:gd name="T91" fmla="*/ 2905 h 3239"/>
                <a:gd name="T92" fmla="*/ 667 w 3867"/>
                <a:gd name="T93" fmla="*/ 2639 h 3239"/>
                <a:gd name="T94" fmla="*/ 800 w 3867"/>
                <a:gd name="T95" fmla="*/ 2639 h 3239"/>
                <a:gd name="T96" fmla="*/ 1200 w 3867"/>
                <a:gd name="T97" fmla="*/ 2905 h 3239"/>
                <a:gd name="T98" fmla="*/ 2733 w 3867"/>
                <a:gd name="T99" fmla="*/ 2572 h 3239"/>
                <a:gd name="T100" fmla="*/ 3000 w 3867"/>
                <a:gd name="T101" fmla="*/ 2972 h 3239"/>
                <a:gd name="T102" fmla="*/ 2733 w 3867"/>
                <a:gd name="T103" fmla="*/ 2572 h 3239"/>
                <a:gd name="T104" fmla="*/ 3267 w 3867"/>
                <a:gd name="T105" fmla="*/ 2972 h 3239"/>
                <a:gd name="T106" fmla="*/ 3533 w 3867"/>
                <a:gd name="T107" fmla="*/ 2572 h 3239"/>
                <a:gd name="T108" fmla="*/ 533 w 3867"/>
                <a:gd name="T109" fmla="*/ 2839 h 3239"/>
                <a:gd name="T110" fmla="*/ 1067 w 3867"/>
                <a:gd name="T111" fmla="*/ 2705 h 3239"/>
                <a:gd name="T112" fmla="*/ 2800 w 3867"/>
                <a:gd name="T113" fmla="*/ 2705 h 3239"/>
                <a:gd name="T114" fmla="*/ 2800 w 3867"/>
                <a:gd name="T115" fmla="*/ 2705 h 3239"/>
                <a:gd name="T116" fmla="*/ 3333 w 3867"/>
                <a:gd name="T117" fmla="*/ 2839 h 3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7" h="3239">
                  <a:moveTo>
                    <a:pt x="1314" y="0"/>
                  </a:moveTo>
                  <a:cubicBezTo>
                    <a:pt x="1302" y="0"/>
                    <a:pt x="1290" y="0"/>
                    <a:pt x="1279" y="1"/>
                  </a:cubicBezTo>
                  <a:cubicBezTo>
                    <a:pt x="1221" y="3"/>
                    <a:pt x="1162" y="16"/>
                    <a:pt x="1104" y="46"/>
                  </a:cubicBezTo>
                  <a:cubicBezTo>
                    <a:pt x="1071" y="62"/>
                    <a:pt x="1057" y="102"/>
                    <a:pt x="1074" y="135"/>
                  </a:cubicBezTo>
                  <a:lnTo>
                    <a:pt x="1192" y="372"/>
                  </a:lnTo>
                  <a:lnTo>
                    <a:pt x="1074" y="609"/>
                  </a:lnTo>
                  <a:cubicBezTo>
                    <a:pt x="1057" y="642"/>
                    <a:pt x="1071" y="682"/>
                    <a:pt x="1104" y="698"/>
                  </a:cubicBezTo>
                  <a:cubicBezTo>
                    <a:pt x="1122" y="708"/>
                    <a:pt x="1144" y="708"/>
                    <a:pt x="1163" y="698"/>
                  </a:cubicBezTo>
                  <a:cubicBezTo>
                    <a:pt x="1273" y="643"/>
                    <a:pt x="1384" y="670"/>
                    <a:pt x="1517" y="703"/>
                  </a:cubicBezTo>
                  <a:cubicBezTo>
                    <a:pt x="1623" y="730"/>
                    <a:pt x="1743" y="760"/>
                    <a:pt x="1867" y="732"/>
                  </a:cubicBezTo>
                  <a:lnTo>
                    <a:pt x="1867" y="860"/>
                  </a:lnTo>
                  <a:lnTo>
                    <a:pt x="1242" y="1110"/>
                  </a:lnTo>
                  <a:cubicBezTo>
                    <a:pt x="1217" y="1120"/>
                    <a:pt x="1200" y="1145"/>
                    <a:pt x="1200" y="1172"/>
                  </a:cubicBezTo>
                  <a:lnTo>
                    <a:pt x="1200" y="1772"/>
                  </a:lnTo>
                  <a:lnTo>
                    <a:pt x="67" y="1772"/>
                  </a:lnTo>
                  <a:cubicBezTo>
                    <a:pt x="30" y="1772"/>
                    <a:pt x="0" y="1802"/>
                    <a:pt x="0" y="1839"/>
                  </a:cubicBezTo>
                  <a:lnTo>
                    <a:pt x="0" y="3172"/>
                  </a:lnTo>
                  <a:cubicBezTo>
                    <a:pt x="0" y="3209"/>
                    <a:pt x="30" y="3239"/>
                    <a:pt x="67" y="3239"/>
                  </a:cubicBezTo>
                  <a:lnTo>
                    <a:pt x="3800" y="3239"/>
                  </a:lnTo>
                  <a:cubicBezTo>
                    <a:pt x="3837" y="3239"/>
                    <a:pt x="3867" y="3209"/>
                    <a:pt x="3867" y="3172"/>
                  </a:cubicBezTo>
                  <a:lnTo>
                    <a:pt x="3867" y="1839"/>
                  </a:lnTo>
                  <a:cubicBezTo>
                    <a:pt x="3867" y="1802"/>
                    <a:pt x="3837" y="1772"/>
                    <a:pt x="3800" y="1772"/>
                  </a:cubicBezTo>
                  <a:lnTo>
                    <a:pt x="2667" y="1772"/>
                  </a:lnTo>
                  <a:lnTo>
                    <a:pt x="2667" y="1172"/>
                  </a:lnTo>
                  <a:cubicBezTo>
                    <a:pt x="2667" y="1145"/>
                    <a:pt x="2650" y="1120"/>
                    <a:pt x="2625" y="1110"/>
                  </a:cubicBezTo>
                  <a:lnTo>
                    <a:pt x="2000" y="860"/>
                  </a:lnTo>
                  <a:lnTo>
                    <a:pt x="2000" y="105"/>
                  </a:lnTo>
                  <a:cubicBezTo>
                    <a:pt x="2000" y="68"/>
                    <a:pt x="1970" y="39"/>
                    <a:pt x="1933" y="39"/>
                  </a:cubicBezTo>
                  <a:cubicBezTo>
                    <a:pt x="1923" y="39"/>
                    <a:pt x="1913" y="41"/>
                    <a:pt x="1904" y="46"/>
                  </a:cubicBezTo>
                  <a:cubicBezTo>
                    <a:pt x="1794" y="100"/>
                    <a:pt x="1683" y="74"/>
                    <a:pt x="1549" y="41"/>
                  </a:cubicBezTo>
                  <a:cubicBezTo>
                    <a:pt x="1477" y="22"/>
                    <a:pt x="1397" y="2"/>
                    <a:pt x="1314" y="0"/>
                  </a:cubicBezTo>
                  <a:lnTo>
                    <a:pt x="1314" y="0"/>
                  </a:lnTo>
                  <a:close/>
                  <a:moveTo>
                    <a:pt x="1305" y="133"/>
                  </a:moveTo>
                  <a:cubicBezTo>
                    <a:pt x="1313" y="133"/>
                    <a:pt x="1322" y="134"/>
                    <a:pt x="1331" y="134"/>
                  </a:cubicBezTo>
                  <a:cubicBezTo>
                    <a:pt x="1389" y="138"/>
                    <a:pt x="1450" y="153"/>
                    <a:pt x="1517" y="170"/>
                  </a:cubicBezTo>
                  <a:cubicBezTo>
                    <a:pt x="1623" y="196"/>
                    <a:pt x="1743" y="226"/>
                    <a:pt x="1867" y="198"/>
                  </a:cubicBezTo>
                  <a:lnTo>
                    <a:pt x="1867" y="594"/>
                  </a:lnTo>
                  <a:cubicBezTo>
                    <a:pt x="1769" y="627"/>
                    <a:pt x="1668" y="603"/>
                    <a:pt x="1550" y="574"/>
                  </a:cubicBezTo>
                  <a:cubicBezTo>
                    <a:pt x="1461" y="552"/>
                    <a:pt x="1362" y="527"/>
                    <a:pt x="1259" y="536"/>
                  </a:cubicBezTo>
                  <a:lnTo>
                    <a:pt x="1326" y="402"/>
                  </a:lnTo>
                  <a:cubicBezTo>
                    <a:pt x="1336" y="383"/>
                    <a:pt x="1336" y="361"/>
                    <a:pt x="1326" y="342"/>
                  </a:cubicBezTo>
                  <a:lnTo>
                    <a:pt x="1227" y="143"/>
                  </a:lnTo>
                  <a:cubicBezTo>
                    <a:pt x="1252" y="136"/>
                    <a:pt x="1278" y="134"/>
                    <a:pt x="1305" y="133"/>
                  </a:cubicBezTo>
                  <a:lnTo>
                    <a:pt x="1305" y="133"/>
                  </a:lnTo>
                  <a:close/>
                  <a:moveTo>
                    <a:pt x="1933" y="977"/>
                  </a:moveTo>
                  <a:lnTo>
                    <a:pt x="2533" y="1217"/>
                  </a:lnTo>
                  <a:lnTo>
                    <a:pt x="2533" y="1828"/>
                  </a:lnTo>
                  <a:cubicBezTo>
                    <a:pt x="2530" y="1849"/>
                    <a:pt x="2537" y="1870"/>
                    <a:pt x="2552" y="1885"/>
                  </a:cubicBezTo>
                  <a:cubicBezTo>
                    <a:pt x="2552" y="1886"/>
                    <a:pt x="2553" y="1887"/>
                    <a:pt x="2553" y="1887"/>
                  </a:cubicBezTo>
                  <a:cubicBezTo>
                    <a:pt x="2569" y="1902"/>
                    <a:pt x="2590" y="1909"/>
                    <a:pt x="2611" y="1905"/>
                  </a:cubicBezTo>
                  <a:lnTo>
                    <a:pt x="3733" y="1905"/>
                  </a:lnTo>
                  <a:lnTo>
                    <a:pt x="3733" y="3105"/>
                  </a:lnTo>
                  <a:lnTo>
                    <a:pt x="2267" y="3105"/>
                  </a:lnTo>
                  <a:lnTo>
                    <a:pt x="2267" y="2639"/>
                  </a:lnTo>
                  <a:cubicBezTo>
                    <a:pt x="2267" y="2461"/>
                    <a:pt x="2100" y="2372"/>
                    <a:pt x="1933" y="2372"/>
                  </a:cubicBezTo>
                  <a:cubicBezTo>
                    <a:pt x="1767" y="2372"/>
                    <a:pt x="1600" y="2461"/>
                    <a:pt x="1600" y="2639"/>
                  </a:cubicBezTo>
                  <a:lnTo>
                    <a:pt x="1600" y="3105"/>
                  </a:lnTo>
                  <a:lnTo>
                    <a:pt x="133" y="3105"/>
                  </a:lnTo>
                  <a:lnTo>
                    <a:pt x="133" y="1905"/>
                  </a:lnTo>
                  <a:lnTo>
                    <a:pt x="1267" y="1905"/>
                  </a:lnTo>
                  <a:cubicBezTo>
                    <a:pt x="1304" y="1905"/>
                    <a:pt x="1333" y="1875"/>
                    <a:pt x="1333" y="1839"/>
                  </a:cubicBezTo>
                  <a:lnTo>
                    <a:pt x="1333" y="1217"/>
                  </a:lnTo>
                  <a:lnTo>
                    <a:pt x="1933" y="977"/>
                  </a:lnTo>
                  <a:close/>
                  <a:moveTo>
                    <a:pt x="1533" y="1372"/>
                  </a:moveTo>
                  <a:cubicBezTo>
                    <a:pt x="1497" y="1372"/>
                    <a:pt x="1467" y="1402"/>
                    <a:pt x="1467" y="1439"/>
                  </a:cubicBezTo>
                  <a:lnTo>
                    <a:pt x="1467" y="1705"/>
                  </a:lnTo>
                  <a:cubicBezTo>
                    <a:pt x="1467" y="1742"/>
                    <a:pt x="1497" y="1772"/>
                    <a:pt x="1533" y="1772"/>
                  </a:cubicBezTo>
                  <a:lnTo>
                    <a:pt x="1800" y="1772"/>
                  </a:lnTo>
                  <a:cubicBezTo>
                    <a:pt x="1837" y="1772"/>
                    <a:pt x="1867" y="1742"/>
                    <a:pt x="1867" y="1705"/>
                  </a:cubicBezTo>
                  <a:lnTo>
                    <a:pt x="1867" y="1439"/>
                  </a:lnTo>
                  <a:cubicBezTo>
                    <a:pt x="1867" y="1402"/>
                    <a:pt x="1837" y="1372"/>
                    <a:pt x="1800" y="1372"/>
                  </a:cubicBezTo>
                  <a:lnTo>
                    <a:pt x="1533" y="1372"/>
                  </a:lnTo>
                  <a:close/>
                  <a:moveTo>
                    <a:pt x="2067" y="1372"/>
                  </a:moveTo>
                  <a:cubicBezTo>
                    <a:pt x="2030" y="1372"/>
                    <a:pt x="2000" y="1402"/>
                    <a:pt x="2000" y="1439"/>
                  </a:cubicBezTo>
                  <a:lnTo>
                    <a:pt x="2000" y="1705"/>
                  </a:lnTo>
                  <a:cubicBezTo>
                    <a:pt x="2000" y="1742"/>
                    <a:pt x="2030" y="1772"/>
                    <a:pt x="2067" y="1772"/>
                  </a:cubicBezTo>
                  <a:lnTo>
                    <a:pt x="2333" y="1772"/>
                  </a:lnTo>
                  <a:cubicBezTo>
                    <a:pt x="2370" y="1772"/>
                    <a:pt x="2400" y="1742"/>
                    <a:pt x="2400" y="1705"/>
                  </a:cubicBezTo>
                  <a:lnTo>
                    <a:pt x="2400" y="1439"/>
                  </a:lnTo>
                  <a:cubicBezTo>
                    <a:pt x="2400" y="1402"/>
                    <a:pt x="2370" y="1372"/>
                    <a:pt x="2333" y="1372"/>
                  </a:cubicBezTo>
                  <a:lnTo>
                    <a:pt x="2067" y="1372"/>
                  </a:lnTo>
                  <a:close/>
                  <a:moveTo>
                    <a:pt x="1600" y="1505"/>
                  </a:moveTo>
                  <a:lnTo>
                    <a:pt x="1733" y="1505"/>
                  </a:lnTo>
                  <a:lnTo>
                    <a:pt x="1733" y="1639"/>
                  </a:lnTo>
                  <a:lnTo>
                    <a:pt x="1600" y="1639"/>
                  </a:lnTo>
                  <a:lnTo>
                    <a:pt x="1600" y="1505"/>
                  </a:lnTo>
                  <a:close/>
                  <a:moveTo>
                    <a:pt x="2133" y="1505"/>
                  </a:moveTo>
                  <a:lnTo>
                    <a:pt x="2267" y="1505"/>
                  </a:lnTo>
                  <a:lnTo>
                    <a:pt x="2267" y="1639"/>
                  </a:lnTo>
                  <a:lnTo>
                    <a:pt x="2133" y="1639"/>
                  </a:lnTo>
                  <a:lnTo>
                    <a:pt x="2133" y="1505"/>
                  </a:lnTo>
                  <a:close/>
                  <a:moveTo>
                    <a:pt x="1533" y="1905"/>
                  </a:moveTo>
                  <a:cubicBezTo>
                    <a:pt x="1497" y="1905"/>
                    <a:pt x="1467" y="1935"/>
                    <a:pt x="1467" y="1972"/>
                  </a:cubicBezTo>
                  <a:lnTo>
                    <a:pt x="1467" y="2239"/>
                  </a:lnTo>
                  <a:cubicBezTo>
                    <a:pt x="1467" y="2275"/>
                    <a:pt x="1497" y="2305"/>
                    <a:pt x="1533" y="2305"/>
                  </a:cubicBezTo>
                  <a:lnTo>
                    <a:pt x="1800" y="2305"/>
                  </a:lnTo>
                  <a:cubicBezTo>
                    <a:pt x="1837" y="2305"/>
                    <a:pt x="1867" y="2275"/>
                    <a:pt x="1867" y="2239"/>
                  </a:cubicBezTo>
                  <a:lnTo>
                    <a:pt x="1867" y="1972"/>
                  </a:lnTo>
                  <a:cubicBezTo>
                    <a:pt x="1867" y="1935"/>
                    <a:pt x="1837" y="1905"/>
                    <a:pt x="1800" y="1905"/>
                  </a:cubicBezTo>
                  <a:lnTo>
                    <a:pt x="1533" y="1905"/>
                  </a:lnTo>
                  <a:close/>
                  <a:moveTo>
                    <a:pt x="2067" y="1905"/>
                  </a:moveTo>
                  <a:cubicBezTo>
                    <a:pt x="2030" y="1905"/>
                    <a:pt x="2000" y="1935"/>
                    <a:pt x="2000" y="1972"/>
                  </a:cubicBezTo>
                  <a:lnTo>
                    <a:pt x="2000" y="2239"/>
                  </a:lnTo>
                  <a:cubicBezTo>
                    <a:pt x="2000" y="2275"/>
                    <a:pt x="2030" y="2305"/>
                    <a:pt x="2067" y="2305"/>
                  </a:cubicBezTo>
                  <a:lnTo>
                    <a:pt x="2333" y="2305"/>
                  </a:lnTo>
                  <a:cubicBezTo>
                    <a:pt x="2370" y="2305"/>
                    <a:pt x="2400" y="2275"/>
                    <a:pt x="2400" y="2239"/>
                  </a:cubicBezTo>
                  <a:lnTo>
                    <a:pt x="2400" y="1972"/>
                  </a:lnTo>
                  <a:cubicBezTo>
                    <a:pt x="2400" y="1935"/>
                    <a:pt x="2370" y="1905"/>
                    <a:pt x="2333" y="1905"/>
                  </a:cubicBezTo>
                  <a:lnTo>
                    <a:pt x="2067" y="1905"/>
                  </a:lnTo>
                  <a:close/>
                  <a:moveTo>
                    <a:pt x="333" y="2039"/>
                  </a:moveTo>
                  <a:cubicBezTo>
                    <a:pt x="297" y="2039"/>
                    <a:pt x="267" y="2068"/>
                    <a:pt x="267" y="2105"/>
                  </a:cubicBezTo>
                  <a:lnTo>
                    <a:pt x="267" y="2372"/>
                  </a:lnTo>
                  <a:cubicBezTo>
                    <a:pt x="267" y="2409"/>
                    <a:pt x="297" y="2439"/>
                    <a:pt x="333" y="2439"/>
                  </a:cubicBezTo>
                  <a:lnTo>
                    <a:pt x="600" y="2439"/>
                  </a:lnTo>
                  <a:cubicBezTo>
                    <a:pt x="637" y="2439"/>
                    <a:pt x="667" y="2409"/>
                    <a:pt x="667" y="2372"/>
                  </a:cubicBezTo>
                  <a:lnTo>
                    <a:pt x="667" y="2105"/>
                  </a:lnTo>
                  <a:cubicBezTo>
                    <a:pt x="667" y="2068"/>
                    <a:pt x="637" y="2039"/>
                    <a:pt x="600" y="2039"/>
                  </a:cubicBezTo>
                  <a:lnTo>
                    <a:pt x="333" y="2039"/>
                  </a:lnTo>
                  <a:close/>
                  <a:moveTo>
                    <a:pt x="867" y="2039"/>
                  </a:moveTo>
                  <a:cubicBezTo>
                    <a:pt x="830" y="2039"/>
                    <a:pt x="800" y="2068"/>
                    <a:pt x="800" y="2105"/>
                  </a:cubicBezTo>
                  <a:lnTo>
                    <a:pt x="800" y="2372"/>
                  </a:lnTo>
                  <a:cubicBezTo>
                    <a:pt x="800" y="2409"/>
                    <a:pt x="830" y="2439"/>
                    <a:pt x="867" y="2439"/>
                  </a:cubicBezTo>
                  <a:lnTo>
                    <a:pt x="1133" y="2439"/>
                  </a:lnTo>
                  <a:cubicBezTo>
                    <a:pt x="1170" y="2439"/>
                    <a:pt x="1200" y="2409"/>
                    <a:pt x="1200" y="2372"/>
                  </a:cubicBezTo>
                  <a:lnTo>
                    <a:pt x="1200" y="2105"/>
                  </a:lnTo>
                  <a:cubicBezTo>
                    <a:pt x="1200" y="2068"/>
                    <a:pt x="1170" y="2039"/>
                    <a:pt x="1133" y="2039"/>
                  </a:cubicBezTo>
                  <a:lnTo>
                    <a:pt x="867" y="2039"/>
                  </a:lnTo>
                  <a:close/>
                  <a:moveTo>
                    <a:pt x="1600" y="2039"/>
                  </a:moveTo>
                  <a:lnTo>
                    <a:pt x="1733" y="2039"/>
                  </a:lnTo>
                  <a:lnTo>
                    <a:pt x="1733" y="2172"/>
                  </a:lnTo>
                  <a:lnTo>
                    <a:pt x="1600" y="2172"/>
                  </a:lnTo>
                  <a:lnTo>
                    <a:pt x="1600" y="2039"/>
                  </a:lnTo>
                  <a:close/>
                  <a:moveTo>
                    <a:pt x="2133" y="2039"/>
                  </a:moveTo>
                  <a:lnTo>
                    <a:pt x="2267" y="2039"/>
                  </a:lnTo>
                  <a:lnTo>
                    <a:pt x="2267" y="2172"/>
                  </a:lnTo>
                  <a:lnTo>
                    <a:pt x="2133" y="2172"/>
                  </a:lnTo>
                  <a:lnTo>
                    <a:pt x="2133" y="2039"/>
                  </a:lnTo>
                  <a:close/>
                  <a:moveTo>
                    <a:pt x="2733" y="2039"/>
                  </a:moveTo>
                  <a:cubicBezTo>
                    <a:pt x="2697" y="2039"/>
                    <a:pt x="2667" y="2068"/>
                    <a:pt x="2667" y="2105"/>
                  </a:cubicBezTo>
                  <a:lnTo>
                    <a:pt x="2667" y="2372"/>
                  </a:lnTo>
                  <a:cubicBezTo>
                    <a:pt x="2667" y="2409"/>
                    <a:pt x="2697" y="2439"/>
                    <a:pt x="2733" y="2439"/>
                  </a:cubicBezTo>
                  <a:lnTo>
                    <a:pt x="3000" y="2439"/>
                  </a:lnTo>
                  <a:cubicBezTo>
                    <a:pt x="3037" y="2439"/>
                    <a:pt x="3067" y="2409"/>
                    <a:pt x="3067" y="2372"/>
                  </a:cubicBezTo>
                  <a:lnTo>
                    <a:pt x="3067" y="2105"/>
                  </a:lnTo>
                  <a:cubicBezTo>
                    <a:pt x="3067" y="2068"/>
                    <a:pt x="3037" y="2039"/>
                    <a:pt x="3000" y="2039"/>
                  </a:cubicBezTo>
                  <a:lnTo>
                    <a:pt x="2733" y="2039"/>
                  </a:lnTo>
                  <a:close/>
                  <a:moveTo>
                    <a:pt x="3267" y="2039"/>
                  </a:moveTo>
                  <a:cubicBezTo>
                    <a:pt x="3230" y="2039"/>
                    <a:pt x="3200" y="2068"/>
                    <a:pt x="3200" y="2105"/>
                  </a:cubicBezTo>
                  <a:lnTo>
                    <a:pt x="3200" y="2372"/>
                  </a:lnTo>
                  <a:cubicBezTo>
                    <a:pt x="3200" y="2409"/>
                    <a:pt x="3230" y="2439"/>
                    <a:pt x="3267" y="2439"/>
                  </a:cubicBezTo>
                  <a:lnTo>
                    <a:pt x="3533" y="2439"/>
                  </a:lnTo>
                  <a:cubicBezTo>
                    <a:pt x="3570" y="2439"/>
                    <a:pt x="3600" y="2409"/>
                    <a:pt x="3600" y="2372"/>
                  </a:cubicBezTo>
                  <a:lnTo>
                    <a:pt x="3600" y="2105"/>
                  </a:lnTo>
                  <a:cubicBezTo>
                    <a:pt x="3600" y="2068"/>
                    <a:pt x="3570" y="2039"/>
                    <a:pt x="3533" y="2039"/>
                  </a:cubicBezTo>
                  <a:lnTo>
                    <a:pt x="3267" y="2039"/>
                  </a:lnTo>
                  <a:close/>
                  <a:moveTo>
                    <a:pt x="400" y="2172"/>
                  </a:moveTo>
                  <a:lnTo>
                    <a:pt x="533" y="2172"/>
                  </a:lnTo>
                  <a:lnTo>
                    <a:pt x="533" y="2305"/>
                  </a:lnTo>
                  <a:lnTo>
                    <a:pt x="400" y="2305"/>
                  </a:lnTo>
                  <a:lnTo>
                    <a:pt x="400" y="2172"/>
                  </a:lnTo>
                  <a:close/>
                  <a:moveTo>
                    <a:pt x="933" y="2172"/>
                  </a:moveTo>
                  <a:lnTo>
                    <a:pt x="1067" y="2172"/>
                  </a:lnTo>
                  <a:lnTo>
                    <a:pt x="1067" y="2305"/>
                  </a:lnTo>
                  <a:lnTo>
                    <a:pt x="933" y="2305"/>
                  </a:lnTo>
                  <a:lnTo>
                    <a:pt x="933" y="2172"/>
                  </a:lnTo>
                  <a:close/>
                  <a:moveTo>
                    <a:pt x="2800" y="2172"/>
                  </a:moveTo>
                  <a:lnTo>
                    <a:pt x="2933" y="2172"/>
                  </a:lnTo>
                  <a:lnTo>
                    <a:pt x="2933" y="2305"/>
                  </a:lnTo>
                  <a:lnTo>
                    <a:pt x="2800" y="2305"/>
                  </a:lnTo>
                  <a:lnTo>
                    <a:pt x="2800" y="2172"/>
                  </a:lnTo>
                  <a:close/>
                  <a:moveTo>
                    <a:pt x="3333" y="2172"/>
                  </a:moveTo>
                  <a:lnTo>
                    <a:pt x="3467" y="2172"/>
                  </a:lnTo>
                  <a:lnTo>
                    <a:pt x="3467" y="2305"/>
                  </a:lnTo>
                  <a:lnTo>
                    <a:pt x="3333" y="2305"/>
                  </a:lnTo>
                  <a:lnTo>
                    <a:pt x="3333" y="2172"/>
                  </a:lnTo>
                  <a:close/>
                  <a:moveTo>
                    <a:pt x="1933" y="2505"/>
                  </a:moveTo>
                  <a:cubicBezTo>
                    <a:pt x="2033" y="2505"/>
                    <a:pt x="2133" y="2550"/>
                    <a:pt x="2133" y="2639"/>
                  </a:cubicBezTo>
                  <a:lnTo>
                    <a:pt x="2133" y="3105"/>
                  </a:lnTo>
                  <a:lnTo>
                    <a:pt x="1733" y="3105"/>
                  </a:lnTo>
                  <a:lnTo>
                    <a:pt x="1733" y="2639"/>
                  </a:lnTo>
                  <a:cubicBezTo>
                    <a:pt x="1733" y="2550"/>
                    <a:pt x="1833" y="2505"/>
                    <a:pt x="1933" y="2505"/>
                  </a:cubicBezTo>
                  <a:close/>
                  <a:moveTo>
                    <a:pt x="333" y="2572"/>
                  </a:moveTo>
                  <a:cubicBezTo>
                    <a:pt x="297" y="2572"/>
                    <a:pt x="267" y="2602"/>
                    <a:pt x="267" y="2639"/>
                  </a:cubicBezTo>
                  <a:lnTo>
                    <a:pt x="267" y="2905"/>
                  </a:lnTo>
                  <a:cubicBezTo>
                    <a:pt x="267" y="2942"/>
                    <a:pt x="297" y="2972"/>
                    <a:pt x="333" y="2972"/>
                  </a:cubicBezTo>
                  <a:lnTo>
                    <a:pt x="600" y="2972"/>
                  </a:lnTo>
                  <a:cubicBezTo>
                    <a:pt x="637" y="2972"/>
                    <a:pt x="667" y="2942"/>
                    <a:pt x="667" y="2905"/>
                  </a:cubicBezTo>
                  <a:lnTo>
                    <a:pt x="667" y="2639"/>
                  </a:lnTo>
                  <a:cubicBezTo>
                    <a:pt x="667" y="2602"/>
                    <a:pt x="637" y="2572"/>
                    <a:pt x="600" y="2572"/>
                  </a:cubicBezTo>
                  <a:lnTo>
                    <a:pt x="333" y="2572"/>
                  </a:lnTo>
                  <a:close/>
                  <a:moveTo>
                    <a:pt x="867" y="2572"/>
                  </a:moveTo>
                  <a:cubicBezTo>
                    <a:pt x="830" y="2572"/>
                    <a:pt x="800" y="2602"/>
                    <a:pt x="800" y="2639"/>
                  </a:cubicBezTo>
                  <a:lnTo>
                    <a:pt x="800" y="2905"/>
                  </a:lnTo>
                  <a:cubicBezTo>
                    <a:pt x="800" y="2942"/>
                    <a:pt x="830" y="2972"/>
                    <a:pt x="867" y="2972"/>
                  </a:cubicBezTo>
                  <a:lnTo>
                    <a:pt x="1133" y="2972"/>
                  </a:lnTo>
                  <a:cubicBezTo>
                    <a:pt x="1170" y="2972"/>
                    <a:pt x="1200" y="2942"/>
                    <a:pt x="1200" y="2905"/>
                  </a:cubicBezTo>
                  <a:lnTo>
                    <a:pt x="1200" y="2639"/>
                  </a:lnTo>
                  <a:cubicBezTo>
                    <a:pt x="1200" y="2602"/>
                    <a:pt x="1170" y="2572"/>
                    <a:pt x="1133" y="2572"/>
                  </a:cubicBezTo>
                  <a:lnTo>
                    <a:pt x="867" y="2572"/>
                  </a:lnTo>
                  <a:close/>
                  <a:moveTo>
                    <a:pt x="2733" y="2572"/>
                  </a:moveTo>
                  <a:cubicBezTo>
                    <a:pt x="2697" y="2572"/>
                    <a:pt x="2667" y="2602"/>
                    <a:pt x="2667" y="2639"/>
                  </a:cubicBezTo>
                  <a:lnTo>
                    <a:pt x="2667" y="2905"/>
                  </a:lnTo>
                  <a:cubicBezTo>
                    <a:pt x="2667" y="2942"/>
                    <a:pt x="2697" y="2972"/>
                    <a:pt x="2733" y="2972"/>
                  </a:cubicBezTo>
                  <a:lnTo>
                    <a:pt x="3000" y="2972"/>
                  </a:lnTo>
                  <a:cubicBezTo>
                    <a:pt x="3037" y="2972"/>
                    <a:pt x="3067" y="2942"/>
                    <a:pt x="3067" y="2905"/>
                  </a:cubicBezTo>
                  <a:lnTo>
                    <a:pt x="3067" y="2639"/>
                  </a:lnTo>
                  <a:cubicBezTo>
                    <a:pt x="3067" y="2602"/>
                    <a:pt x="3037" y="2572"/>
                    <a:pt x="3000" y="2572"/>
                  </a:cubicBezTo>
                  <a:lnTo>
                    <a:pt x="2733" y="2572"/>
                  </a:lnTo>
                  <a:close/>
                  <a:moveTo>
                    <a:pt x="3267" y="2572"/>
                  </a:moveTo>
                  <a:cubicBezTo>
                    <a:pt x="3230" y="2572"/>
                    <a:pt x="3200" y="2602"/>
                    <a:pt x="3200" y="2639"/>
                  </a:cubicBezTo>
                  <a:lnTo>
                    <a:pt x="3200" y="2905"/>
                  </a:lnTo>
                  <a:cubicBezTo>
                    <a:pt x="3200" y="2942"/>
                    <a:pt x="3230" y="2972"/>
                    <a:pt x="3267" y="2972"/>
                  </a:cubicBezTo>
                  <a:lnTo>
                    <a:pt x="3533" y="2972"/>
                  </a:lnTo>
                  <a:cubicBezTo>
                    <a:pt x="3570" y="2972"/>
                    <a:pt x="3600" y="2942"/>
                    <a:pt x="3600" y="2905"/>
                  </a:cubicBezTo>
                  <a:lnTo>
                    <a:pt x="3600" y="2639"/>
                  </a:lnTo>
                  <a:cubicBezTo>
                    <a:pt x="3600" y="2602"/>
                    <a:pt x="3570" y="2572"/>
                    <a:pt x="3533" y="2572"/>
                  </a:cubicBezTo>
                  <a:lnTo>
                    <a:pt x="3267" y="2572"/>
                  </a:lnTo>
                  <a:close/>
                  <a:moveTo>
                    <a:pt x="400" y="2705"/>
                  </a:moveTo>
                  <a:lnTo>
                    <a:pt x="533" y="2705"/>
                  </a:lnTo>
                  <a:lnTo>
                    <a:pt x="533" y="2839"/>
                  </a:lnTo>
                  <a:lnTo>
                    <a:pt x="400" y="2839"/>
                  </a:lnTo>
                  <a:lnTo>
                    <a:pt x="400" y="2705"/>
                  </a:lnTo>
                  <a:close/>
                  <a:moveTo>
                    <a:pt x="933" y="2705"/>
                  </a:moveTo>
                  <a:lnTo>
                    <a:pt x="1067" y="2705"/>
                  </a:lnTo>
                  <a:lnTo>
                    <a:pt x="1067" y="2839"/>
                  </a:lnTo>
                  <a:lnTo>
                    <a:pt x="933" y="2839"/>
                  </a:lnTo>
                  <a:lnTo>
                    <a:pt x="933" y="2705"/>
                  </a:lnTo>
                  <a:close/>
                  <a:moveTo>
                    <a:pt x="2800" y="2705"/>
                  </a:moveTo>
                  <a:lnTo>
                    <a:pt x="2933" y="2705"/>
                  </a:lnTo>
                  <a:lnTo>
                    <a:pt x="2933" y="2839"/>
                  </a:lnTo>
                  <a:lnTo>
                    <a:pt x="2800" y="2839"/>
                  </a:lnTo>
                  <a:lnTo>
                    <a:pt x="2800" y="2705"/>
                  </a:lnTo>
                  <a:close/>
                  <a:moveTo>
                    <a:pt x="3333" y="2705"/>
                  </a:moveTo>
                  <a:lnTo>
                    <a:pt x="3467" y="2705"/>
                  </a:lnTo>
                  <a:lnTo>
                    <a:pt x="3467" y="2839"/>
                  </a:lnTo>
                  <a:lnTo>
                    <a:pt x="3333" y="2839"/>
                  </a:lnTo>
                  <a:lnTo>
                    <a:pt x="3333" y="270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p>
              <a:endParaRPr lang="zh-CN" altLang="en-US"/>
            </a:p>
          </p:txBody>
        </p:sp>
        <p:sp>
          <p:nvSpPr>
            <p:cNvPr id="95" name="文本框 94"/>
            <p:cNvSpPr txBox="1"/>
            <p:nvPr/>
          </p:nvSpPr>
          <p:spPr>
            <a:xfrm>
              <a:off x="19296" y="11878"/>
              <a:ext cx="2905" cy="4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 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互认联盟机构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cxnSp>
        <p:nvCxnSpPr>
          <p:cNvPr id="67" name="直接箭头连接符 66"/>
          <p:cNvCxnSpPr>
            <a:stCxn id="95" idx="2"/>
          </p:cNvCxnSpPr>
          <p:nvPr/>
        </p:nvCxnSpPr>
        <p:spPr>
          <a:xfrm>
            <a:off x="18964910" y="5644515"/>
            <a:ext cx="17780" cy="9436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>
            <a:stCxn id="24" idx="0"/>
            <a:endCxn id="141" idx="2"/>
          </p:cNvCxnSpPr>
          <p:nvPr/>
        </p:nvCxnSpPr>
        <p:spPr>
          <a:xfrm flipH="1" flipV="1">
            <a:off x="10507345" y="7079615"/>
            <a:ext cx="8255" cy="970280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/>
          <p:cNvCxnSpPr/>
          <p:nvPr/>
        </p:nvCxnSpPr>
        <p:spPr>
          <a:xfrm>
            <a:off x="9204960" y="5570855"/>
            <a:ext cx="0" cy="1080135"/>
          </a:xfrm>
          <a:prstGeom prst="line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组合 97"/>
          <p:cNvGrpSpPr/>
          <p:nvPr/>
        </p:nvGrpSpPr>
        <p:grpSpPr>
          <a:xfrm rot="0">
            <a:off x="14504035" y="4577715"/>
            <a:ext cx="1273175" cy="1114425"/>
            <a:chOff x="22855" y="7431"/>
            <a:chExt cx="1728" cy="1469"/>
          </a:xfrm>
        </p:grpSpPr>
        <p:sp>
          <p:nvSpPr>
            <p:cNvPr id="99" name="xlsx-file_317779"/>
            <p:cNvSpPr>
              <a:spLocks noChangeAspect="1"/>
            </p:cNvSpPr>
            <p:nvPr/>
          </p:nvSpPr>
          <p:spPr bwMode="auto">
            <a:xfrm>
              <a:off x="23354" y="7431"/>
              <a:ext cx="801" cy="960"/>
            </a:xfrm>
            <a:custGeom>
              <a:avLst/>
              <a:gdLst>
                <a:gd name="connsiteX0" fmla="*/ 278476 w 506307"/>
                <a:gd name="connsiteY0" fmla="*/ 404480 h 606722"/>
                <a:gd name="connsiteX1" fmla="*/ 278476 w 506307"/>
                <a:gd name="connsiteY1" fmla="*/ 480293 h 606722"/>
                <a:gd name="connsiteX2" fmla="*/ 354400 w 506307"/>
                <a:gd name="connsiteY2" fmla="*/ 480293 h 606722"/>
                <a:gd name="connsiteX3" fmla="*/ 354400 w 506307"/>
                <a:gd name="connsiteY3" fmla="*/ 404480 h 606722"/>
                <a:gd name="connsiteX4" fmla="*/ 151906 w 506307"/>
                <a:gd name="connsiteY4" fmla="*/ 404480 h 606722"/>
                <a:gd name="connsiteX5" fmla="*/ 151906 w 506307"/>
                <a:gd name="connsiteY5" fmla="*/ 480293 h 606722"/>
                <a:gd name="connsiteX6" fmla="*/ 227830 w 506307"/>
                <a:gd name="connsiteY6" fmla="*/ 480293 h 606722"/>
                <a:gd name="connsiteX7" fmla="*/ 227830 w 506307"/>
                <a:gd name="connsiteY7" fmla="*/ 404480 h 606722"/>
                <a:gd name="connsiteX8" fmla="*/ 278476 w 506307"/>
                <a:gd name="connsiteY8" fmla="*/ 278097 h 606722"/>
                <a:gd name="connsiteX9" fmla="*/ 278476 w 506307"/>
                <a:gd name="connsiteY9" fmla="*/ 353909 h 606722"/>
                <a:gd name="connsiteX10" fmla="*/ 354400 w 506307"/>
                <a:gd name="connsiteY10" fmla="*/ 353909 h 606722"/>
                <a:gd name="connsiteX11" fmla="*/ 354400 w 506307"/>
                <a:gd name="connsiteY11" fmla="*/ 278097 h 606722"/>
                <a:gd name="connsiteX12" fmla="*/ 151906 w 506307"/>
                <a:gd name="connsiteY12" fmla="*/ 278097 h 606722"/>
                <a:gd name="connsiteX13" fmla="*/ 151906 w 506307"/>
                <a:gd name="connsiteY13" fmla="*/ 353909 h 606722"/>
                <a:gd name="connsiteX14" fmla="*/ 227830 w 506307"/>
                <a:gd name="connsiteY14" fmla="*/ 353909 h 606722"/>
                <a:gd name="connsiteX15" fmla="*/ 227830 w 506307"/>
                <a:gd name="connsiteY15" fmla="*/ 278097 h 606722"/>
                <a:gd name="connsiteX16" fmla="*/ 151906 w 506307"/>
                <a:gd name="connsiteY16" fmla="*/ 176954 h 606722"/>
                <a:gd name="connsiteX17" fmla="*/ 151906 w 506307"/>
                <a:gd name="connsiteY17" fmla="*/ 227526 h 606722"/>
                <a:gd name="connsiteX18" fmla="*/ 354400 w 506307"/>
                <a:gd name="connsiteY18" fmla="*/ 227526 h 606722"/>
                <a:gd name="connsiteX19" fmla="*/ 354400 w 506307"/>
                <a:gd name="connsiteY19" fmla="*/ 176954 h 606722"/>
                <a:gd name="connsiteX20" fmla="*/ 101261 w 506307"/>
                <a:gd name="connsiteY20" fmla="*/ 126383 h 606722"/>
                <a:gd name="connsiteX21" fmla="*/ 405045 w 506307"/>
                <a:gd name="connsiteY21" fmla="*/ 126383 h 606722"/>
                <a:gd name="connsiteX22" fmla="*/ 405045 w 506307"/>
                <a:gd name="connsiteY22" fmla="*/ 227526 h 606722"/>
                <a:gd name="connsiteX23" fmla="*/ 405045 w 506307"/>
                <a:gd name="connsiteY23" fmla="*/ 278097 h 606722"/>
                <a:gd name="connsiteX24" fmla="*/ 405045 w 506307"/>
                <a:gd name="connsiteY24" fmla="*/ 530864 h 606722"/>
                <a:gd name="connsiteX25" fmla="*/ 101261 w 506307"/>
                <a:gd name="connsiteY25" fmla="*/ 530864 h 606722"/>
                <a:gd name="connsiteX26" fmla="*/ 101261 w 506307"/>
                <a:gd name="connsiteY26" fmla="*/ 278097 h 606722"/>
                <a:gd name="connsiteX27" fmla="*/ 101261 w 506307"/>
                <a:gd name="connsiteY27" fmla="*/ 227526 h 606722"/>
                <a:gd name="connsiteX28" fmla="*/ 50640 w 506307"/>
                <a:gd name="connsiteY28" fmla="*/ 50567 h 606722"/>
                <a:gd name="connsiteX29" fmla="*/ 50640 w 506307"/>
                <a:gd name="connsiteY29" fmla="*/ 556155 h 606722"/>
                <a:gd name="connsiteX30" fmla="*/ 455667 w 506307"/>
                <a:gd name="connsiteY30" fmla="*/ 556155 h 606722"/>
                <a:gd name="connsiteX31" fmla="*/ 455667 w 506307"/>
                <a:gd name="connsiteY31" fmla="*/ 138550 h 606722"/>
                <a:gd name="connsiteX32" fmla="*/ 345488 w 506307"/>
                <a:gd name="connsiteY32" fmla="*/ 50567 h 606722"/>
                <a:gd name="connsiteX33" fmla="*/ 0 w 506307"/>
                <a:gd name="connsiteY33" fmla="*/ 0 h 606722"/>
                <a:gd name="connsiteX34" fmla="*/ 363288 w 506307"/>
                <a:gd name="connsiteY34" fmla="*/ 0 h 606722"/>
                <a:gd name="connsiteX35" fmla="*/ 506307 w 506307"/>
                <a:gd name="connsiteY35" fmla="*/ 114288 h 606722"/>
                <a:gd name="connsiteX36" fmla="*/ 506307 w 506307"/>
                <a:gd name="connsiteY36" fmla="*/ 606722 h 606722"/>
                <a:gd name="connsiteX37" fmla="*/ 0 w 506307"/>
                <a:gd name="connsiteY37" fmla="*/ 606722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07" h="606722">
                  <a:moveTo>
                    <a:pt x="278476" y="404480"/>
                  </a:moveTo>
                  <a:lnTo>
                    <a:pt x="278476" y="480293"/>
                  </a:lnTo>
                  <a:lnTo>
                    <a:pt x="354400" y="480293"/>
                  </a:lnTo>
                  <a:lnTo>
                    <a:pt x="354400" y="404480"/>
                  </a:lnTo>
                  <a:close/>
                  <a:moveTo>
                    <a:pt x="151906" y="404480"/>
                  </a:moveTo>
                  <a:lnTo>
                    <a:pt x="151906" y="480293"/>
                  </a:lnTo>
                  <a:lnTo>
                    <a:pt x="227830" y="480293"/>
                  </a:lnTo>
                  <a:lnTo>
                    <a:pt x="227830" y="404480"/>
                  </a:lnTo>
                  <a:close/>
                  <a:moveTo>
                    <a:pt x="278476" y="278097"/>
                  </a:moveTo>
                  <a:lnTo>
                    <a:pt x="278476" y="353909"/>
                  </a:lnTo>
                  <a:lnTo>
                    <a:pt x="354400" y="353909"/>
                  </a:lnTo>
                  <a:lnTo>
                    <a:pt x="354400" y="278097"/>
                  </a:lnTo>
                  <a:close/>
                  <a:moveTo>
                    <a:pt x="151906" y="278097"/>
                  </a:moveTo>
                  <a:lnTo>
                    <a:pt x="151906" y="353909"/>
                  </a:lnTo>
                  <a:lnTo>
                    <a:pt x="227830" y="353909"/>
                  </a:lnTo>
                  <a:lnTo>
                    <a:pt x="227830" y="278097"/>
                  </a:lnTo>
                  <a:close/>
                  <a:moveTo>
                    <a:pt x="151906" y="176954"/>
                  </a:moveTo>
                  <a:lnTo>
                    <a:pt x="151906" y="227526"/>
                  </a:lnTo>
                  <a:lnTo>
                    <a:pt x="354400" y="227526"/>
                  </a:lnTo>
                  <a:lnTo>
                    <a:pt x="354400" y="176954"/>
                  </a:lnTo>
                  <a:close/>
                  <a:moveTo>
                    <a:pt x="101261" y="126383"/>
                  </a:moveTo>
                  <a:lnTo>
                    <a:pt x="405045" y="126383"/>
                  </a:lnTo>
                  <a:lnTo>
                    <a:pt x="405045" y="227526"/>
                  </a:lnTo>
                  <a:lnTo>
                    <a:pt x="405045" y="278097"/>
                  </a:lnTo>
                  <a:lnTo>
                    <a:pt x="405045" y="530864"/>
                  </a:lnTo>
                  <a:lnTo>
                    <a:pt x="101261" y="530864"/>
                  </a:lnTo>
                  <a:lnTo>
                    <a:pt x="101261" y="278097"/>
                  </a:lnTo>
                  <a:lnTo>
                    <a:pt x="101261" y="227526"/>
                  </a:lnTo>
                  <a:close/>
                  <a:moveTo>
                    <a:pt x="50640" y="50567"/>
                  </a:moveTo>
                  <a:lnTo>
                    <a:pt x="50640" y="556155"/>
                  </a:lnTo>
                  <a:lnTo>
                    <a:pt x="455667" y="556155"/>
                  </a:lnTo>
                  <a:lnTo>
                    <a:pt x="455667" y="138550"/>
                  </a:lnTo>
                  <a:lnTo>
                    <a:pt x="345488" y="50567"/>
                  </a:lnTo>
                  <a:close/>
                  <a:moveTo>
                    <a:pt x="0" y="0"/>
                  </a:moveTo>
                  <a:lnTo>
                    <a:pt x="363288" y="0"/>
                  </a:lnTo>
                  <a:lnTo>
                    <a:pt x="506307" y="114288"/>
                  </a:lnTo>
                  <a:lnTo>
                    <a:pt x="506307" y="606722"/>
                  </a:lnTo>
                  <a:lnTo>
                    <a:pt x="0" y="60672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100" name="文本框 99"/>
            <p:cNvSpPr txBox="1"/>
            <p:nvPr/>
          </p:nvSpPr>
          <p:spPr>
            <a:xfrm>
              <a:off x="22855" y="8414"/>
              <a:ext cx="1728" cy="48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认证标准</a:t>
              </a:r>
              <a:endPara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cxnSp>
        <p:nvCxnSpPr>
          <p:cNvPr id="101" name="直接箭头连接符 100"/>
          <p:cNvCxnSpPr/>
          <p:nvPr/>
        </p:nvCxnSpPr>
        <p:spPr>
          <a:xfrm flipH="1">
            <a:off x="15136495" y="5669915"/>
            <a:ext cx="8255" cy="720725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认证标准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10125" y="988695"/>
            <a:ext cx="13735685" cy="1250378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核心逻辑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4984095" y="6098540"/>
            <a:ext cx="68516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 sz="24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标准制定流程</a:t>
            </a:r>
            <a:endParaRPr lang="zh-CN" altLang="en-US" sz="2400">
              <a:solidFill>
                <a:schemeClr val="accent1">
                  <a:lumMod val="40000"/>
                  <a:lumOff val="60000"/>
                </a:schemeClr>
              </a:solidFill>
              <a:sym typeface="+mn-ea"/>
            </a:endParaRPr>
          </a:p>
        </p:txBody>
      </p:sp>
      <p:sp>
        <p:nvSpPr>
          <p:cNvPr id="139" name="圆角矩形 138"/>
          <p:cNvSpPr/>
          <p:nvPr/>
        </p:nvSpPr>
        <p:spPr>
          <a:xfrm>
            <a:off x="16862425" y="3229610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申报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1" name="圆角矩形 140"/>
          <p:cNvSpPr/>
          <p:nvPr/>
        </p:nvSpPr>
        <p:spPr>
          <a:xfrm>
            <a:off x="16862425" y="6073140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制定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2" name="圆角矩形 141"/>
          <p:cNvSpPr/>
          <p:nvPr/>
        </p:nvSpPr>
        <p:spPr>
          <a:xfrm>
            <a:off x="16861790" y="7419340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研讨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3" name="圆角矩形 142"/>
          <p:cNvSpPr/>
          <p:nvPr/>
        </p:nvSpPr>
        <p:spPr>
          <a:xfrm>
            <a:off x="16862425" y="8912225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审核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4" name="圆角矩形 143"/>
          <p:cNvSpPr/>
          <p:nvPr/>
        </p:nvSpPr>
        <p:spPr>
          <a:xfrm>
            <a:off x="16862425" y="10274935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审定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5" name="流程图: 决策 144"/>
          <p:cNvSpPr/>
          <p:nvPr/>
        </p:nvSpPr>
        <p:spPr>
          <a:xfrm>
            <a:off x="16802735" y="4649470"/>
            <a:ext cx="1341120" cy="579120"/>
          </a:xfrm>
          <a:prstGeom prst="flowChartDecision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rPr>
              <a:t>审批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  <a:sym typeface="+mn-ea"/>
            </a:endParaRPr>
          </a:p>
        </p:txBody>
      </p:sp>
      <p:sp>
        <p:nvSpPr>
          <p:cNvPr id="147" name="圆角矩形 146"/>
          <p:cNvSpPr/>
          <p:nvPr/>
        </p:nvSpPr>
        <p:spPr>
          <a:xfrm>
            <a:off x="16861790" y="11701145"/>
            <a:ext cx="1222375" cy="5086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accent1">
                    <a:lumMod val="40000"/>
                    <a:lumOff val="60000"/>
                  </a:schemeClr>
                </a:solidFill>
              </a:rPr>
              <a:t>发布</a:t>
            </a:r>
            <a:endParaRPr lang="zh-CN" alt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cxnSp>
        <p:nvCxnSpPr>
          <p:cNvPr id="156" name="直接箭头连接符 155"/>
          <p:cNvCxnSpPr>
            <a:stCxn id="139" idx="2"/>
            <a:endCxn id="145" idx="0"/>
          </p:cNvCxnSpPr>
          <p:nvPr/>
        </p:nvCxnSpPr>
        <p:spPr>
          <a:xfrm flipH="1">
            <a:off x="17473295" y="3738245"/>
            <a:ext cx="635" cy="9112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直接箭头连接符 156"/>
          <p:cNvCxnSpPr>
            <a:stCxn id="145" idx="2"/>
            <a:endCxn id="141" idx="0"/>
          </p:cNvCxnSpPr>
          <p:nvPr/>
        </p:nvCxnSpPr>
        <p:spPr>
          <a:xfrm>
            <a:off x="17473295" y="5228590"/>
            <a:ext cx="635" cy="8445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直接箭头连接符 157"/>
          <p:cNvCxnSpPr>
            <a:stCxn id="141" idx="2"/>
            <a:endCxn id="142" idx="0"/>
          </p:cNvCxnSpPr>
          <p:nvPr/>
        </p:nvCxnSpPr>
        <p:spPr>
          <a:xfrm flipH="1">
            <a:off x="17473295" y="6581775"/>
            <a:ext cx="635" cy="8375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直接箭头连接符 158"/>
          <p:cNvCxnSpPr>
            <a:stCxn id="142" idx="2"/>
            <a:endCxn id="143" idx="0"/>
          </p:cNvCxnSpPr>
          <p:nvPr/>
        </p:nvCxnSpPr>
        <p:spPr>
          <a:xfrm>
            <a:off x="17473295" y="7927975"/>
            <a:ext cx="635" cy="9842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直接箭头连接符 159"/>
          <p:cNvCxnSpPr>
            <a:stCxn id="143" idx="2"/>
            <a:endCxn id="144" idx="0"/>
          </p:cNvCxnSpPr>
          <p:nvPr/>
        </p:nvCxnSpPr>
        <p:spPr>
          <a:xfrm>
            <a:off x="17473930" y="9420860"/>
            <a:ext cx="0" cy="8540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直接箭头连接符 160"/>
          <p:cNvCxnSpPr>
            <a:stCxn id="144" idx="2"/>
            <a:endCxn id="147" idx="0"/>
          </p:cNvCxnSpPr>
          <p:nvPr/>
        </p:nvCxnSpPr>
        <p:spPr>
          <a:xfrm flipH="1">
            <a:off x="17473295" y="10783570"/>
            <a:ext cx="635" cy="9175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肘形连接符 161"/>
          <p:cNvCxnSpPr>
            <a:stCxn id="145" idx="1"/>
            <a:endCxn id="139" idx="1"/>
          </p:cNvCxnSpPr>
          <p:nvPr/>
        </p:nvCxnSpPr>
        <p:spPr>
          <a:xfrm rot="10800000" flipH="1">
            <a:off x="16802735" y="3484245"/>
            <a:ext cx="59690" cy="1454785"/>
          </a:xfrm>
          <a:prstGeom prst="bentConnector3">
            <a:avLst>
              <a:gd name="adj1" fmla="val -398936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" name="组合 162"/>
          <p:cNvGrpSpPr/>
          <p:nvPr/>
        </p:nvGrpSpPr>
        <p:grpSpPr>
          <a:xfrm rot="0">
            <a:off x="16625727" y="2194560"/>
            <a:ext cx="657068" cy="765006"/>
            <a:chOff x="7666" y="13715"/>
            <a:chExt cx="1778" cy="2108"/>
          </a:xfrm>
        </p:grpSpPr>
        <p:sp>
          <p:nvSpPr>
            <p:cNvPr id="164" name="school-house_46361"/>
            <p:cNvSpPr>
              <a:spLocks noChangeAspect="1"/>
            </p:cNvSpPr>
            <p:nvPr/>
          </p:nvSpPr>
          <p:spPr bwMode="auto">
            <a:xfrm>
              <a:off x="7666" y="13715"/>
              <a:ext cx="1778" cy="1106"/>
            </a:xfrm>
            <a:custGeom>
              <a:avLst/>
              <a:gdLst>
                <a:gd name="connsiteX0" fmla="*/ 489851 w 574179"/>
                <a:gd name="connsiteY0" fmla="*/ 262305 h 356903"/>
                <a:gd name="connsiteX1" fmla="*/ 489851 w 574179"/>
                <a:gd name="connsiteY1" fmla="*/ 284665 h 356903"/>
                <a:gd name="connsiteX2" fmla="*/ 513084 w 574179"/>
                <a:gd name="connsiteY2" fmla="*/ 284665 h 356903"/>
                <a:gd name="connsiteX3" fmla="*/ 513084 w 574179"/>
                <a:gd name="connsiteY3" fmla="*/ 262305 h 356903"/>
                <a:gd name="connsiteX4" fmla="*/ 449408 w 574179"/>
                <a:gd name="connsiteY4" fmla="*/ 262305 h 356903"/>
                <a:gd name="connsiteX5" fmla="*/ 449408 w 574179"/>
                <a:gd name="connsiteY5" fmla="*/ 284665 h 356903"/>
                <a:gd name="connsiteX6" fmla="*/ 472641 w 574179"/>
                <a:gd name="connsiteY6" fmla="*/ 284665 h 356903"/>
                <a:gd name="connsiteX7" fmla="*/ 472641 w 574179"/>
                <a:gd name="connsiteY7" fmla="*/ 262305 h 356903"/>
                <a:gd name="connsiteX8" fmla="*/ 101538 w 574179"/>
                <a:gd name="connsiteY8" fmla="*/ 262305 h 356903"/>
                <a:gd name="connsiteX9" fmla="*/ 101538 w 574179"/>
                <a:gd name="connsiteY9" fmla="*/ 284665 h 356903"/>
                <a:gd name="connsiteX10" fmla="*/ 124771 w 574179"/>
                <a:gd name="connsiteY10" fmla="*/ 284665 h 356903"/>
                <a:gd name="connsiteX11" fmla="*/ 124771 w 574179"/>
                <a:gd name="connsiteY11" fmla="*/ 262305 h 356903"/>
                <a:gd name="connsiteX12" fmla="*/ 61095 w 574179"/>
                <a:gd name="connsiteY12" fmla="*/ 262305 h 356903"/>
                <a:gd name="connsiteX13" fmla="*/ 61095 w 574179"/>
                <a:gd name="connsiteY13" fmla="*/ 284665 h 356903"/>
                <a:gd name="connsiteX14" fmla="*/ 84328 w 574179"/>
                <a:gd name="connsiteY14" fmla="*/ 284665 h 356903"/>
                <a:gd name="connsiteX15" fmla="*/ 84328 w 574179"/>
                <a:gd name="connsiteY15" fmla="*/ 262305 h 356903"/>
                <a:gd name="connsiteX16" fmla="*/ 489851 w 574179"/>
                <a:gd name="connsiteY16" fmla="*/ 221026 h 356903"/>
                <a:gd name="connsiteX17" fmla="*/ 489851 w 574179"/>
                <a:gd name="connsiteY17" fmla="*/ 244245 h 356903"/>
                <a:gd name="connsiteX18" fmla="*/ 513084 w 574179"/>
                <a:gd name="connsiteY18" fmla="*/ 244245 h 356903"/>
                <a:gd name="connsiteX19" fmla="*/ 513084 w 574179"/>
                <a:gd name="connsiteY19" fmla="*/ 221026 h 356903"/>
                <a:gd name="connsiteX20" fmla="*/ 449408 w 574179"/>
                <a:gd name="connsiteY20" fmla="*/ 221026 h 356903"/>
                <a:gd name="connsiteX21" fmla="*/ 449408 w 574179"/>
                <a:gd name="connsiteY21" fmla="*/ 244245 h 356903"/>
                <a:gd name="connsiteX22" fmla="*/ 472641 w 574179"/>
                <a:gd name="connsiteY22" fmla="*/ 244245 h 356903"/>
                <a:gd name="connsiteX23" fmla="*/ 472641 w 574179"/>
                <a:gd name="connsiteY23" fmla="*/ 221026 h 356903"/>
                <a:gd name="connsiteX24" fmla="*/ 101538 w 574179"/>
                <a:gd name="connsiteY24" fmla="*/ 221026 h 356903"/>
                <a:gd name="connsiteX25" fmla="*/ 101538 w 574179"/>
                <a:gd name="connsiteY25" fmla="*/ 244245 h 356903"/>
                <a:gd name="connsiteX26" fmla="*/ 124771 w 574179"/>
                <a:gd name="connsiteY26" fmla="*/ 244245 h 356903"/>
                <a:gd name="connsiteX27" fmla="*/ 124771 w 574179"/>
                <a:gd name="connsiteY27" fmla="*/ 221026 h 356903"/>
                <a:gd name="connsiteX28" fmla="*/ 61095 w 574179"/>
                <a:gd name="connsiteY28" fmla="*/ 221026 h 356903"/>
                <a:gd name="connsiteX29" fmla="*/ 61095 w 574179"/>
                <a:gd name="connsiteY29" fmla="*/ 244245 h 356903"/>
                <a:gd name="connsiteX30" fmla="*/ 84328 w 574179"/>
                <a:gd name="connsiteY30" fmla="*/ 244245 h 356903"/>
                <a:gd name="connsiteX31" fmla="*/ 84328 w 574179"/>
                <a:gd name="connsiteY31" fmla="*/ 221026 h 356903"/>
                <a:gd name="connsiteX32" fmla="*/ 359836 w 574179"/>
                <a:gd name="connsiteY32" fmla="*/ 178022 h 356903"/>
                <a:gd name="connsiteX33" fmla="*/ 359836 w 574179"/>
                <a:gd name="connsiteY33" fmla="*/ 201242 h 356903"/>
                <a:gd name="connsiteX34" fmla="*/ 382220 w 574179"/>
                <a:gd name="connsiteY34" fmla="*/ 201242 h 356903"/>
                <a:gd name="connsiteX35" fmla="*/ 382220 w 574179"/>
                <a:gd name="connsiteY35" fmla="*/ 178022 h 356903"/>
                <a:gd name="connsiteX36" fmla="*/ 318512 w 574179"/>
                <a:gd name="connsiteY36" fmla="*/ 178022 h 356903"/>
                <a:gd name="connsiteX37" fmla="*/ 318512 w 574179"/>
                <a:gd name="connsiteY37" fmla="*/ 201242 h 356903"/>
                <a:gd name="connsiteX38" fmla="*/ 341757 w 574179"/>
                <a:gd name="connsiteY38" fmla="*/ 201242 h 356903"/>
                <a:gd name="connsiteX39" fmla="*/ 341757 w 574179"/>
                <a:gd name="connsiteY39" fmla="*/ 178022 h 356903"/>
                <a:gd name="connsiteX40" fmla="*/ 231561 w 574179"/>
                <a:gd name="connsiteY40" fmla="*/ 178022 h 356903"/>
                <a:gd name="connsiteX41" fmla="*/ 231561 w 574179"/>
                <a:gd name="connsiteY41" fmla="*/ 201242 h 356903"/>
                <a:gd name="connsiteX42" fmla="*/ 254805 w 574179"/>
                <a:gd name="connsiteY42" fmla="*/ 201242 h 356903"/>
                <a:gd name="connsiteX43" fmla="*/ 254805 w 574179"/>
                <a:gd name="connsiteY43" fmla="*/ 178022 h 356903"/>
                <a:gd name="connsiteX44" fmla="*/ 191098 w 574179"/>
                <a:gd name="connsiteY44" fmla="*/ 178022 h 356903"/>
                <a:gd name="connsiteX45" fmla="*/ 191098 w 574179"/>
                <a:gd name="connsiteY45" fmla="*/ 201242 h 356903"/>
                <a:gd name="connsiteX46" fmla="*/ 214342 w 574179"/>
                <a:gd name="connsiteY46" fmla="*/ 201242 h 356903"/>
                <a:gd name="connsiteX47" fmla="*/ 214342 w 574179"/>
                <a:gd name="connsiteY47" fmla="*/ 178022 h 356903"/>
                <a:gd name="connsiteX48" fmla="*/ 359836 w 574179"/>
                <a:gd name="connsiteY48" fmla="*/ 137601 h 356903"/>
                <a:gd name="connsiteX49" fmla="*/ 359836 w 574179"/>
                <a:gd name="connsiteY49" fmla="*/ 160822 h 356903"/>
                <a:gd name="connsiteX50" fmla="*/ 382220 w 574179"/>
                <a:gd name="connsiteY50" fmla="*/ 160822 h 356903"/>
                <a:gd name="connsiteX51" fmla="*/ 382220 w 574179"/>
                <a:gd name="connsiteY51" fmla="*/ 137601 h 356903"/>
                <a:gd name="connsiteX52" fmla="*/ 318512 w 574179"/>
                <a:gd name="connsiteY52" fmla="*/ 137601 h 356903"/>
                <a:gd name="connsiteX53" fmla="*/ 318512 w 574179"/>
                <a:gd name="connsiteY53" fmla="*/ 160822 h 356903"/>
                <a:gd name="connsiteX54" fmla="*/ 341757 w 574179"/>
                <a:gd name="connsiteY54" fmla="*/ 160822 h 356903"/>
                <a:gd name="connsiteX55" fmla="*/ 341757 w 574179"/>
                <a:gd name="connsiteY55" fmla="*/ 137601 h 356903"/>
                <a:gd name="connsiteX56" fmla="*/ 231561 w 574179"/>
                <a:gd name="connsiteY56" fmla="*/ 137601 h 356903"/>
                <a:gd name="connsiteX57" fmla="*/ 231561 w 574179"/>
                <a:gd name="connsiteY57" fmla="*/ 160822 h 356903"/>
                <a:gd name="connsiteX58" fmla="*/ 254805 w 574179"/>
                <a:gd name="connsiteY58" fmla="*/ 160822 h 356903"/>
                <a:gd name="connsiteX59" fmla="*/ 254805 w 574179"/>
                <a:gd name="connsiteY59" fmla="*/ 137601 h 356903"/>
                <a:gd name="connsiteX60" fmla="*/ 191098 w 574179"/>
                <a:gd name="connsiteY60" fmla="*/ 137601 h 356903"/>
                <a:gd name="connsiteX61" fmla="*/ 191098 w 574179"/>
                <a:gd name="connsiteY61" fmla="*/ 160822 h 356903"/>
                <a:gd name="connsiteX62" fmla="*/ 214342 w 574179"/>
                <a:gd name="connsiteY62" fmla="*/ 160822 h 356903"/>
                <a:gd name="connsiteX63" fmla="*/ 214342 w 574179"/>
                <a:gd name="connsiteY63" fmla="*/ 137601 h 356903"/>
                <a:gd name="connsiteX64" fmla="*/ 434779 w 574179"/>
                <a:gd name="connsiteY64" fmla="*/ 127287 h 356903"/>
                <a:gd name="connsiteX65" fmla="*/ 525992 w 574179"/>
                <a:gd name="connsiteY65" fmla="*/ 127287 h 356903"/>
                <a:gd name="connsiteX66" fmla="*/ 574179 w 574179"/>
                <a:gd name="connsiteY66" fmla="*/ 165987 h 356903"/>
                <a:gd name="connsiteX67" fmla="*/ 547504 w 574179"/>
                <a:gd name="connsiteY67" fmla="*/ 165987 h 356903"/>
                <a:gd name="connsiteX68" fmla="*/ 547504 w 574179"/>
                <a:gd name="connsiteY68" fmla="*/ 356903 h 356903"/>
                <a:gd name="connsiteX69" fmla="*/ 434779 w 574179"/>
                <a:gd name="connsiteY69" fmla="*/ 356903 h 356903"/>
                <a:gd name="connsiteX70" fmla="*/ 47327 w 574179"/>
                <a:gd name="connsiteY70" fmla="*/ 127287 h 356903"/>
                <a:gd name="connsiteX71" fmla="*/ 139400 w 574179"/>
                <a:gd name="connsiteY71" fmla="*/ 127287 h 356903"/>
                <a:gd name="connsiteX72" fmla="*/ 139400 w 574179"/>
                <a:gd name="connsiteY72" fmla="*/ 356903 h 356903"/>
                <a:gd name="connsiteX73" fmla="*/ 25815 w 574179"/>
                <a:gd name="connsiteY73" fmla="*/ 356903 h 356903"/>
                <a:gd name="connsiteX74" fmla="*/ 25815 w 574179"/>
                <a:gd name="connsiteY74" fmla="*/ 165987 h 356903"/>
                <a:gd name="connsiteX75" fmla="*/ 0 w 574179"/>
                <a:gd name="connsiteY75" fmla="*/ 165987 h 356903"/>
                <a:gd name="connsiteX76" fmla="*/ 191098 w 574179"/>
                <a:gd name="connsiteY76" fmla="*/ 0 h 356903"/>
                <a:gd name="connsiteX77" fmla="*/ 194542 w 574179"/>
                <a:gd name="connsiteY77" fmla="*/ 0 h 356903"/>
                <a:gd name="connsiteX78" fmla="*/ 194542 w 574179"/>
                <a:gd name="connsiteY78" fmla="*/ 5160 h 356903"/>
                <a:gd name="connsiteX79" fmla="*/ 214342 w 574179"/>
                <a:gd name="connsiteY79" fmla="*/ 12040 h 356903"/>
                <a:gd name="connsiteX80" fmla="*/ 214342 w 574179"/>
                <a:gd name="connsiteY80" fmla="*/ 29241 h 356903"/>
                <a:gd name="connsiteX81" fmla="*/ 194542 w 574179"/>
                <a:gd name="connsiteY81" fmla="*/ 21500 h 356903"/>
                <a:gd name="connsiteX82" fmla="*/ 194542 w 574179"/>
                <a:gd name="connsiteY82" fmla="*/ 57621 h 356903"/>
                <a:gd name="connsiteX83" fmla="*/ 358975 w 574179"/>
                <a:gd name="connsiteY83" fmla="*/ 57621 h 356903"/>
                <a:gd name="connsiteX84" fmla="*/ 358975 w 574179"/>
                <a:gd name="connsiteY84" fmla="*/ 17200 h 356903"/>
                <a:gd name="connsiteX85" fmla="*/ 358975 w 574179"/>
                <a:gd name="connsiteY85" fmla="*/ 0 h 356903"/>
                <a:gd name="connsiteX86" fmla="*/ 362419 w 574179"/>
                <a:gd name="connsiteY86" fmla="*/ 0 h 356903"/>
                <a:gd name="connsiteX87" fmla="*/ 362419 w 574179"/>
                <a:gd name="connsiteY87" fmla="*/ 5160 h 356903"/>
                <a:gd name="connsiteX88" fmla="*/ 383081 w 574179"/>
                <a:gd name="connsiteY88" fmla="*/ 12040 h 356903"/>
                <a:gd name="connsiteX89" fmla="*/ 383081 w 574179"/>
                <a:gd name="connsiteY89" fmla="*/ 29241 h 356903"/>
                <a:gd name="connsiteX90" fmla="*/ 362419 w 574179"/>
                <a:gd name="connsiteY90" fmla="*/ 21500 h 356903"/>
                <a:gd name="connsiteX91" fmla="*/ 362419 w 574179"/>
                <a:gd name="connsiteY91" fmla="*/ 57621 h 356903"/>
                <a:gd name="connsiteX92" fmla="*/ 417517 w 574179"/>
                <a:gd name="connsiteY92" fmla="*/ 57621 h 356903"/>
                <a:gd name="connsiteX93" fmla="*/ 443344 w 574179"/>
                <a:gd name="connsiteY93" fmla="*/ 96321 h 356903"/>
                <a:gd name="connsiteX94" fmla="*/ 417517 w 574179"/>
                <a:gd name="connsiteY94" fmla="*/ 96321 h 356903"/>
                <a:gd name="connsiteX95" fmla="*/ 417517 w 574179"/>
                <a:gd name="connsiteY95" fmla="*/ 356903 h 356903"/>
                <a:gd name="connsiteX96" fmla="*/ 318512 w 574179"/>
                <a:gd name="connsiteY96" fmla="*/ 356903 h 356903"/>
                <a:gd name="connsiteX97" fmla="*/ 318512 w 574179"/>
                <a:gd name="connsiteY97" fmla="*/ 278643 h 356903"/>
                <a:gd name="connsiteX98" fmla="*/ 254805 w 574179"/>
                <a:gd name="connsiteY98" fmla="*/ 278643 h 356903"/>
                <a:gd name="connsiteX99" fmla="*/ 254805 w 574179"/>
                <a:gd name="connsiteY99" fmla="*/ 356903 h 356903"/>
                <a:gd name="connsiteX100" fmla="*/ 156662 w 574179"/>
                <a:gd name="connsiteY100" fmla="*/ 356903 h 356903"/>
                <a:gd name="connsiteX101" fmla="*/ 156662 w 574179"/>
                <a:gd name="connsiteY101" fmla="*/ 96321 h 356903"/>
                <a:gd name="connsiteX102" fmla="*/ 130834 w 574179"/>
                <a:gd name="connsiteY102" fmla="*/ 96321 h 356903"/>
                <a:gd name="connsiteX103" fmla="*/ 156662 w 574179"/>
                <a:gd name="connsiteY103" fmla="*/ 57621 h 356903"/>
                <a:gd name="connsiteX104" fmla="*/ 191098 w 574179"/>
                <a:gd name="connsiteY104" fmla="*/ 57621 h 356903"/>
                <a:gd name="connsiteX105" fmla="*/ 191098 w 574179"/>
                <a:gd name="connsiteY105" fmla="*/ 17200 h 35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74179" h="356903">
                  <a:moveTo>
                    <a:pt x="489851" y="262305"/>
                  </a:moveTo>
                  <a:lnTo>
                    <a:pt x="489851" y="284665"/>
                  </a:lnTo>
                  <a:lnTo>
                    <a:pt x="513084" y="284665"/>
                  </a:lnTo>
                  <a:lnTo>
                    <a:pt x="513084" y="262305"/>
                  </a:lnTo>
                  <a:close/>
                  <a:moveTo>
                    <a:pt x="449408" y="262305"/>
                  </a:moveTo>
                  <a:lnTo>
                    <a:pt x="449408" y="284665"/>
                  </a:lnTo>
                  <a:lnTo>
                    <a:pt x="472641" y="284665"/>
                  </a:lnTo>
                  <a:lnTo>
                    <a:pt x="472641" y="262305"/>
                  </a:lnTo>
                  <a:close/>
                  <a:moveTo>
                    <a:pt x="101538" y="262305"/>
                  </a:moveTo>
                  <a:lnTo>
                    <a:pt x="101538" y="284665"/>
                  </a:lnTo>
                  <a:lnTo>
                    <a:pt x="124771" y="284665"/>
                  </a:lnTo>
                  <a:lnTo>
                    <a:pt x="124771" y="262305"/>
                  </a:lnTo>
                  <a:close/>
                  <a:moveTo>
                    <a:pt x="61095" y="262305"/>
                  </a:moveTo>
                  <a:lnTo>
                    <a:pt x="61095" y="284665"/>
                  </a:lnTo>
                  <a:lnTo>
                    <a:pt x="84328" y="284665"/>
                  </a:lnTo>
                  <a:lnTo>
                    <a:pt x="84328" y="262305"/>
                  </a:lnTo>
                  <a:close/>
                  <a:moveTo>
                    <a:pt x="489851" y="221026"/>
                  </a:moveTo>
                  <a:lnTo>
                    <a:pt x="489851" y="244245"/>
                  </a:lnTo>
                  <a:lnTo>
                    <a:pt x="513084" y="244245"/>
                  </a:lnTo>
                  <a:lnTo>
                    <a:pt x="513084" y="221026"/>
                  </a:lnTo>
                  <a:close/>
                  <a:moveTo>
                    <a:pt x="449408" y="221026"/>
                  </a:moveTo>
                  <a:lnTo>
                    <a:pt x="449408" y="244245"/>
                  </a:lnTo>
                  <a:lnTo>
                    <a:pt x="472641" y="244245"/>
                  </a:lnTo>
                  <a:lnTo>
                    <a:pt x="472641" y="221026"/>
                  </a:lnTo>
                  <a:close/>
                  <a:moveTo>
                    <a:pt x="101538" y="221026"/>
                  </a:moveTo>
                  <a:lnTo>
                    <a:pt x="101538" y="244245"/>
                  </a:lnTo>
                  <a:lnTo>
                    <a:pt x="124771" y="244245"/>
                  </a:lnTo>
                  <a:lnTo>
                    <a:pt x="124771" y="221026"/>
                  </a:lnTo>
                  <a:close/>
                  <a:moveTo>
                    <a:pt x="61095" y="221026"/>
                  </a:moveTo>
                  <a:lnTo>
                    <a:pt x="61095" y="244245"/>
                  </a:lnTo>
                  <a:lnTo>
                    <a:pt x="84328" y="244245"/>
                  </a:lnTo>
                  <a:lnTo>
                    <a:pt x="84328" y="221026"/>
                  </a:lnTo>
                  <a:close/>
                  <a:moveTo>
                    <a:pt x="359836" y="178022"/>
                  </a:moveTo>
                  <a:lnTo>
                    <a:pt x="359836" y="201242"/>
                  </a:lnTo>
                  <a:lnTo>
                    <a:pt x="382220" y="201242"/>
                  </a:lnTo>
                  <a:lnTo>
                    <a:pt x="382220" y="178022"/>
                  </a:lnTo>
                  <a:close/>
                  <a:moveTo>
                    <a:pt x="318512" y="178022"/>
                  </a:moveTo>
                  <a:lnTo>
                    <a:pt x="318512" y="201242"/>
                  </a:lnTo>
                  <a:lnTo>
                    <a:pt x="341757" y="201242"/>
                  </a:lnTo>
                  <a:lnTo>
                    <a:pt x="341757" y="178022"/>
                  </a:lnTo>
                  <a:close/>
                  <a:moveTo>
                    <a:pt x="231561" y="178022"/>
                  </a:moveTo>
                  <a:lnTo>
                    <a:pt x="231561" y="201242"/>
                  </a:lnTo>
                  <a:lnTo>
                    <a:pt x="254805" y="201242"/>
                  </a:lnTo>
                  <a:lnTo>
                    <a:pt x="254805" y="178022"/>
                  </a:lnTo>
                  <a:close/>
                  <a:moveTo>
                    <a:pt x="191098" y="178022"/>
                  </a:moveTo>
                  <a:lnTo>
                    <a:pt x="191098" y="201242"/>
                  </a:lnTo>
                  <a:lnTo>
                    <a:pt x="214342" y="201242"/>
                  </a:lnTo>
                  <a:lnTo>
                    <a:pt x="214342" y="178022"/>
                  </a:lnTo>
                  <a:close/>
                  <a:moveTo>
                    <a:pt x="359836" y="137601"/>
                  </a:moveTo>
                  <a:lnTo>
                    <a:pt x="359836" y="160822"/>
                  </a:lnTo>
                  <a:lnTo>
                    <a:pt x="382220" y="160822"/>
                  </a:lnTo>
                  <a:lnTo>
                    <a:pt x="382220" y="137601"/>
                  </a:lnTo>
                  <a:close/>
                  <a:moveTo>
                    <a:pt x="318512" y="137601"/>
                  </a:moveTo>
                  <a:lnTo>
                    <a:pt x="318512" y="160822"/>
                  </a:lnTo>
                  <a:lnTo>
                    <a:pt x="341757" y="160822"/>
                  </a:lnTo>
                  <a:lnTo>
                    <a:pt x="341757" y="137601"/>
                  </a:lnTo>
                  <a:close/>
                  <a:moveTo>
                    <a:pt x="231561" y="137601"/>
                  </a:moveTo>
                  <a:lnTo>
                    <a:pt x="231561" y="160822"/>
                  </a:lnTo>
                  <a:lnTo>
                    <a:pt x="254805" y="160822"/>
                  </a:lnTo>
                  <a:lnTo>
                    <a:pt x="254805" y="137601"/>
                  </a:lnTo>
                  <a:close/>
                  <a:moveTo>
                    <a:pt x="191098" y="137601"/>
                  </a:moveTo>
                  <a:lnTo>
                    <a:pt x="191098" y="160822"/>
                  </a:lnTo>
                  <a:lnTo>
                    <a:pt x="214342" y="160822"/>
                  </a:lnTo>
                  <a:lnTo>
                    <a:pt x="214342" y="137601"/>
                  </a:lnTo>
                  <a:close/>
                  <a:moveTo>
                    <a:pt x="434779" y="127287"/>
                  </a:moveTo>
                  <a:lnTo>
                    <a:pt x="525992" y="127287"/>
                  </a:lnTo>
                  <a:lnTo>
                    <a:pt x="574179" y="165987"/>
                  </a:lnTo>
                  <a:lnTo>
                    <a:pt x="547504" y="165987"/>
                  </a:lnTo>
                  <a:lnTo>
                    <a:pt x="547504" y="356903"/>
                  </a:lnTo>
                  <a:lnTo>
                    <a:pt x="434779" y="356903"/>
                  </a:lnTo>
                  <a:close/>
                  <a:moveTo>
                    <a:pt x="47327" y="127287"/>
                  </a:moveTo>
                  <a:lnTo>
                    <a:pt x="139400" y="127287"/>
                  </a:lnTo>
                  <a:lnTo>
                    <a:pt x="139400" y="356903"/>
                  </a:lnTo>
                  <a:lnTo>
                    <a:pt x="25815" y="356903"/>
                  </a:lnTo>
                  <a:lnTo>
                    <a:pt x="25815" y="165987"/>
                  </a:lnTo>
                  <a:lnTo>
                    <a:pt x="0" y="165987"/>
                  </a:lnTo>
                  <a:close/>
                  <a:moveTo>
                    <a:pt x="191098" y="0"/>
                  </a:moveTo>
                  <a:lnTo>
                    <a:pt x="194542" y="0"/>
                  </a:lnTo>
                  <a:lnTo>
                    <a:pt x="194542" y="5160"/>
                  </a:lnTo>
                  <a:cubicBezTo>
                    <a:pt x="201429" y="11180"/>
                    <a:pt x="208316" y="-2580"/>
                    <a:pt x="214342" y="12040"/>
                  </a:cubicBezTo>
                  <a:lnTo>
                    <a:pt x="214342" y="29241"/>
                  </a:lnTo>
                  <a:cubicBezTo>
                    <a:pt x="208316" y="14620"/>
                    <a:pt x="201429" y="27521"/>
                    <a:pt x="194542" y="21500"/>
                  </a:cubicBezTo>
                  <a:lnTo>
                    <a:pt x="194542" y="57621"/>
                  </a:lnTo>
                  <a:lnTo>
                    <a:pt x="358975" y="57621"/>
                  </a:lnTo>
                  <a:lnTo>
                    <a:pt x="358975" y="17200"/>
                  </a:lnTo>
                  <a:lnTo>
                    <a:pt x="358975" y="0"/>
                  </a:lnTo>
                  <a:lnTo>
                    <a:pt x="362419" y="0"/>
                  </a:lnTo>
                  <a:lnTo>
                    <a:pt x="362419" y="5160"/>
                  </a:lnTo>
                  <a:cubicBezTo>
                    <a:pt x="369306" y="11180"/>
                    <a:pt x="376193" y="-2580"/>
                    <a:pt x="383081" y="12040"/>
                  </a:cubicBezTo>
                  <a:lnTo>
                    <a:pt x="383081" y="29241"/>
                  </a:lnTo>
                  <a:cubicBezTo>
                    <a:pt x="376193" y="14620"/>
                    <a:pt x="369306" y="27521"/>
                    <a:pt x="362419" y="21500"/>
                  </a:cubicBezTo>
                  <a:lnTo>
                    <a:pt x="362419" y="57621"/>
                  </a:lnTo>
                  <a:lnTo>
                    <a:pt x="417517" y="57621"/>
                  </a:lnTo>
                  <a:lnTo>
                    <a:pt x="443344" y="96321"/>
                  </a:lnTo>
                  <a:lnTo>
                    <a:pt x="417517" y="96321"/>
                  </a:lnTo>
                  <a:lnTo>
                    <a:pt x="417517" y="356903"/>
                  </a:lnTo>
                  <a:lnTo>
                    <a:pt x="318512" y="356903"/>
                  </a:lnTo>
                  <a:lnTo>
                    <a:pt x="318512" y="278643"/>
                  </a:lnTo>
                  <a:lnTo>
                    <a:pt x="254805" y="278643"/>
                  </a:lnTo>
                  <a:lnTo>
                    <a:pt x="254805" y="356903"/>
                  </a:lnTo>
                  <a:lnTo>
                    <a:pt x="156662" y="356903"/>
                  </a:lnTo>
                  <a:lnTo>
                    <a:pt x="156662" y="96321"/>
                  </a:lnTo>
                  <a:lnTo>
                    <a:pt x="130834" y="96321"/>
                  </a:lnTo>
                  <a:lnTo>
                    <a:pt x="156662" y="57621"/>
                  </a:lnTo>
                  <a:lnTo>
                    <a:pt x="191098" y="57621"/>
                  </a:lnTo>
                  <a:lnTo>
                    <a:pt x="191098" y="1720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165" name="文本框 164"/>
            <p:cNvSpPr txBox="1"/>
            <p:nvPr/>
          </p:nvSpPr>
          <p:spPr>
            <a:xfrm>
              <a:off x="7692" y="14978"/>
              <a:ext cx="1718" cy="84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en-US" altLang="zh-CN" sz="8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   </a:t>
              </a:r>
              <a:r>
                <a:rPr lang="zh-CN" altLang="en-US" sz="14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学校</a:t>
              </a:r>
              <a:endParaRPr lang="zh-CN" altLang="en-US" sz="14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endParaRPr>
            </a:p>
          </p:txBody>
        </p:sp>
      </p:grpSp>
      <p:grpSp>
        <p:nvGrpSpPr>
          <p:cNvPr id="166" name="组合 47"/>
          <p:cNvGrpSpPr/>
          <p:nvPr/>
        </p:nvGrpSpPr>
        <p:grpSpPr>
          <a:xfrm rot="0">
            <a:off x="17436996" y="2291715"/>
            <a:ext cx="910684" cy="686350"/>
            <a:chOff x="7238" y="13427"/>
            <a:chExt cx="2801" cy="2223"/>
          </a:xfrm>
        </p:grpSpPr>
        <p:sp>
          <p:nvSpPr>
            <p:cNvPr id="167" name="school-house_46361"/>
            <p:cNvSpPr>
              <a:spLocks noChangeAspect="1"/>
            </p:cNvSpPr>
            <p:nvPr/>
          </p:nvSpPr>
          <p:spPr bwMode="auto">
            <a:xfrm>
              <a:off x="7573" y="13427"/>
              <a:ext cx="1778" cy="1052"/>
            </a:xfrm>
            <a:custGeom>
              <a:avLst/>
              <a:gdLst>
                <a:gd name="connsiteX0" fmla="*/ 413435 w 599763"/>
                <a:gd name="connsiteY0" fmla="*/ 242351 h 354892"/>
                <a:gd name="connsiteX1" fmla="*/ 421018 w 599763"/>
                <a:gd name="connsiteY1" fmla="*/ 246720 h 354892"/>
                <a:gd name="connsiteX2" fmla="*/ 419179 w 599763"/>
                <a:gd name="connsiteY2" fmla="*/ 273388 h 354892"/>
                <a:gd name="connsiteX3" fmla="*/ 413665 w 599763"/>
                <a:gd name="connsiteY3" fmla="*/ 301895 h 354892"/>
                <a:gd name="connsiteX4" fmla="*/ 404245 w 599763"/>
                <a:gd name="connsiteY4" fmla="*/ 299366 h 354892"/>
                <a:gd name="connsiteX5" fmla="*/ 405164 w 599763"/>
                <a:gd name="connsiteY5" fmla="*/ 263502 h 354892"/>
                <a:gd name="connsiteX6" fmla="*/ 413435 w 599763"/>
                <a:gd name="connsiteY6" fmla="*/ 242351 h 354892"/>
                <a:gd name="connsiteX7" fmla="*/ 107616 w 599763"/>
                <a:gd name="connsiteY7" fmla="*/ 239326 h 354892"/>
                <a:gd name="connsiteX8" fmla="*/ 118194 w 599763"/>
                <a:gd name="connsiteY8" fmla="*/ 239326 h 354892"/>
                <a:gd name="connsiteX9" fmla="*/ 120954 w 599763"/>
                <a:gd name="connsiteY9" fmla="*/ 264171 h 354892"/>
                <a:gd name="connsiteX10" fmla="*/ 119804 w 599763"/>
                <a:gd name="connsiteY10" fmla="*/ 289476 h 354892"/>
                <a:gd name="connsiteX11" fmla="*/ 106236 w 599763"/>
                <a:gd name="connsiteY11" fmla="*/ 289476 h 354892"/>
                <a:gd name="connsiteX12" fmla="*/ 105087 w 599763"/>
                <a:gd name="connsiteY12" fmla="*/ 260490 h 354892"/>
                <a:gd name="connsiteX13" fmla="*/ 107616 w 599763"/>
                <a:gd name="connsiteY13" fmla="*/ 239326 h 354892"/>
                <a:gd name="connsiteX14" fmla="*/ 489266 w 599763"/>
                <a:gd name="connsiteY14" fmla="*/ 239296 h 354892"/>
                <a:gd name="connsiteX15" fmla="*/ 489726 w 599763"/>
                <a:gd name="connsiteY15" fmla="*/ 239296 h 354892"/>
                <a:gd name="connsiteX16" fmla="*/ 489956 w 599763"/>
                <a:gd name="connsiteY16" fmla="*/ 239296 h 354892"/>
                <a:gd name="connsiteX17" fmla="*/ 494785 w 599763"/>
                <a:gd name="connsiteY17" fmla="*/ 241139 h 354892"/>
                <a:gd name="connsiteX18" fmla="*/ 497314 w 599763"/>
                <a:gd name="connsiteY18" fmla="*/ 262332 h 354892"/>
                <a:gd name="connsiteX19" fmla="*/ 495475 w 599763"/>
                <a:gd name="connsiteY19" fmla="*/ 289284 h 354892"/>
                <a:gd name="connsiteX20" fmla="*/ 483748 w 599763"/>
                <a:gd name="connsiteY20" fmla="*/ 289284 h 354892"/>
                <a:gd name="connsiteX21" fmla="*/ 481909 w 599763"/>
                <a:gd name="connsiteY21" fmla="*/ 262332 h 354892"/>
                <a:gd name="connsiteX22" fmla="*/ 484668 w 599763"/>
                <a:gd name="connsiteY22" fmla="*/ 241139 h 354892"/>
                <a:gd name="connsiteX23" fmla="*/ 489266 w 599763"/>
                <a:gd name="connsiteY23" fmla="*/ 239296 h 354892"/>
                <a:gd name="connsiteX24" fmla="*/ 180432 w 599763"/>
                <a:gd name="connsiteY24" fmla="*/ 237494 h 354892"/>
                <a:gd name="connsiteX25" fmla="*/ 190798 w 599763"/>
                <a:gd name="connsiteY25" fmla="*/ 237494 h 354892"/>
                <a:gd name="connsiteX26" fmla="*/ 192871 w 599763"/>
                <a:gd name="connsiteY26" fmla="*/ 264426 h 354892"/>
                <a:gd name="connsiteX27" fmla="*/ 192180 w 599763"/>
                <a:gd name="connsiteY27" fmla="*/ 290897 h 354892"/>
                <a:gd name="connsiteX28" fmla="*/ 182275 w 599763"/>
                <a:gd name="connsiteY28" fmla="*/ 292278 h 354892"/>
                <a:gd name="connsiteX29" fmla="*/ 177207 w 599763"/>
                <a:gd name="connsiteY29" fmla="*/ 264426 h 354892"/>
                <a:gd name="connsiteX30" fmla="*/ 180432 w 599763"/>
                <a:gd name="connsiteY30" fmla="*/ 237494 h 354892"/>
                <a:gd name="connsiteX31" fmla="*/ 491561 w 599763"/>
                <a:gd name="connsiteY31" fmla="*/ 162223 h 354892"/>
                <a:gd name="connsiteX32" fmla="*/ 497317 w 599763"/>
                <a:gd name="connsiteY32" fmla="*/ 169588 h 354892"/>
                <a:gd name="connsiteX33" fmla="*/ 497317 w 599763"/>
                <a:gd name="connsiteY33" fmla="*/ 172810 h 354892"/>
                <a:gd name="connsiteX34" fmla="*/ 496396 w 599763"/>
                <a:gd name="connsiteY34" fmla="*/ 177413 h 354892"/>
                <a:gd name="connsiteX35" fmla="*/ 495936 w 599763"/>
                <a:gd name="connsiteY35" fmla="*/ 190761 h 354892"/>
                <a:gd name="connsiteX36" fmla="*/ 495245 w 599763"/>
                <a:gd name="connsiteY36" fmla="*/ 216536 h 354892"/>
                <a:gd name="connsiteX37" fmla="*/ 483962 w 599763"/>
                <a:gd name="connsiteY37" fmla="*/ 216536 h 354892"/>
                <a:gd name="connsiteX38" fmla="*/ 480508 w 599763"/>
                <a:gd name="connsiteY38" fmla="*/ 181325 h 354892"/>
                <a:gd name="connsiteX39" fmla="*/ 491561 w 599763"/>
                <a:gd name="connsiteY39" fmla="*/ 162223 h 354892"/>
                <a:gd name="connsiteX40" fmla="*/ 107804 w 599763"/>
                <a:gd name="connsiteY40" fmla="*/ 161985 h 354892"/>
                <a:gd name="connsiteX41" fmla="*/ 118202 w 599763"/>
                <a:gd name="connsiteY41" fmla="*/ 161985 h 354892"/>
                <a:gd name="connsiteX42" fmla="*/ 121206 w 599763"/>
                <a:gd name="connsiteY42" fmla="*/ 185689 h 354892"/>
                <a:gd name="connsiteX43" fmla="*/ 121206 w 599763"/>
                <a:gd name="connsiteY43" fmla="*/ 210084 h 354892"/>
                <a:gd name="connsiteX44" fmla="*/ 107572 w 599763"/>
                <a:gd name="connsiteY44" fmla="*/ 211925 h 354892"/>
                <a:gd name="connsiteX45" fmla="*/ 105262 w 599763"/>
                <a:gd name="connsiteY45" fmla="*/ 185689 h 354892"/>
                <a:gd name="connsiteX46" fmla="*/ 107804 w 599763"/>
                <a:gd name="connsiteY46" fmla="*/ 161985 h 354892"/>
                <a:gd name="connsiteX47" fmla="*/ 186439 w 599763"/>
                <a:gd name="connsiteY47" fmla="*/ 161051 h 354892"/>
                <a:gd name="connsiteX48" fmla="*/ 197503 w 599763"/>
                <a:gd name="connsiteY48" fmla="*/ 162433 h 354892"/>
                <a:gd name="connsiteX49" fmla="*/ 197734 w 599763"/>
                <a:gd name="connsiteY49" fmla="*/ 186851 h 354892"/>
                <a:gd name="connsiteX50" fmla="*/ 197734 w 599763"/>
                <a:gd name="connsiteY50" fmla="*/ 213112 h 354892"/>
                <a:gd name="connsiteX51" fmla="*/ 185286 w 599763"/>
                <a:gd name="connsiteY51" fmla="*/ 214725 h 354892"/>
                <a:gd name="connsiteX52" fmla="*/ 182289 w 599763"/>
                <a:gd name="connsiteY52" fmla="*/ 184087 h 354892"/>
                <a:gd name="connsiteX53" fmla="*/ 186439 w 599763"/>
                <a:gd name="connsiteY53" fmla="*/ 161051 h 354892"/>
                <a:gd name="connsiteX54" fmla="*/ 270786 w 599763"/>
                <a:gd name="connsiteY54" fmla="*/ 160616 h 354892"/>
                <a:gd name="connsiteX55" fmla="*/ 276544 w 599763"/>
                <a:gd name="connsiteY55" fmla="*/ 162918 h 354892"/>
                <a:gd name="connsiteX56" fmla="*/ 278847 w 599763"/>
                <a:gd name="connsiteY56" fmla="*/ 170977 h 354892"/>
                <a:gd name="connsiteX57" fmla="*/ 274701 w 599763"/>
                <a:gd name="connsiteY57" fmla="*/ 215182 h 354892"/>
                <a:gd name="connsiteX58" fmla="*/ 261343 w 599763"/>
                <a:gd name="connsiteY58" fmla="*/ 215182 h 354892"/>
                <a:gd name="connsiteX59" fmla="*/ 262956 w 599763"/>
                <a:gd name="connsiteY59" fmla="*/ 166602 h 354892"/>
                <a:gd name="connsiteX60" fmla="*/ 270786 w 599763"/>
                <a:gd name="connsiteY60" fmla="*/ 160616 h 354892"/>
                <a:gd name="connsiteX61" fmla="*/ 416901 w 599763"/>
                <a:gd name="connsiteY61" fmla="*/ 160241 h 354892"/>
                <a:gd name="connsiteX62" fmla="*/ 425175 w 599763"/>
                <a:gd name="connsiteY62" fmla="*/ 168006 h 354892"/>
                <a:gd name="connsiteX63" fmla="*/ 420562 w 599763"/>
                <a:gd name="connsiteY63" fmla="*/ 216326 h 354892"/>
                <a:gd name="connsiteX64" fmla="*/ 408800 w 599763"/>
                <a:gd name="connsiteY64" fmla="*/ 213104 h 354892"/>
                <a:gd name="connsiteX65" fmla="*/ 408800 w 599763"/>
                <a:gd name="connsiteY65" fmla="*/ 168006 h 354892"/>
                <a:gd name="connsiteX66" fmla="*/ 416901 w 599763"/>
                <a:gd name="connsiteY66" fmla="*/ 160241 h 354892"/>
                <a:gd name="connsiteX67" fmla="*/ 346478 w 599763"/>
                <a:gd name="connsiteY67" fmla="*/ 159746 h 354892"/>
                <a:gd name="connsiteX68" fmla="*/ 353060 w 599763"/>
                <a:gd name="connsiteY68" fmla="*/ 163373 h 354892"/>
                <a:gd name="connsiteX69" fmla="*/ 353060 w 599763"/>
                <a:gd name="connsiteY69" fmla="*/ 186402 h 354892"/>
                <a:gd name="connsiteX70" fmla="*/ 350057 w 599763"/>
                <a:gd name="connsiteY70" fmla="*/ 213346 h 354892"/>
                <a:gd name="connsiteX71" fmla="*/ 334815 w 599763"/>
                <a:gd name="connsiteY71" fmla="*/ 211274 h 354892"/>
                <a:gd name="connsiteX72" fmla="*/ 337125 w 599763"/>
                <a:gd name="connsiteY72" fmla="*/ 184329 h 354892"/>
                <a:gd name="connsiteX73" fmla="*/ 339896 w 599763"/>
                <a:gd name="connsiteY73" fmla="*/ 163373 h 354892"/>
                <a:gd name="connsiteX74" fmla="*/ 346478 w 599763"/>
                <a:gd name="connsiteY74" fmla="*/ 159746 h 354892"/>
                <a:gd name="connsiteX75" fmla="*/ 541601 w 599763"/>
                <a:gd name="connsiteY75" fmla="*/ 132325 h 354892"/>
                <a:gd name="connsiteX76" fmla="*/ 508182 w 599763"/>
                <a:gd name="connsiteY76" fmla="*/ 132555 h 354892"/>
                <a:gd name="connsiteX77" fmla="*/ 380500 w 599763"/>
                <a:gd name="connsiteY77" fmla="*/ 136007 h 354892"/>
                <a:gd name="connsiteX78" fmla="*/ 256967 w 599763"/>
                <a:gd name="connsiteY78" fmla="*/ 136237 h 354892"/>
                <a:gd name="connsiteX79" fmla="*/ 129515 w 599763"/>
                <a:gd name="connsiteY79" fmla="*/ 139919 h 354892"/>
                <a:gd name="connsiteX80" fmla="*/ 67979 w 599763"/>
                <a:gd name="connsiteY80" fmla="*/ 142681 h 354892"/>
                <a:gd name="connsiteX81" fmla="*/ 83421 w 599763"/>
                <a:gd name="connsiteY81" fmla="*/ 333237 h 354892"/>
                <a:gd name="connsiteX82" fmla="*/ 266186 w 599763"/>
                <a:gd name="connsiteY82" fmla="*/ 335308 h 354892"/>
                <a:gd name="connsiteX83" fmla="*/ 260193 w 599763"/>
                <a:gd name="connsiteY83" fmla="*/ 297565 h 354892"/>
                <a:gd name="connsiteX84" fmla="*/ 258119 w 599763"/>
                <a:gd name="connsiteY84" fmla="*/ 244403 h 354892"/>
                <a:gd name="connsiteX85" fmla="*/ 265955 w 599763"/>
                <a:gd name="connsiteY85" fmla="*/ 236578 h 354892"/>
                <a:gd name="connsiteX86" fmla="*/ 338554 w 599763"/>
                <a:gd name="connsiteY86" fmla="*/ 232436 h 354892"/>
                <a:gd name="connsiteX87" fmla="*/ 346620 w 599763"/>
                <a:gd name="connsiteY87" fmla="*/ 240490 h 354892"/>
                <a:gd name="connsiteX88" fmla="*/ 347312 w 599763"/>
                <a:gd name="connsiteY88" fmla="*/ 303319 h 354892"/>
                <a:gd name="connsiteX89" fmla="*/ 346620 w 599763"/>
                <a:gd name="connsiteY89" fmla="*/ 333467 h 354892"/>
                <a:gd name="connsiteX90" fmla="*/ 542292 w 599763"/>
                <a:gd name="connsiteY90" fmla="*/ 330705 h 354892"/>
                <a:gd name="connsiteX91" fmla="*/ 540218 w 599763"/>
                <a:gd name="connsiteY91" fmla="*/ 219548 h 354892"/>
                <a:gd name="connsiteX92" fmla="*/ 539296 w 599763"/>
                <a:gd name="connsiteY92" fmla="*/ 177662 h 354892"/>
                <a:gd name="connsiteX93" fmla="*/ 536761 w 599763"/>
                <a:gd name="connsiteY93" fmla="*/ 146363 h 354892"/>
                <a:gd name="connsiteX94" fmla="*/ 541601 w 599763"/>
                <a:gd name="connsiteY94" fmla="*/ 132325 h 354892"/>
                <a:gd name="connsiteX95" fmla="*/ 312050 w 599763"/>
                <a:gd name="connsiteY95" fmla="*/ 16565 h 354892"/>
                <a:gd name="connsiteX96" fmla="*/ 220782 w 599763"/>
                <a:gd name="connsiteY96" fmla="*/ 54308 h 354892"/>
                <a:gd name="connsiteX97" fmla="*/ 141500 w 599763"/>
                <a:gd name="connsiteY97" fmla="*/ 94122 h 354892"/>
                <a:gd name="connsiteX98" fmla="*/ 74663 w 599763"/>
                <a:gd name="connsiteY98" fmla="*/ 124500 h 354892"/>
                <a:gd name="connsiteX99" fmla="*/ 147723 w 599763"/>
                <a:gd name="connsiteY99" fmla="*/ 122889 h 354892"/>
                <a:gd name="connsiteX100" fmla="*/ 275174 w 599763"/>
                <a:gd name="connsiteY100" fmla="*/ 119667 h 354892"/>
                <a:gd name="connsiteX101" fmla="*/ 393406 w 599763"/>
                <a:gd name="connsiteY101" fmla="*/ 119207 h 354892"/>
                <a:gd name="connsiteX102" fmla="*/ 530077 w 599763"/>
                <a:gd name="connsiteY102" fmla="*/ 115985 h 354892"/>
                <a:gd name="connsiteX103" fmla="*/ 576863 w 599763"/>
                <a:gd name="connsiteY103" fmla="*/ 115525 h 354892"/>
                <a:gd name="connsiteX104" fmla="*/ 537452 w 599763"/>
                <a:gd name="connsiteY104" fmla="*/ 100335 h 354892"/>
                <a:gd name="connsiteX105" fmla="*/ 489053 w 599763"/>
                <a:gd name="connsiteY105" fmla="*/ 84916 h 354892"/>
                <a:gd name="connsiteX106" fmla="*/ 400551 w 599763"/>
                <a:gd name="connsiteY106" fmla="*/ 49014 h 354892"/>
                <a:gd name="connsiteX107" fmla="*/ 352152 w 599763"/>
                <a:gd name="connsiteY107" fmla="*/ 28992 h 354892"/>
                <a:gd name="connsiteX108" fmla="*/ 312050 w 599763"/>
                <a:gd name="connsiteY108" fmla="*/ 16565 h 354892"/>
                <a:gd name="connsiteX109" fmla="*/ 306925 w 599763"/>
                <a:gd name="connsiteY109" fmla="*/ 99 h 354892"/>
                <a:gd name="connsiteX110" fmla="*/ 327491 w 599763"/>
                <a:gd name="connsiteY110" fmla="*/ 2526 h 354892"/>
                <a:gd name="connsiteX111" fmla="*/ 518323 w 599763"/>
                <a:gd name="connsiteY111" fmla="*/ 76861 h 354892"/>
                <a:gd name="connsiteX112" fmla="*/ 599680 w 599763"/>
                <a:gd name="connsiteY112" fmla="*/ 123119 h 354892"/>
                <a:gd name="connsiteX113" fmla="*/ 598297 w 599763"/>
                <a:gd name="connsiteY113" fmla="*/ 126801 h 354892"/>
                <a:gd name="connsiteX114" fmla="*/ 585621 w 599763"/>
                <a:gd name="connsiteY114" fmla="*/ 132325 h 354892"/>
                <a:gd name="connsiteX115" fmla="*/ 581703 w 599763"/>
                <a:gd name="connsiteY115" fmla="*/ 133936 h 354892"/>
                <a:gd name="connsiteX116" fmla="*/ 563495 w 599763"/>
                <a:gd name="connsiteY116" fmla="*/ 132785 h 354892"/>
                <a:gd name="connsiteX117" fmla="*/ 544597 w 599763"/>
                <a:gd name="connsiteY117" fmla="*/ 132325 h 354892"/>
                <a:gd name="connsiteX118" fmla="*/ 548515 w 599763"/>
                <a:gd name="connsiteY118" fmla="*/ 134856 h 354892"/>
                <a:gd name="connsiteX119" fmla="*/ 556581 w 599763"/>
                <a:gd name="connsiteY119" fmla="*/ 204589 h 354892"/>
                <a:gd name="connsiteX120" fmla="*/ 558655 w 599763"/>
                <a:gd name="connsiteY120" fmla="*/ 338530 h 354892"/>
                <a:gd name="connsiteX121" fmla="*/ 550589 w 599763"/>
                <a:gd name="connsiteY121" fmla="*/ 346815 h 354892"/>
                <a:gd name="connsiteX122" fmla="*/ 299374 w 599763"/>
                <a:gd name="connsiteY122" fmla="*/ 350727 h 354892"/>
                <a:gd name="connsiteX123" fmla="*/ 75815 w 599763"/>
                <a:gd name="connsiteY123" fmla="*/ 348656 h 354892"/>
                <a:gd name="connsiteX124" fmla="*/ 67518 w 599763"/>
                <a:gd name="connsiteY124" fmla="*/ 340371 h 354892"/>
                <a:gd name="connsiteX125" fmla="*/ 56225 w 599763"/>
                <a:gd name="connsiteY125" fmla="*/ 142911 h 354892"/>
                <a:gd name="connsiteX126" fmla="*/ 14049 w 599763"/>
                <a:gd name="connsiteY126" fmla="*/ 140840 h 354892"/>
                <a:gd name="connsiteX127" fmla="*/ 10592 w 599763"/>
                <a:gd name="connsiteY127" fmla="*/ 142681 h 354892"/>
                <a:gd name="connsiteX128" fmla="*/ 1142 w 599763"/>
                <a:gd name="connsiteY128" fmla="*/ 133245 h 354892"/>
                <a:gd name="connsiteX129" fmla="*/ 53690 w 599763"/>
                <a:gd name="connsiteY129" fmla="*/ 114604 h 354892"/>
                <a:gd name="connsiteX130" fmla="*/ 154867 w 599763"/>
                <a:gd name="connsiteY130" fmla="*/ 68806 h 354892"/>
                <a:gd name="connsiteX131" fmla="*/ 249592 w 599763"/>
                <a:gd name="connsiteY131" fmla="*/ 21167 h 354892"/>
                <a:gd name="connsiteX132" fmla="*/ 306925 w 599763"/>
                <a:gd name="connsiteY132" fmla="*/ 99 h 3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9763" h="354892">
                  <a:moveTo>
                    <a:pt x="413435" y="242351"/>
                  </a:moveTo>
                  <a:cubicBezTo>
                    <a:pt x="416422" y="241202"/>
                    <a:pt x="420328" y="243731"/>
                    <a:pt x="421018" y="246720"/>
                  </a:cubicBezTo>
                  <a:cubicBezTo>
                    <a:pt x="422856" y="254766"/>
                    <a:pt x="419869" y="265341"/>
                    <a:pt x="419179" y="273388"/>
                  </a:cubicBezTo>
                  <a:cubicBezTo>
                    <a:pt x="418490" y="283043"/>
                    <a:pt x="417801" y="293159"/>
                    <a:pt x="413665" y="301895"/>
                  </a:cubicBezTo>
                  <a:cubicBezTo>
                    <a:pt x="411367" y="306263"/>
                    <a:pt x="404015" y="304194"/>
                    <a:pt x="404245" y="299366"/>
                  </a:cubicBezTo>
                  <a:cubicBezTo>
                    <a:pt x="404704" y="287411"/>
                    <a:pt x="404704" y="275457"/>
                    <a:pt x="405164" y="263502"/>
                  </a:cubicBezTo>
                  <a:cubicBezTo>
                    <a:pt x="405393" y="255456"/>
                    <a:pt x="404704" y="245800"/>
                    <a:pt x="413435" y="242351"/>
                  </a:cubicBezTo>
                  <a:close/>
                  <a:moveTo>
                    <a:pt x="107616" y="239326"/>
                  </a:moveTo>
                  <a:cubicBezTo>
                    <a:pt x="110376" y="235415"/>
                    <a:pt x="115665" y="235415"/>
                    <a:pt x="118194" y="239326"/>
                  </a:cubicBezTo>
                  <a:cubicBezTo>
                    <a:pt x="123024" y="246457"/>
                    <a:pt x="120954" y="255889"/>
                    <a:pt x="120954" y="264171"/>
                  </a:cubicBezTo>
                  <a:cubicBezTo>
                    <a:pt x="120724" y="272683"/>
                    <a:pt x="120724" y="281194"/>
                    <a:pt x="119804" y="289476"/>
                  </a:cubicBezTo>
                  <a:cubicBezTo>
                    <a:pt x="118884" y="298218"/>
                    <a:pt x="107156" y="298218"/>
                    <a:pt x="106236" y="289476"/>
                  </a:cubicBezTo>
                  <a:cubicBezTo>
                    <a:pt x="105087" y="279814"/>
                    <a:pt x="105087" y="270152"/>
                    <a:pt x="105087" y="260490"/>
                  </a:cubicBezTo>
                  <a:cubicBezTo>
                    <a:pt x="104857" y="253129"/>
                    <a:pt x="103477" y="245767"/>
                    <a:pt x="107616" y="239326"/>
                  </a:cubicBezTo>
                  <a:close/>
                  <a:moveTo>
                    <a:pt x="489266" y="239296"/>
                  </a:moveTo>
                  <a:cubicBezTo>
                    <a:pt x="489496" y="239296"/>
                    <a:pt x="489496" y="239296"/>
                    <a:pt x="489726" y="239296"/>
                  </a:cubicBezTo>
                  <a:cubicBezTo>
                    <a:pt x="489726" y="239296"/>
                    <a:pt x="489956" y="239296"/>
                    <a:pt x="489956" y="239296"/>
                  </a:cubicBezTo>
                  <a:cubicBezTo>
                    <a:pt x="491566" y="239296"/>
                    <a:pt x="493175" y="239757"/>
                    <a:pt x="494785" y="241139"/>
                  </a:cubicBezTo>
                  <a:cubicBezTo>
                    <a:pt x="499843" y="245746"/>
                    <a:pt x="497544" y="256343"/>
                    <a:pt x="497314" y="262332"/>
                  </a:cubicBezTo>
                  <a:cubicBezTo>
                    <a:pt x="497084" y="270395"/>
                    <a:pt x="498694" y="281682"/>
                    <a:pt x="495475" y="289284"/>
                  </a:cubicBezTo>
                  <a:cubicBezTo>
                    <a:pt x="493175" y="295043"/>
                    <a:pt x="486277" y="295043"/>
                    <a:pt x="483748" y="289284"/>
                  </a:cubicBezTo>
                  <a:cubicBezTo>
                    <a:pt x="480529" y="281682"/>
                    <a:pt x="482138" y="270395"/>
                    <a:pt x="481909" y="262332"/>
                  </a:cubicBezTo>
                  <a:cubicBezTo>
                    <a:pt x="481909" y="256343"/>
                    <a:pt x="479379" y="245746"/>
                    <a:pt x="484668" y="241139"/>
                  </a:cubicBezTo>
                  <a:cubicBezTo>
                    <a:pt x="486047" y="239757"/>
                    <a:pt x="487657" y="239296"/>
                    <a:pt x="489266" y="239296"/>
                  </a:cubicBezTo>
                  <a:close/>
                  <a:moveTo>
                    <a:pt x="180432" y="237494"/>
                  </a:moveTo>
                  <a:cubicBezTo>
                    <a:pt x="182736" y="233811"/>
                    <a:pt x="188495" y="233581"/>
                    <a:pt x="190798" y="237494"/>
                  </a:cubicBezTo>
                  <a:cubicBezTo>
                    <a:pt x="195636" y="245551"/>
                    <a:pt x="193102" y="255449"/>
                    <a:pt x="192871" y="264426"/>
                  </a:cubicBezTo>
                  <a:cubicBezTo>
                    <a:pt x="192641" y="273173"/>
                    <a:pt x="193793" y="282380"/>
                    <a:pt x="192180" y="290897"/>
                  </a:cubicBezTo>
                  <a:cubicBezTo>
                    <a:pt x="191489" y="295961"/>
                    <a:pt x="184579" y="295731"/>
                    <a:pt x="182275" y="292278"/>
                  </a:cubicBezTo>
                  <a:cubicBezTo>
                    <a:pt x="176977" y="284682"/>
                    <a:pt x="177207" y="273173"/>
                    <a:pt x="177207" y="264426"/>
                  </a:cubicBezTo>
                  <a:cubicBezTo>
                    <a:pt x="177207" y="255679"/>
                    <a:pt x="175595" y="245320"/>
                    <a:pt x="180432" y="237494"/>
                  </a:cubicBezTo>
                  <a:close/>
                  <a:moveTo>
                    <a:pt x="491561" y="162223"/>
                  </a:moveTo>
                  <a:cubicBezTo>
                    <a:pt x="495706" y="161533"/>
                    <a:pt x="498008" y="166366"/>
                    <a:pt x="497317" y="169588"/>
                  </a:cubicBezTo>
                  <a:cubicBezTo>
                    <a:pt x="498008" y="166366"/>
                    <a:pt x="497317" y="172810"/>
                    <a:pt x="497317" y="172810"/>
                  </a:cubicBezTo>
                  <a:cubicBezTo>
                    <a:pt x="497087" y="174421"/>
                    <a:pt x="496627" y="175802"/>
                    <a:pt x="496396" y="177413"/>
                  </a:cubicBezTo>
                  <a:cubicBezTo>
                    <a:pt x="495936" y="181785"/>
                    <a:pt x="495936" y="186388"/>
                    <a:pt x="495936" y="190761"/>
                  </a:cubicBezTo>
                  <a:cubicBezTo>
                    <a:pt x="495936" y="199506"/>
                    <a:pt x="496627" y="208251"/>
                    <a:pt x="495245" y="216536"/>
                  </a:cubicBezTo>
                  <a:cubicBezTo>
                    <a:pt x="494324" y="222290"/>
                    <a:pt x="485114" y="222060"/>
                    <a:pt x="483962" y="216536"/>
                  </a:cubicBezTo>
                  <a:cubicBezTo>
                    <a:pt x="481890" y="205260"/>
                    <a:pt x="480739" y="192832"/>
                    <a:pt x="480508" y="181325"/>
                  </a:cubicBezTo>
                  <a:cubicBezTo>
                    <a:pt x="480508" y="172580"/>
                    <a:pt x="481429" y="163374"/>
                    <a:pt x="491561" y="162223"/>
                  </a:cubicBezTo>
                  <a:close/>
                  <a:moveTo>
                    <a:pt x="107804" y="161985"/>
                  </a:moveTo>
                  <a:cubicBezTo>
                    <a:pt x="110576" y="158993"/>
                    <a:pt x="115429" y="159223"/>
                    <a:pt x="118202" y="161985"/>
                  </a:cubicBezTo>
                  <a:cubicBezTo>
                    <a:pt x="123517" y="167278"/>
                    <a:pt x="121206" y="178785"/>
                    <a:pt x="121206" y="185689"/>
                  </a:cubicBezTo>
                  <a:cubicBezTo>
                    <a:pt x="121206" y="193744"/>
                    <a:pt x="121668" y="202029"/>
                    <a:pt x="121206" y="210084"/>
                  </a:cubicBezTo>
                  <a:cubicBezTo>
                    <a:pt x="120975" y="217909"/>
                    <a:pt x="109883" y="219750"/>
                    <a:pt x="107572" y="211925"/>
                  </a:cubicBezTo>
                  <a:cubicBezTo>
                    <a:pt x="105031" y="203640"/>
                    <a:pt x="105493" y="194204"/>
                    <a:pt x="105262" y="185689"/>
                  </a:cubicBezTo>
                  <a:cubicBezTo>
                    <a:pt x="105031" y="178785"/>
                    <a:pt x="102489" y="167278"/>
                    <a:pt x="107804" y="161985"/>
                  </a:cubicBezTo>
                  <a:close/>
                  <a:moveTo>
                    <a:pt x="186439" y="161051"/>
                  </a:moveTo>
                  <a:cubicBezTo>
                    <a:pt x="190127" y="158287"/>
                    <a:pt x="194967" y="158287"/>
                    <a:pt x="197503" y="162433"/>
                  </a:cubicBezTo>
                  <a:cubicBezTo>
                    <a:pt x="201422" y="168653"/>
                    <a:pt x="198195" y="179710"/>
                    <a:pt x="197734" y="186851"/>
                  </a:cubicBezTo>
                  <a:cubicBezTo>
                    <a:pt x="197503" y="195605"/>
                    <a:pt x="197734" y="204359"/>
                    <a:pt x="197734" y="213112"/>
                  </a:cubicBezTo>
                  <a:cubicBezTo>
                    <a:pt x="197964" y="220253"/>
                    <a:pt x="187130" y="221866"/>
                    <a:pt x="185286" y="214725"/>
                  </a:cubicBezTo>
                  <a:cubicBezTo>
                    <a:pt x="182750" y="205050"/>
                    <a:pt x="182289" y="194223"/>
                    <a:pt x="182289" y="184087"/>
                  </a:cubicBezTo>
                  <a:cubicBezTo>
                    <a:pt x="182289" y="177407"/>
                    <a:pt x="180676" y="165889"/>
                    <a:pt x="186439" y="161051"/>
                  </a:cubicBezTo>
                  <a:close/>
                  <a:moveTo>
                    <a:pt x="270786" y="160616"/>
                  </a:moveTo>
                  <a:cubicBezTo>
                    <a:pt x="273319" y="160616"/>
                    <a:pt x="274932" y="161307"/>
                    <a:pt x="276544" y="162918"/>
                  </a:cubicBezTo>
                  <a:cubicBezTo>
                    <a:pt x="278617" y="164760"/>
                    <a:pt x="279538" y="168214"/>
                    <a:pt x="278847" y="170977"/>
                  </a:cubicBezTo>
                  <a:cubicBezTo>
                    <a:pt x="274010" y="185251"/>
                    <a:pt x="275853" y="200217"/>
                    <a:pt x="274701" y="215182"/>
                  </a:cubicBezTo>
                  <a:cubicBezTo>
                    <a:pt x="274010" y="223701"/>
                    <a:pt x="262034" y="223701"/>
                    <a:pt x="261343" y="215182"/>
                  </a:cubicBezTo>
                  <a:cubicBezTo>
                    <a:pt x="259731" y="199066"/>
                    <a:pt x="258580" y="182258"/>
                    <a:pt x="262956" y="166602"/>
                  </a:cubicBezTo>
                  <a:cubicBezTo>
                    <a:pt x="264107" y="163149"/>
                    <a:pt x="267331" y="160616"/>
                    <a:pt x="270786" y="160616"/>
                  </a:cubicBezTo>
                  <a:close/>
                  <a:moveTo>
                    <a:pt x="416901" y="160241"/>
                  </a:moveTo>
                  <a:cubicBezTo>
                    <a:pt x="421023" y="160241"/>
                    <a:pt x="425175" y="162829"/>
                    <a:pt x="425175" y="168006"/>
                  </a:cubicBezTo>
                  <a:cubicBezTo>
                    <a:pt x="425175" y="184113"/>
                    <a:pt x="427020" y="201370"/>
                    <a:pt x="420562" y="216326"/>
                  </a:cubicBezTo>
                  <a:cubicBezTo>
                    <a:pt x="418025" y="222078"/>
                    <a:pt x="408108" y="219317"/>
                    <a:pt x="408800" y="213104"/>
                  </a:cubicBezTo>
                  <a:cubicBezTo>
                    <a:pt x="410183" y="197918"/>
                    <a:pt x="409261" y="183192"/>
                    <a:pt x="408800" y="168006"/>
                  </a:cubicBezTo>
                  <a:cubicBezTo>
                    <a:pt x="408685" y="162829"/>
                    <a:pt x="412778" y="160241"/>
                    <a:pt x="416901" y="160241"/>
                  </a:cubicBezTo>
                  <a:close/>
                  <a:moveTo>
                    <a:pt x="346478" y="159746"/>
                  </a:moveTo>
                  <a:cubicBezTo>
                    <a:pt x="348961" y="159631"/>
                    <a:pt x="351443" y="160725"/>
                    <a:pt x="353060" y="163373"/>
                  </a:cubicBezTo>
                  <a:cubicBezTo>
                    <a:pt x="356524" y="169360"/>
                    <a:pt x="353752" y="179954"/>
                    <a:pt x="353060" y="186402"/>
                  </a:cubicBezTo>
                  <a:cubicBezTo>
                    <a:pt x="352367" y="195383"/>
                    <a:pt x="351674" y="204365"/>
                    <a:pt x="350057" y="213346"/>
                  </a:cubicBezTo>
                  <a:cubicBezTo>
                    <a:pt x="348441" y="221867"/>
                    <a:pt x="333661" y="219794"/>
                    <a:pt x="334815" y="211274"/>
                  </a:cubicBezTo>
                  <a:cubicBezTo>
                    <a:pt x="335970" y="202292"/>
                    <a:pt x="336432" y="193311"/>
                    <a:pt x="337125" y="184329"/>
                  </a:cubicBezTo>
                  <a:cubicBezTo>
                    <a:pt x="337356" y="178572"/>
                    <a:pt x="336201" y="167979"/>
                    <a:pt x="339896" y="163373"/>
                  </a:cubicBezTo>
                  <a:cubicBezTo>
                    <a:pt x="341513" y="161185"/>
                    <a:pt x="343995" y="159861"/>
                    <a:pt x="346478" y="159746"/>
                  </a:cubicBezTo>
                  <a:close/>
                  <a:moveTo>
                    <a:pt x="541601" y="132325"/>
                  </a:moveTo>
                  <a:cubicBezTo>
                    <a:pt x="530307" y="132325"/>
                    <a:pt x="519245" y="132325"/>
                    <a:pt x="508182" y="132555"/>
                  </a:cubicBezTo>
                  <a:cubicBezTo>
                    <a:pt x="465544" y="133245"/>
                    <a:pt x="423137" y="134856"/>
                    <a:pt x="380500" y="136007"/>
                  </a:cubicBezTo>
                  <a:cubicBezTo>
                    <a:pt x="339245" y="137388"/>
                    <a:pt x="298221" y="135777"/>
                    <a:pt x="256967" y="136237"/>
                  </a:cubicBezTo>
                  <a:cubicBezTo>
                    <a:pt x="214560" y="136697"/>
                    <a:pt x="172153" y="138308"/>
                    <a:pt x="129515" y="139919"/>
                  </a:cubicBezTo>
                  <a:cubicBezTo>
                    <a:pt x="109234" y="140840"/>
                    <a:pt x="88722" y="142221"/>
                    <a:pt x="67979" y="142681"/>
                  </a:cubicBezTo>
                  <a:cubicBezTo>
                    <a:pt x="71667" y="206200"/>
                    <a:pt x="79272" y="269718"/>
                    <a:pt x="83421" y="333237"/>
                  </a:cubicBezTo>
                  <a:cubicBezTo>
                    <a:pt x="144496" y="340831"/>
                    <a:pt x="205341" y="337609"/>
                    <a:pt x="266186" y="335308"/>
                  </a:cubicBezTo>
                  <a:cubicBezTo>
                    <a:pt x="259271" y="327253"/>
                    <a:pt x="260654" y="306080"/>
                    <a:pt x="260193" y="297565"/>
                  </a:cubicBezTo>
                  <a:cubicBezTo>
                    <a:pt x="258810" y="279844"/>
                    <a:pt x="258119" y="262124"/>
                    <a:pt x="258119" y="244403"/>
                  </a:cubicBezTo>
                  <a:cubicBezTo>
                    <a:pt x="257889" y="239800"/>
                    <a:pt x="261807" y="236808"/>
                    <a:pt x="265955" y="236578"/>
                  </a:cubicBezTo>
                  <a:cubicBezTo>
                    <a:pt x="290155" y="234507"/>
                    <a:pt x="314354" y="232666"/>
                    <a:pt x="338554" y="232436"/>
                  </a:cubicBezTo>
                  <a:cubicBezTo>
                    <a:pt x="342933" y="232436"/>
                    <a:pt x="346620" y="236118"/>
                    <a:pt x="346620" y="240490"/>
                  </a:cubicBezTo>
                  <a:cubicBezTo>
                    <a:pt x="346851" y="261433"/>
                    <a:pt x="347542" y="282376"/>
                    <a:pt x="347312" y="303319"/>
                  </a:cubicBezTo>
                  <a:cubicBezTo>
                    <a:pt x="347081" y="312294"/>
                    <a:pt x="348003" y="323571"/>
                    <a:pt x="346620" y="333467"/>
                  </a:cubicBezTo>
                  <a:cubicBezTo>
                    <a:pt x="411844" y="332776"/>
                    <a:pt x="477068" y="333237"/>
                    <a:pt x="542292" y="330705"/>
                  </a:cubicBezTo>
                  <a:cubicBezTo>
                    <a:pt x="542061" y="293653"/>
                    <a:pt x="540448" y="256600"/>
                    <a:pt x="540218" y="219548"/>
                  </a:cubicBezTo>
                  <a:cubicBezTo>
                    <a:pt x="540218" y="205739"/>
                    <a:pt x="539987" y="191701"/>
                    <a:pt x="539296" y="177662"/>
                  </a:cubicBezTo>
                  <a:cubicBezTo>
                    <a:pt x="539065" y="171449"/>
                    <a:pt x="540909" y="151426"/>
                    <a:pt x="536761" y="146363"/>
                  </a:cubicBezTo>
                  <a:cubicBezTo>
                    <a:pt x="532151" y="140840"/>
                    <a:pt x="536300" y="133476"/>
                    <a:pt x="541601" y="132325"/>
                  </a:cubicBezTo>
                  <a:close/>
                  <a:moveTo>
                    <a:pt x="312050" y="16565"/>
                  </a:moveTo>
                  <a:cubicBezTo>
                    <a:pt x="279322" y="16795"/>
                    <a:pt x="249822" y="41420"/>
                    <a:pt x="220782" y="54308"/>
                  </a:cubicBezTo>
                  <a:cubicBezTo>
                    <a:pt x="193817" y="66275"/>
                    <a:pt x="168004" y="81004"/>
                    <a:pt x="141500" y="94122"/>
                  </a:cubicBezTo>
                  <a:cubicBezTo>
                    <a:pt x="119836" y="105168"/>
                    <a:pt x="97710" y="115985"/>
                    <a:pt x="74663" y="124500"/>
                  </a:cubicBezTo>
                  <a:cubicBezTo>
                    <a:pt x="99093" y="123810"/>
                    <a:pt x="123754" y="123810"/>
                    <a:pt x="147723" y="122889"/>
                  </a:cubicBezTo>
                  <a:cubicBezTo>
                    <a:pt x="190130" y="121278"/>
                    <a:pt x="232767" y="119437"/>
                    <a:pt x="275174" y="119667"/>
                  </a:cubicBezTo>
                  <a:cubicBezTo>
                    <a:pt x="314815" y="119897"/>
                    <a:pt x="353765" y="120588"/>
                    <a:pt x="393406" y="119207"/>
                  </a:cubicBezTo>
                  <a:cubicBezTo>
                    <a:pt x="439040" y="117826"/>
                    <a:pt x="484443" y="115985"/>
                    <a:pt x="530077" y="115985"/>
                  </a:cubicBezTo>
                  <a:cubicBezTo>
                    <a:pt x="539526" y="115985"/>
                    <a:pt x="560499" y="113223"/>
                    <a:pt x="576863" y="115525"/>
                  </a:cubicBezTo>
                  <a:cubicBezTo>
                    <a:pt x="565339" y="108390"/>
                    <a:pt x="542292" y="101946"/>
                    <a:pt x="537452" y="100335"/>
                  </a:cubicBezTo>
                  <a:cubicBezTo>
                    <a:pt x="521319" y="95042"/>
                    <a:pt x="504955" y="90900"/>
                    <a:pt x="489053" y="84916"/>
                  </a:cubicBezTo>
                  <a:cubicBezTo>
                    <a:pt x="459321" y="73639"/>
                    <a:pt x="430051" y="61442"/>
                    <a:pt x="400551" y="49014"/>
                  </a:cubicBezTo>
                  <a:cubicBezTo>
                    <a:pt x="384418" y="42340"/>
                    <a:pt x="368515" y="35436"/>
                    <a:pt x="352152" y="28992"/>
                  </a:cubicBezTo>
                  <a:cubicBezTo>
                    <a:pt x="339937" y="24389"/>
                    <a:pt x="325417" y="16335"/>
                    <a:pt x="312050" y="16565"/>
                  </a:cubicBezTo>
                  <a:close/>
                  <a:moveTo>
                    <a:pt x="306925" y="99"/>
                  </a:moveTo>
                  <a:cubicBezTo>
                    <a:pt x="313663" y="-279"/>
                    <a:pt x="320519" y="397"/>
                    <a:pt x="327491" y="2526"/>
                  </a:cubicBezTo>
                  <a:cubicBezTo>
                    <a:pt x="392715" y="22778"/>
                    <a:pt x="452868" y="56839"/>
                    <a:pt x="518323" y="76861"/>
                  </a:cubicBezTo>
                  <a:cubicBezTo>
                    <a:pt x="535839" y="82385"/>
                    <a:pt x="602445" y="95963"/>
                    <a:pt x="599680" y="123119"/>
                  </a:cubicBezTo>
                  <a:cubicBezTo>
                    <a:pt x="599449" y="124500"/>
                    <a:pt x="598988" y="125651"/>
                    <a:pt x="598297" y="126801"/>
                  </a:cubicBezTo>
                  <a:cubicBezTo>
                    <a:pt x="601062" y="133936"/>
                    <a:pt x="590000" y="139689"/>
                    <a:pt x="585621" y="132325"/>
                  </a:cubicBezTo>
                  <a:cubicBezTo>
                    <a:pt x="588386" y="137158"/>
                    <a:pt x="588617" y="134856"/>
                    <a:pt x="581703" y="133936"/>
                  </a:cubicBezTo>
                  <a:cubicBezTo>
                    <a:pt x="575480" y="133245"/>
                    <a:pt x="569488" y="133015"/>
                    <a:pt x="563495" y="132785"/>
                  </a:cubicBezTo>
                  <a:cubicBezTo>
                    <a:pt x="557042" y="132555"/>
                    <a:pt x="550819" y="132325"/>
                    <a:pt x="544597" y="132325"/>
                  </a:cubicBezTo>
                  <a:cubicBezTo>
                    <a:pt x="545979" y="132785"/>
                    <a:pt x="547362" y="133476"/>
                    <a:pt x="548515" y="134856"/>
                  </a:cubicBezTo>
                  <a:cubicBezTo>
                    <a:pt x="561191" y="150046"/>
                    <a:pt x="556351" y="186177"/>
                    <a:pt x="556581" y="204589"/>
                  </a:cubicBezTo>
                  <a:cubicBezTo>
                    <a:pt x="557042" y="249236"/>
                    <a:pt x="558655" y="293883"/>
                    <a:pt x="558655" y="338530"/>
                  </a:cubicBezTo>
                  <a:cubicBezTo>
                    <a:pt x="558655" y="343133"/>
                    <a:pt x="554968" y="346585"/>
                    <a:pt x="550589" y="346815"/>
                  </a:cubicBezTo>
                  <a:cubicBezTo>
                    <a:pt x="466927" y="350497"/>
                    <a:pt x="382805" y="346124"/>
                    <a:pt x="299374" y="350727"/>
                  </a:cubicBezTo>
                  <a:cubicBezTo>
                    <a:pt x="224931" y="354640"/>
                    <a:pt x="149797" y="358552"/>
                    <a:pt x="75815" y="348656"/>
                  </a:cubicBezTo>
                  <a:cubicBezTo>
                    <a:pt x="70975" y="347966"/>
                    <a:pt x="67749" y="345434"/>
                    <a:pt x="67518" y="340371"/>
                  </a:cubicBezTo>
                  <a:cubicBezTo>
                    <a:pt x="63370" y="274551"/>
                    <a:pt x="54612" y="208961"/>
                    <a:pt x="56225" y="142911"/>
                  </a:cubicBezTo>
                  <a:cubicBezTo>
                    <a:pt x="42166" y="142911"/>
                    <a:pt x="27877" y="142451"/>
                    <a:pt x="14049" y="140840"/>
                  </a:cubicBezTo>
                  <a:cubicBezTo>
                    <a:pt x="12896" y="141530"/>
                    <a:pt x="11514" y="141991"/>
                    <a:pt x="10592" y="142681"/>
                  </a:cubicBezTo>
                  <a:cubicBezTo>
                    <a:pt x="5060" y="145903"/>
                    <a:pt x="-3006" y="138999"/>
                    <a:pt x="1142" y="133245"/>
                  </a:cubicBezTo>
                  <a:cubicBezTo>
                    <a:pt x="11744" y="119667"/>
                    <a:pt x="38479" y="119897"/>
                    <a:pt x="53690" y="114604"/>
                  </a:cubicBezTo>
                  <a:cubicBezTo>
                    <a:pt x="88952" y="102407"/>
                    <a:pt x="121910" y="85837"/>
                    <a:pt x="154867" y="68806"/>
                  </a:cubicBezTo>
                  <a:cubicBezTo>
                    <a:pt x="186212" y="52466"/>
                    <a:pt x="218247" y="37507"/>
                    <a:pt x="249592" y="21167"/>
                  </a:cubicBezTo>
                  <a:cubicBezTo>
                    <a:pt x="267569" y="11847"/>
                    <a:pt x="286712" y="1232"/>
                    <a:pt x="306925" y="9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168" name="文本框 167"/>
            <p:cNvSpPr txBox="1"/>
            <p:nvPr/>
          </p:nvSpPr>
          <p:spPr>
            <a:xfrm>
              <a:off x="7238" y="14657"/>
              <a:ext cx="2801" cy="993"/>
            </a:xfrm>
            <a:custGeom>
              <a:avLst/>
              <a:gdLst>
                <a:gd name="connsiteX0" fmla="*/ 413435 w 599763"/>
                <a:gd name="connsiteY0" fmla="*/ 242351 h 354892"/>
                <a:gd name="connsiteX1" fmla="*/ 421018 w 599763"/>
                <a:gd name="connsiteY1" fmla="*/ 246720 h 354892"/>
                <a:gd name="connsiteX2" fmla="*/ 419179 w 599763"/>
                <a:gd name="connsiteY2" fmla="*/ 273388 h 354892"/>
                <a:gd name="connsiteX3" fmla="*/ 413665 w 599763"/>
                <a:gd name="connsiteY3" fmla="*/ 301895 h 354892"/>
                <a:gd name="connsiteX4" fmla="*/ 404245 w 599763"/>
                <a:gd name="connsiteY4" fmla="*/ 299366 h 354892"/>
                <a:gd name="connsiteX5" fmla="*/ 405164 w 599763"/>
                <a:gd name="connsiteY5" fmla="*/ 263502 h 354892"/>
                <a:gd name="connsiteX6" fmla="*/ 413435 w 599763"/>
                <a:gd name="connsiteY6" fmla="*/ 242351 h 354892"/>
                <a:gd name="connsiteX7" fmla="*/ 107616 w 599763"/>
                <a:gd name="connsiteY7" fmla="*/ 239326 h 354892"/>
                <a:gd name="connsiteX8" fmla="*/ 118194 w 599763"/>
                <a:gd name="connsiteY8" fmla="*/ 239326 h 354892"/>
                <a:gd name="connsiteX9" fmla="*/ 120954 w 599763"/>
                <a:gd name="connsiteY9" fmla="*/ 264171 h 354892"/>
                <a:gd name="connsiteX10" fmla="*/ 119804 w 599763"/>
                <a:gd name="connsiteY10" fmla="*/ 289476 h 354892"/>
                <a:gd name="connsiteX11" fmla="*/ 106236 w 599763"/>
                <a:gd name="connsiteY11" fmla="*/ 289476 h 354892"/>
                <a:gd name="connsiteX12" fmla="*/ 105087 w 599763"/>
                <a:gd name="connsiteY12" fmla="*/ 260490 h 354892"/>
                <a:gd name="connsiteX13" fmla="*/ 107616 w 599763"/>
                <a:gd name="connsiteY13" fmla="*/ 239326 h 354892"/>
                <a:gd name="connsiteX14" fmla="*/ 489266 w 599763"/>
                <a:gd name="connsiteY14" fmla="*/ 239296 h 354892"/>
                <a:gd name="connsiteX15" fmla="*/ 489726 w 599763"/>
                <a:gd name="connsiteY15" fmla="*/ 239296 h 354892"/>
                <a:gd name="connsiteX16" fmla="*/ 489956 w 599763"/>
                <a:gd name="connsiteY16" fmla="*/ 239296 h 354892"/>
                <a:gd name="connsiteX17" fmla="*/ 494785 w 599763"/>
                <a:gd name="connsiteY17" fmla="*/ 241139 h 354892"/>
                <a:gd name="connsiteX18" fmla="*/ 497314 w 599763"/>
                <a:gd name="connsiteY18" fmla="*/ 262332 h 354892"/>
                <a:gd name="connsiteX19" fmla="*/ 495475 w 599763"/>
                <a:gd name="connsiteY19" fmla="*/ 289284 h 354892"/>
                <a:gd name="connsiteX20" fmla="*/ 483748 w 599763"/>
                <a:gd name="connsiteY20" fmla="*/ 289284 h 354892"/>
                <a:gd name="connsiteX21" fmla="*/ 481909 w 599763"/>
                <a:gd name="connsiteY21" fmla="*/ 262332 h 354892"/>
                <a:gd name="connsiteX22" fmla="*/ 484668 w 599763"/>
                <a:gd name="connsiteY22" fmla="*/ 241139 h 354892"/>
                <a:gd name="connsiteX23" fmla="*/ 489266 w 599763"/>
                <a:gd name="connsiteY23" fmla="*/ 239296 h 354892"/>
                <a:gd name="connsiteX24" fmla="*/ 180432 w 599763"/>
                <a:gd name="connsiteY24" fmla="*/ 237494 h 354892"/>
                <a:gd name="connsiteX25" fmla="*/ 190798 w 599763"/>
                <a:gd name="connsiteY25" fmla="*/ 237494 h 354892"/>
                <a:gd name="connsiteX26" fmla="*/ 192871 w 599763"/>
                <a:gd name="connsiteY26" fmla="*/ 264426 h 354892"/>
                <a:gd name="connsiteX27" fmla="*/ 192180 w 599763"/>
                <a:gd name="connsiteY27" fmla="*/ 290897 h 354892"/>
                <a:gd name="connsiteX28" fmla="*/ 182275 w 599763"/>
                <a:gd name="connsiteY28" fmla="*/ 292278 h 354892"/>
                <a:gd name="connsiteX29" fmla="*/ 177207 w 599763"/>
                <a:gd name="connsiteY29" fmla="*/ 264426 h 354892"/>
                <a:gd name="connsiteX30" fmla="*/ 180432 w 599763"/>
                <a:gd name="connsiteY30" fmla="*/ 237494 h 354892"/>
                <a:gd name="connsiteX31" fmla="*/ 491561 w 599763"/>
                <a:gd name="connsiteY31" fmla="*/ 162223 h 354892"/>
                <a:gd name="connsiteX32" fmla="*/ 497317 w 599763"/>
                <a:gd name="connsiteY32" fmla="*/ 169588 h 354892"/>
                <a:gd name="connsiteX33" fmla="*/ 497317 w 599763"/>
                <a:gd name="connsiteY33" fmla="*/ 172810 h 354892"/>
                <a:gd name="connsiteX34" fmla="*/ 496396 w 599763"/>
                <a:gd name="connsiteY34" fmla="*/ 177413 h 354892"/>
                <a:gd name="connsiteX35" fmla="*/ 495936 w 599763"/>
                <a:gd name="connsiteY35" fmla="*/ 190761 h 354892"/>
                <a:gd name="connsiteX36" fmla="*/ 495245 w 599763"/>
                <a:gd name="connsiteY36" fmla="*/ 216536 h 354892"/>
                <a:gd name="connsiteX37" fmla="*/ 483962 w 599763"/>
                <a:gd name="connsiteY37" fmla="*/ 216536 h 354892"/>
                <a:gd name="connsiteX38" fmla="*/ 480508 w 599763"/>
                <a:gd name="connsiteY38" fmla="*/ 181325 h 354892"/>
                <a:gd name="connsiteX39" fmla="*/ 491561 w 599763"/>
                <a:gd name="connsiteY39" fmla="*/ 162223 h 354892"/>
                <a:gd name="connsiteX40" fmla="*/ 107804 w 599763"/>
                <a:gd name="connsiteY40" fmla="*/ 161985 h 354892"/>
                <a:gd name="connsiteX41" fmla="*/ 118202 w 599763"/>
                <a:gd name="connsiteY41" fmla="*/ 161985 h 354892"/>
                <a:gd name="connsiteX42" fmla="*/ 121206 w 599763"/>
                <a:gd name="connsiteY42" fmla="*/ 185689 h 354892"/>
                <a:gd name="connsiteX43" fmla="*/ 121206 w 599763"/>
                <a:gd name="connsiteY43" fmla="*/ 210084 h 354892"/>
                <a:gd name="connsiteX44" fmla="*/ 107572 w 599763"/>
                <a:gd name="connsiteY44" fmla="*/ 211925 h 354892"/>
                <a:gd name="connsiteX45" fmla="*/ 105262 w 599763"/>
                <a:gd name="connsiteY45" fmla="*/ 185689 h 354892"/>
                <a:gd name="connsiteX46" fmla="*/ 107804 w 599763"/>
                <a:gd name="connsiteY46" fmla="*/ 161985 h 354892"/>
                <a:gd name="connsiteX47" fmla="*/ 186439 w 599763"/>
                <a:gd name="connsiteY47" fmla="*/ 161051 h 354892"/>
                <a:gd name="connsiteX48" fmla="*/ 197503 w 599763"/>
                <a:gd name="connsiteY48" fmla="*/ 162433 h 354892"/>
                <a:gd name="connsiteX49" fmla="*/ 197734 w 599763"/>
                <a:gd name="connsiteY49" fmla="*/ 186851 h 354892"/>
                <a:gd name="connsiteX50" fmla="*/ 197734 w 599763"/>
                <a:gd name="connsiteY50" fmla="*/ 213112 h 354892"/>
                <a:gd name="connsiteX51" fmla="*/ 185286 w 599763"/>
                <a:gd name="connsiteY51" fmla="*/ 214725 h 354892"/>
                <a:gd name="connsiteX52" fmla="*/ 182289 w 599763"/>
                <a:gd name="connsiteY52" fmla="*/ 184087 h 354892"/>
                <a:gd name="connsiteX53" fmla="*/ 186439 w 599763"/>
                <a:gd name="connsiteY53" fmla="*/ 161051 h 354892"/>
                <a:gd name="connsiteX54" fmla="*/ 270786 w 599763"/>
                <a:gd name="connsiteY54" fmla="*/ 160616 h 354892"/>
                <a:gd name="connsiteX55" fmla="*/ 276544 w 599763"/>
                <a:gd name="connsiteY55" fmla="*/ 162918 h 354892"/>
                <a:gd name="connsiteX56" fmla="*/ 278847 w 599763"/>
                <a:gd name="connsiteY56" fmla="*/ 170977 h 354892"/>
                <a:gd name="connsiteX57" fmla="*/ 274701 w 599763"/>
                <a:gd name="connsiteY57" fmla="*/ 215182 h 354892"/>
                <a:gd name="connsiteX58" fmla="*/ 261343 w 599763"/>
                <a:gd name="connsiteY58" fmla="*/ 215182 h 354892"/>
                <a:gd name="connsiteX59" fmla="*/ 262956 w 599763"/>
                <a:gd name="connsiteY59" fmla="*/ 166602 h 354892"/>
                <a:gd name="connsiteX60" fmla="*/ 270786 w 599763"/>
                <a:gd name="connsiteY60" fmla="*/ 160616 h 354892"/>
                <a:gd name="connsiteX61" fmla="*/ 416901 w 599763"/>
                <a:gd name="connsiteY61" fmla="*/ 160241 h 354892"/>
                <a:gd name="connsiteX62" fmla="*/ 425175 w 599763"/>
                <a:gd name="connsiteY62" fmla="*/ 168006 h 354892"/>
                <a:gd name="connsiteX63" fmla="*/ 420562 w 599763"/>
                <a:gd name="connsiteY63" fmla="*/ 216326 h 354892"/>
                <a:gd name="connsiteX64" fmla="*/ 408800 w 599763"/>
                <a:gd name="connsiteY64" fmla="*/ 213104 h 354892"/>
                <a:gd name="connsiteX65" fmla="*/ 408800 w 599763"/>
                <a:gd name="connsiteY65" fmla="*/ 168006 h 354892"/>
                <a:gd name="connsiteX66" fmla="*/ 416901 w 599763"/>
                <a:gd name="connsiteY66" fmla="*/ 160241 h 354892"/>
                <a:gd name="connsiteX67" fmla="*/ 346478 w 599763"/>
                <a:gd name="connsiteY67" fmla="*/ 159746 h 354892"/>
                <a:gd name="connsiteX68" fmla="*/ 353060 w 599763"/>
                <a:gd name="connsiteY68" fmla="*/ 163373 h 354892"/>
                <a:gd name="connsiteX69" fmla="*/ 353060 w 599763"/>
                <a:gd name="connsiteY69" fmla="*/ 186402 h 354892"/>
                <a:gd name="connsiteX70" fmla="*/ 350057 w 599763"/>
                <a:gd name="connsiteY70" fmla="*/ 213346 h 354892"/>
                <a:gd name="connsiteX71" fmla="*/ 334815 w 599763"/>
                <a:gd name="connsiteY71" fmla="*/ 211274 h 354892"/>
                <a:gd name="connsiteX72" fmla="*/ 337125 w 599763"/>
                <a:gd name="connsiteY72" fmla="*/ 184329 h 354892"/>
                <a:gd name="connsiteX73" fmla="*/ 339896 w 599763"/>
                <a:gd name="connsiteY73" fmla="*/ 163373 h 354892"/>
                <a:gd name="connsiteX74" fmla="*/ 346478 w 599763"/>
                <a:gd name="connsiteY74" fmla="*/ 159746 h 354892"/>
                <a:gd name="connsiteX75" fmla="*/ 541601 w 599763"/>
                <a:gd name="connsiteY75" fmla="*/ 132325 h 354892"/>
                <a:gd name="connsiteX76" fmla="*/ 508182 w 599763"/>
                <a:gd name="connsiteY76" fmla="*/ 132555 h 354892"/>
                <a:gd name="connsiteX77" fmla="*/ 380500 w 599763"/>
                <a:gd name="connsiteY77" fmla="*/ 136007 h 354892"/>
                <a:gd name="connsiteX78" fmla="*/ 256967 w 599763"/>
                <a:gd name="connsiteY78" fmla="*/ 136237 h 354892"/>
                <a:gd name="connsiteX79" fmla="*/ 129515 w 599763"/>
                <a:gd name="connsiteY79" fmla="*/ 139919 h 354892"/>
                <a:gd name="connsiteX80" fmla="*/ 67979 w 599763"/>
                <a:gd name="connsiteY80" fmla="*/ 142681 h 354892"/>
                <a:gd name="connsiteX81" fmla="*/ 83421 w 599763"/>
                <a:gd name="connsiteY81" fmla="*/ 333237 h 354892"/>
                <a:gd name="connsiteX82" fmla="*/ 266186 w 599763"/>
                <a:gd name="connsiteY82" fmla="*/ 335308 h 354892"/>
                <a:gd name="connsiteX83" fmla="*/ 260193 w 599763"/>
                <a:gd name="connsiteY83" fmla="*/ 297565 h 354892"/>
                <a:gd name="connsiteX84" fmla="*/ 258119 w 599763"/>
                <a:gd name="connsiteY84" fmla="*/ 244403 h 354892"/>
                <a:gd name="connsiteX85" fmla="*/ 265955 w 599763"/>
                <a:gd name="connsiteY85" fmla="*/ 236578 h 354892"/>
                <a:gd name="connsiteX86" fmla="*/ 338554 w 599763"/>
                <a:gd name="connsiteY86" fmla="*/ 232436 h 354892"/>
                <a:gd name="connsiteX87" fmla="*/ 346620 w 599763"/>
                <a:gd name="connsiteY87" fmla="*/ 240490 h 354892"/>
                <a:gd name="connsiteX88" fmla="*/ 347312 w 599763"/>
                <a:gd name="connsiteY88" fmla="*/ 303319 h 354892"/>
                <a:gd name="connsiteX89" fmla="*/ 346620 w 599763"/>
                <a:gd name="connsiteY89" fmla="*/ 333467 h 354892"/>
                <a:gd name="connsiteX90" fmla="*/ 542292 w 599763"/>
                <a:gd name="connsiteY90" fmla="*/ 330705 h 354892"/>
                <a:gd name="connsiteX91" fmla="*/ 540218 w 599763"/>
                <a:gd name="connsiteY91" fmla="*/ 219548 h 354892"/>
                <a:gd name="connsiteX92" fmla="*/ 539296 w 599763"/>
                <a:gd name="connsiteY92" fmla="*/ 177662 h 354892"/>
                <a:gd name="connsiteX93" fmla="*/ 536761 w 599763"/>
                <a:gd name="connsiteY93" fmla="*/ 146363 h 354892"/>
                <a:gd name="connsiteX94" fmla="*/ 541601 w 599763"/>
                <a:gd name="connsiteY94" fmla="*/ 132325 h 354892"/>
                <a:gd name="connsiteX95" fmla="*/ 312050 w 599763"/>
                <a:gd name="connsiteY95" fmla="*/ 16565 h 354892"/>
                <a:gd name="connsiteX96" fmla="*/ 220782 w 599763"/>
                <a:gd name="connsiteY96" fmla="*/ 54308 h 354892"/>
                <a:gd name="connsiteX97" fmla="*/ 141500 w 599763"/>
                <a:gd name="connsiteY97" fmla="*/ 94122 h 354892"/>
                <a:gd name="connsiteX98" fmla="*/ 74663 w 599763"/>
                <a:gd name="connsiteY98" fmla="*/ 124500 h 354892"/>
                <a:gd name="connsiteX99" fmla="*/ 147723 w 599763"/>
                <a:gd name="connsiteY99" fmla="*/ 122889 h 354892"/>
                <a:gd name="connsiteX100" fmla="*/ 275174 w 599763"/>
                <a:gd name="connsiteY100" fmla="*/ 119667 h 354892"/>
                <a:gd name="connsiteX101" fmla="*/ 393406 w 599763"/>
                <a:gd name="connsiteY101" fmla="*/ 119207 h 354892"/>
                <a:gd name="connsiteX102" fmla="*/ 530077 w 599763"/>
                <a:gd name="connsiteY102" fmla="*/ 115985 h 354892"/>
                <a:gd name="connsiteX103" fmla="*/ 576863 w 599763"/>
                <a:gd name="connsiteY103" fmla="*/ 115525 h 354892"/>
                <a:gd name="connsiteX104" fmla="*/ 537452 w 599763"/>
                <a:gd name="connsiteY104" fmla="*/ 100335 h 354892"/>
                <a:gd name="connsiteX105" fmla="*/ 489053 w 599763"/>
                <a:gd name="connsiteY105" fmla="*/ 84916 h 354892"/>
                <a:gd name="connsiteX106" fmla="*/ 400551 w 599763"/>
                <a:gd name="connsiteY106" fmla="*/ 49014 h 354892"/>
                <a:gd name="connsiteX107" fmla="*/ 352152 w 599763"/>
                <a:gd name="connsiteY107" fmla="*/ 28992 h 354892"/>
                <a:gd name="connsiteX108" fmla="*/ 312050 w 599763"/>
                <a:gd name="connsiteY108" fmla="*/ 16565 h 354892"/>
                <a:gd name="connsiteX109" fmla="*/ 306925 w 599763"/>
                <a:gd name="connsiteY109" fmla="*/ 99 h 354892"/>
                <a:gd name="connsiteX110" fmla="*/ 327491 w 599763"/>
                <a:gd name="connsiteY110" fmla="*/ 2526 h 354892"/>
                <a:gd name="connsiteX111" fmla="*/ 518323 w 599763"/>
                <a:gd name="connsiteY111" fmla="*/ 76861 h 354892"/>
                <a:gd name="connsiteX112" fmla="*/ 599680 w 599763"/>
                <a:gd name="connsiteY112" fmla="*/ 123119 h 354892"/>
                <a:gd name="connsiteX113" fmla="*/ 598297 w 599763"/>
                <a:gd name="connsiteY113" fmla="*/ 126801 h 354892"/>
                <a:gd name="connsiteX114" fmla="*/ 585621 w 599763"/>
                <a:gd name="connsiteY114" fmla="*/ 132325 h 354892"/>
                <a:gd name="connsiteX115" fmla="*/ 581703 w 599763"/>
                <a:gd name="connsiteY115" fmla="*/ 133936 h 354892"/>
                <a:gd name="connsiteX116" fmla="*/ 563495 w 599763"/>
                <a:gd name="connsiteY116" fmla="*/ 132785 h 354892"/>
                <a:gd name="connsiteX117" fmla="*/ 544597 w 599763"/>
                <a:gd name="connsiteY117" fmla="*/ 132325 h 354892"/>
                <a:gd name="connsiteX118" fmla="*/ 548515 w 599763"/>
                <a:gd name="connsiteY118" fmla="*/ 134856 h 354892"/>
                <a:gd name="connsiteX119" fmla="*/ 556581 w 599763"/>
                <a:gd name="connsiteY119" fmla="*/ 204589 h 354892"/>
                <a:gd name="connsiteX120" fmla="*/ 558655 w 599763"/>
                <a:gd name="connsiteY120" fmla="*/ 338530 h 354892"/>
                <a:gd name="connsiteX121" fmla="*/ 550589 w 599763"/>
                <a:gd name="connsiteY121" fmla="*/ 346815 h 354892"/>
                <a:gd name="connsiteX122" fmla="*/ 299374 w 599763"/>
                <a:gd name="connsiteY122" fmla="*/ 350727 h 354892"/>
                <a:gd name="connsiteX123" fmla="*/ 75815 w 599763"/>
                <a:gd name="connsiteY123" fmla="*/ 348656 h 354892"/>
                <a:gd name="connsiteX124" fmla="*/ 67518 w 599763"/>
                <a:gd name="connsiteY124" fmla="*/ 340371 h 354892"/>
                <a:gd name="connsiteX125" fmla="*/ 56225 w 599763"/>
                <a:gd name="connsiteY125" fmla="*/ 142911 h 354892"/>
                <a:gd name="connsiteX126" fmla="*/ 14049 w 599763"/>
                <a:gd name="connsiteY126" fmla="*/ 140840 h 354892"/>
                <a:gd name="connsiteX127" fmla="*/ 10592 w 599763"/>
                <a:gd name="connsiteY127" fmla="*/ 142681 h 354892"/>
                <a:gd name="connsiteX128" fmla="*/ 1142 w 599763"/>
                <a:gd name="connsiteY128" fmla="*/ 133245 h 354892"/>
                <a:gd name="connsiteX129" fmla="*/ 53690 w 599763"/>
                <a:gd name="connsiteY129" fmla="*/ 114604 h 354892"/>
                <a:gd name="connsiteX130" fmla="*/ 154867 w 599763"/>
                <a:gd name="connsiteY130" fmla="*/ 68806 h 354892"/>
                <a:gd name="connsiteX131" fmla="*/ 249592 w 599763"/>
                <a:gd name="connsiteY131" fmla="*/ 21167 h 354892"/>
                <a:gd name="connsiteX132" fmla="*/ 306925 w 599763"/>
                <a:gd name="connsiteY132" fmla="*/ 99 h 3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9763" h="354892">
                  <a:moveTo>
                    <a:pt x="413435" y="242351"/>
                  </a:moveTo>
                  <a:cubicBezTo>
                    <a:pt x="416422" y="241202"/>
                    <a:pt x="420328" y="243731"/>
                    <a:pt x="421018" y="246720"/>
                  </a:cubicBezTo>
                  <a:cubicBezTo>
                    <a:pt x="422856" y="254766"/>
                    <a:pt x="419869" y="265341"/>
                    <a:pt x="419179" y="273388"/>
                  </a:cubicBezTo>
                  <a:cubicBezTo>
                    <a:pt x="418490" y="283043"/>
                    <a:pt x="417801" y="293159"/>
                    <a:pt x="413665" y="301895"/>
                  </a:cubicBezTo>
                  <a:cubicBezTo>
                    <a:pt x="411367" y="306263"/>
                    <a:pt x="404015" y="304194"/>
                    <a:pt x="404245" y="299366"/>
                  </a:cubicBezTo>
                  <a:cubicBezTo>
                    <a:pt x="404704" y="287411"/>
                    <a:pt x="404704" y="275457"/>
                    <a:pt x="405164" y="263502"/>
                  </a:cubicBezTo>
                  <a:cubicBezTo>
                    <a:pt x="405393" y="255456"/>
                    <a:pt x="404704" y="245800"/>
                    <a:pt x="413435" y="242351"/>
                  </a:cubicBezTo>
                  <a:close/>
                  <a:moveTo>
                    <a:pt x="107616" y="239326"/>
                  </a:moveTo>
                  <a:cubicBezTo>
                    <a:pt x="110376" y="235415"/>
                    <a:pt x="115665" y="235415"/>
                    <a:pt x="118194" y="239326"/>
                  </a:cubicBezTo>
                  <a:cubicBezTo>
                    <a:pt x="123024" y="246457"/>
                    <a:pt x="120954" y="255889"/>
                    <a:pt x="120954" y="264171"/>
                  </a:cubicBezTo>
                  <a:cubicBezTo>
                    <a:pt x="120724" y="272683"/>
                    <a:pt x="120724" y="281194"/>
                    <a:pt x="119804" y="289476"/>
                  </a:cubicBezTo>
                  <a:cubicBezTo>
                    <a:pt x="118884" y="298218"/>
                    <a:pt x="107156" y="298218"/>
                    <a:pt x="106236" y="289476"/>
                  </a:cubicBezTo>
                  <a:cubicBezTo>
                    <a:pt x="105087" y="279814"/>
                    <a:pt x="105087" y="270152"/>
                    <a:pt x="105087" y="260490"/>
                  </a:cubicBezTo>
                  <a:cubicBezTo>
                    <a:pt x="104857" y="253129"/>
                    <a:pt x="103477" y="245767"/>
                    <a:pt x="107616" y="239326"/>
                  </a:cubicBezTo>
                  <a:close/>
                  <a:moveTo>
                    <a:pt x="489266" y="239296"/>
                  </a:moveTo>
                  <a:cubicBezTo>
                    <a:pt x="489496" y="239296"/>
                    <a:pt x="489496" y="239296"/>
                    <a:pt x="489726" y="239296"/>
                  </a:cubicBezTo>
                  <a:cubicBezTo>
                    <a:pt x="489726" y="239296"/>
                    <a:pt x="489956" y="239296"/>
                    <a:pt x="489956" y="239296"/>
                  </a:cubicBezTo>
                  <a:cubicBezTo>
                    <a:pt x="491566" y="239296"/>
                    <a:pt x="493175" y="239757"/>
                    <a:pt x="494785" y="241139"/>
                  </a:cubicBezTo>
                  <a:cubicBezTo>
                    <a:pt x="499843" y="245746"/>
                    <a:pt x="497544" y="256343"/>
                    <a:pt x="497314" y="262332"/>
                  </a:cubicBezTo>
                  <a:cubicBezTo>
                    <a:pt x="497084" y="270395"/>
                    <a:pt x="498694" y="281682"/>
                    <a:pt x="495475" y="289284"/>
                  </a:cubicBezTo>
                  <a:cubicBezTo>
                    <a:pt x="493175" y="295043"/>
                    <a:pt x="486277" y="295043"/>
                    <a:pt x="483748" y="289284"/>
                  </a:cubicBezTo>
                  <a:cubicBezTo>
                    <a:pt x="480529" y="281682"/>
                    <a:pt x="482138" y="270395"/>
                    <a:pt x="481909" y="262332"/>
                  </a:cubicBezTo>
                  <a:cubicBezTo>
                    <a:pt x="481909" y="256343"/>
                    <a:pt x="479379" y="245746"/>
                    <a:pt x="484668" y="241139"/>
                  </a:cubicBezTo>
                  <a:cubicBezTo>
                    <a:pt x="486047" y="239757"/>
                    <a:pt x="487657" y="239296"/>
                    <a:pt x="489266" y="239296"/>
                  </a:cubicBezTo>
                  <a:close/>
                  <a:moveTo>
                    <a:pt x="180432" y="237494"/>
                  </a:moveTo>
                  <a:cubicBezTo>
                    <a:pt x="182736" y="233811"/>
                    <a:pt x="188495" y="233581"/>
                    <a:pt x="190798" y="237494"/>
                  </a:cubicBezTo>
                  <a:cubicBezTo>
                    <a:pt x="195636" y="245551"/>
                    <a:pt x="193102" y="255449"/>
                    <a:pt x="192871" y="264426"/>
                  </a:cubicBezTo>
                  <a:cubicBezTo>
                    <a:pt x="192641" y="273173"/>
                    <a:pt x="193793" y="282380"/>
                    <a:pt x="192180" y="290897"/>
                  </a:cubicBezTo>
                  <a:cubicBezTo>
                    <a:pt x="191489" y="295961"/>
                    <a:pt x="184579" y="295731"/>
                    <a:pt x="182275" y="292278"/>
                  </a:cubicBezTo>
                  <a:cubicBezTo>
                    <a:pt x="176977" y="284682"/>
                    <a:pt x="177207" y="273173"/>
                    <a:pt x="177207" y="264426"/>
                  </a:cubicBezTo>
                  <a:cubicBezTo>
                    <a:pt x="177207" y="255679"/>
                    <a:pt x="175595" y="245320"/>
                    <a:pt x="180432" y="237494"/>
                  </a:cubicBezTo>
                  <a:close/>
                  <a:moveTo>
                    <a:pt x="491561" y="162223"/>
                  </a:moveTo>
                  <a:cubicBezTo>
                    <a:pt x="495706" y="161533"/>
                    <a:pt x="498008" y="166366"/>
                    <a:pt x="497317" y="169588"/>
                  </a:cubicBezTo>
                  <a:cubicBezTo>
                    <a:pt x="498008" y="166366"/>
                    <a:pt x="497317" y="172810"/>
                    <a:pt x="497317" y="172810"/>
                  </a:cubicBezTo>
                  <a:cubicBezTo>
                    <a:pt x="497087" y="174421"/>
                    <a:pt x="496627" y="175802"/>
                    <a:pt x="496396" y="177413"/>
                  </a:cubicBezTo>
                  <a:cubicBezTo>
                    <a:pt x="495936" y="181785"/>
                    <a:pt x="495936" y="186388"/>
                    <a:pt x="495936" y="190761"/>
                  </a:cubicBezTo>
                  <a:cubicBezTo>
                    <a:pt x="495936" y="199506"/>
                    <a:pt x="496627" y="208251"/>
                    <a:pt x="495245" y="216536"/>
                  </a:cubicBezTo>
                  <a:cubicBezTo>
                    <a:pt x="494324" y="222290"/>
                    <a:pt x="485114" y="222060"/>
                    <a:pt x="483962" y="216536"/>
                  </a:cubicBezTo>
                  <a:cubicBezTo>
                    <a:pt x="481890" y="205260"/>
                    <a:pt x="480739" y="192832"/>
                    <a:pt x="480508" y="181325"/>
                  </a:cubicBezTo>
                  <a:cubicBezTo>
                    <a:pt x="480508" y="172580"/>
                    <a:pt x="481429" y="163374"/>
                    <a:pt x="491561" y="162223"/>
                  </a:cubicBezTo>
                  <a:close/>
                  <a:moveTo>
                    <a:pt x="107804" y="161985"/>
                  </a:moveTo>
                  <a:cubicBezTo>
                    <a:pt x="110576" y="158993"/>
                    <a:pt x="115429" y="159223"/>
                    <a:pt x="118202" y="161985"/>
                  </a:cubicBezTo>
                  <a:cubicBezTo>
                    <a:pt x="123517" y="167278"/>
                    <a:pt x="121206" y="178785"/>
                    <a:pt x="121206" y="185689"/>
                  </a:cubicBezTo>
                  <a:cubicBezTo>
                    <a:pt x="121206" y="193744"/>
                    <a:pt x="121668" y="202029"/>
                    <a:pt x="121206" y="210084"/>
                  </a:cubicBezTo>
                  <a:cubicBezTo>
                    <a:pt x="120975" y="217909"/>
                    <a:pt x="109883" y="219750"/>
                    <a:pt x="107572" y="211925"/>
                  </a:cubicBezTo>
                  <a:cubicBezTo>
                    <a:pt x="105031" y="203640"/>
                    <a:pt x="105493" y="194204"/>
                    <a:pt x="105262" y="185689"/>
                  </a:cubicBezTo>
                  <a:cubicBezTo>
                    <a:pt x="105031" y="178785"/>
                    <a:pt x="102489" y="167278"/>
                    <a:pt x="107804" y="161985"/>
                  </a:cubicBezTo>
                  <a:close/>
                  <a:moveTo>
                    <a:pt x="186439" y="161051"/>
                  </a:moveTo>
                  <a:cubicBezTo>
                    <a:pt x="190127" y="158287"/>
                    <a:pt x="194967" y="158287"/>
                    <a:pt x="197503" y="162433"/>
                  </a:cubicBezTo>
                  <a:cubicBezTo>
                    <a:pt x="201422" y="168653"/>
                    <a:pt x="198195" y="179710"/>
                    <a:pt x="197734" y="186851"/>
                  </a:cubicBezTo>
                  <a:cubicBezTo>
                    <a:pt x="197503" y="195605"/>
                    <a:pt x="197734" y="204359"/>
                    <a:pt x="197734" y="213112"/>
                  </a:cubicBezTo>
                  <a:cubicBezTo>
                    <a:pt x="197964" y="220253"/>
                    <a:pt x="187130" y="221866"/>
                    <a:pt x="185286" y="214725"/>
                  </a:cubicBezTo>
                  <a:cubicBezTo>
                    <a:pt x="182750" y="205050"/>
                    <a:pt x="182289" y="194223"/>
                    <a:pt x="182289" y="184087"/>
                  </a:cubicBezTo>
                  <a:cubicBezTo>
                    <a:pt x="182289" y="177407"/>
                    <a:pt x="180676" y="165889"/>
                    <a:pt x="186439" y="161051"/>
                  </a:cubicBezTo>
                  <a:close/>
                  <a:moveTo>
                    <a:pt x="270786" y="160616"/>
                  </a:moveTo>
                  <a:cubicBezTo>
                    <a:pt x="273319" y="160616"/>
                    <a:pt x="274932" y="161307"/>
                    <a:pt x="276544" y="162918"/>
                  </a:cubicBezTo>
                  <a:cubicBezTo>
                    <a:pt x="278617" y="164760"/>
                    <a:pt x="279538" y="168214"/>
                    <a:pt x="278847" y="170977"/>
                  </a:cubicBezTo>
                  <a:cubicBezTo>
                    <a:pt x="274010" y="185251"/>
                    <a:pt x="275853" y="200217"/>
                    <a:pt x="274701" y="215182"/>
                  </a:cubicBezTo>
                  <a:cubicBezTo>
                    <a:pt x="274010" y="223701"/>
                    <a:pt x="262034" y="223701"/>
                    <a:pt x="261343" y="215182"/>
                  </a:cubicBezTo>
                  <a:cubicBezTo>
                    <a:pt x="259731" y="199066"/>
                    <a:pt x="258580" y="182258"/>
                    <a:pt x="262956" y="166602"/>
                  </a:cubicBezTo>
                  <a:cubicBezTo>
                    <a:pt x="264107" y="163149"/>
                    <a:pt x="267331" y="160616"/>
                    <a:pt x="270786" y="160616"/>
                  </a:cubicBezTo>
                  <a:close/>
                  <a:moveTo>
                    <a:pt x="416901" y="160241"/>
                  </a:moveTo>
                  <a:cubicBezTo>
                    <a:pt x="421023" y="160241"/>
                    <a:pt x="425175" y="162829"/>
                    <a:pt x="425175" y="168006"/>
                  </a:cubicBezTo>
                  <a:cubicBezTo>
                    <a:pt x="425175" y="184113"/>
                    <a:pt x="427020" y="201370"/>
                    <a:pt x="420562" y="216326"/>
                  </a:cubicBezTo>
                  <a:cubicBezTo>
                    <a:pt x="418025" y="222078"/>
                    <a:pt x="408108" y="219317"/>
                    <a:pt x="408800" y="213104"/>
                  </a:cubicBezTo>
                  <a:cubicBezTo>
                    <a:pt x="410183" y="197918"/>
                    <a:pt x="409261" y="183192"/>
                    <a:pt x="408800" y="168006"/>
                  </a:cubicBezTo>
                  <a:cubicBezTo>
                    <a:pt x="408685" y="162829"/>
                    <a:pt x="412778" y="160241"/>
                    <a:pt x="416901" y="160241"/>
                  </a:cubicBezTo>
                  <a:close/>
                  <a:moveTo>
                    <a:pt x="346478" y="159746"/>
                  </a:moveTo>
                  <a:cubicBezTo>
                    <a:pt x="348961" y="159631"/>
                    <a:pt x="351443" y="160725"/>
                    <a:pt x="353060" y="163373"/>
                  </a:cubicBezTo>
                  <a:cubicBezTo>
                    <a:pt x="356524" y="169360"/>
                    <a:pt x="353752" y="179954"/>
                    <a:pt x="353060" y="186402"/>
                  </a:cubicBezTo>
                  <a:cubicBezTo>
                    <a:pt x="352367" y="195383"/>
                    <a:pt x="351674" y="204365"/>
                    <a:pt x="350057" y="213346"/>
                  </a:cubicBezTo>
                  <a:cubicBezTo>
                    <a:pt x="348441" y="221867"/>
                    <a:pt x="333661" y="219794"/>
                    <a:pt x="334815" y="211274"/>
                  </a:cubicBezTo>
                  <a:cubicBezTo>
                    <a:pt x="335970" y="202292"/>
                    <a:pt x="336432" y="193311"/>
                    <a:pt x="337125" y="184329"/>
                  </a:cubicBezTo>
                  <a:cubicBezTo>
                    <a:pt x="337356" y="178572"/>
                    <a:pt x="336201" y="167979"/>
                    <a:pt x="339896" y="163373"/>
                  </a:cubicBezTo>
                  <a:cubicBezTo>
                    <a:pt x="341513" y="161185"/>
                    <a:pt x="343995" y="159861"/>
                    <a:pt x="346478" y="159746"/>
                  </a:cubicBezTo>
                  <a:close/>
                  <a:moveTo>
                    <a:pt x="541601" y="132325"/>
                  </a:moveTo>
                  <a:cubicBezTo>
                    <a:pt x="530307" y="132325"/>
                    <a:pt x="519245" y="132325"/>
                    <a:pt x="508182" y="132555"/>
                  </a:cubicBezTo>
                  <a:cubicBezTo>
                    <a:pt x="465544" y="133245"/>
                    <a:pt x="423137" y="134856"/>
                    <a:pt x="380500" y="136007"/>
                  </a:cubicBezTo>
                  <a:cubicBezTo>
                    <a:pt x="339245" y="137388"/>
                    <a:pt x="298221" y="135777"/>
                    <a:pt x="256967" y="136237"/>
                  </a:cubicBezTo>
                  <a:cubicBezTo>
                    <a:pt x="214560" y="136697"/>
                    <a:pt x="172153" y="138308"/>
                    <a:pt x="129515" y="139919"/>
                  </a:cubicBezTo>
                  <a:cubicBezTo>
                    <a:pt x="109234" y="140840"/>
                    <a:pt x="88722" y="142221"/>
                    <a:pt x="67979" y="142681"/>
                  </a:cubicBezTo>
                  <a:cubicBezTo>
                    <a:pt x="71667" y="206200"/>
                    <a:pt x="79272" y="269718"/>
                    <a:pt x="83421" y="333237"/>
                  </a:cubicBezTo>
                  <a:cubicBezTo>
                    <a:pt x="144496" y="340831"/>
                    <a:pt x="205341" y="337609"/>
                    <a:pt x="266186" y="335308"/>
                  </a:cubicBezTo>
                  <a:cubicBezTo>
                    <a:pt x="259271" y="327253"/>
                    <a:pt x="260654" y="306080"/>
                    <a:pt x="260193" y="297565"/>
                  </a:cubicBezTo>
                  <a:cubicBezTo>
                    <a:pt x="258810" y="279844"/>
                    <a:pt x="258119" y="262124"/>
                    <a:pt x="258119" y="244403"/>
                  </a:cubicBezTo>
                  <a:cubicBezTo>
                    <a:pt x="257889" y="239800"/>
                    <a:pt x="261807" y="236808"/>
                    <a:pt x="265955" y="236578"/>
                  </a:cubicBezTo>
                  <a:cubicBezTo>
                    <a:pt x="290155" y="234507"/>
                    <a:pt x="314354" y="232666"/>
                    <a:pt x="338554" y="232436"/>
                  </a:cubicBezTo>
                  <a:cubicBezTo>
                    <a:pt x="342933" y="232436"/>
                    <a:pt x="346620" y="236118"/>
                    <a:pt x="346620" y="240490"/>
                  </a:cubicBezTo>
                  <a:cubicBezTo>
                    <a:pt x="346851" y="261433"/>
                    <a:pt x="347542" y="282376"/>
                    <a:pt x="347312" y="303319"/>
                  </a:cubicBezTo>
                  <a:cubicBezTo>
                    <a:pt x="347081" y="312294"/>
                    <a:pt x="348003" y="323571"/>
                    <a:pt x="346620" y="333467"/>
                  </a:cubicBezTo>
                  <a:cubicBezTo>
                    <a:pt x="411844" y="332776"/>
                    <a:pt x="477068" y="333237"/>
                    <a:pt x="542292" y="330705"/>
                  </a:cubicBezTo>
                  <a:cubicBezTo>
                    <a:pt x="542061" y="293653"/>
                    <a:pt x="540448" y="256600"/>
                    <a:pt x="540218" y="219548"/>
                  </a:cubicBezTo>
                  <a:cubicBezTo>
                    <a:pt x="540218" y="205739"/>
                    <a:pt x="539987" y="191701"/>
                    <a:pt x="539296" y="177662"/>
                  </a:cubicBezTo>
                  <a:cubicBezTo>
                    <a:pt x="539065" y="171449"/>
                    <a:pt x="540909" y="151426"/>
                    <a:pt x="536761" y="146363"/>
                  </a:cubicBezTo>
                  <a:cubicBezTo>
                    <a:pt x="532151" y="140840"/>
                    <a:pt x="536300" y="133476"/>
                    <a:pt x="541601" y="132325"/>
                  </a:cubicBezTo>
                  <a:close/>
                  <a:moveTo>
                    <a:pt x="312050" y="16565"/>
                  </a:moveTo>
                  <a:cubicBezTo>
                    <a:pt x="279322" y="16795"/>
                    <a:pt x="249822" y="41420"/>
                    <a:pt x="220782" y="54308"/>
                  </a:cubicBezTo>
                  <a:cubicBezTo>
                    <a:pt x="193817" y="66275"/>
                    <a:pt x="168004" y="81004"/>
                    <a:pt x="141500" y="94122"/>
                  </a:cubicBezTo>
                  <a:cubicBezTo>
                    <a:pt x="119836" y="105168"/>
                    <a:pt x="97710" y="115985"/>
                    <a:pt x="74663" y="124500"/>
                  </a:cubicBezTo>
                  <a:cubicBezTo>
                    <a:pt x="99093" y="123810"/>
                    <a:pt x="123754" y="123810"/>
                    <a:pt x="147723" y="122889"/>
                  </a:cubicBezTo>
                  <a:cubicBezTo>
                    <a:pt x="190130" y="121278"/>
                    <a:pt x="232767" y="119437"/>
                    <a:pt x="275174" y="119667"/>
                  </a:cubicBezTo>
                  <a:cubicBezTo>
                    <a:pt x="314815" y="119897"/>
                    <a:pt x="353765" y="120588"/>
                    <a:pt x="393406" y="119207"/>
                  </a:cubicBezTo>
                  <a:cubicBezTo>
                    <a:pt x="439040" y="117826"/>
                    <a:pt x="484443" y="115985"/>
                    <a:pt x="530077" y="115985"/>
                  </a:cubicBezTo>
                  <a:cubicBezTo>
                    <a:pt x="539526" y="115985"/>
                    <a:pt x="560499" y="113223"/>
                    <a:pt x="576863" y="115525"/>
                  </a:cubicBezTo>
                  <a:cubicBezTo>
                    <a:pt x="565339" y="108390"/>
                    <a:pt x="542292" y="101946"/>
                    <a:pt x="537452" y="100335"/>
                  </a:cubicBezTo>
                  <a:cubicBezTo>
                    <a:pt x="521319" y="95042"/>
                    <a:pt x="504955" y="90900"/>
                    <a:pt x="489053" y="84916"/>
                  </a:cubicBezTo>
                  <a:cubicBezTo>
                    <a:pt x="459321" y="73639"/>
                    <a:pt x="430051" y="61442"/>
                    <a:pt x="400551" y="49014"/>
                  </a:cubicBezTo>
                  <a:cubicBezTo>
                    <a:pt x="384418" y="42340"/>
                    <a:pt x="368515" y="35436"/>
                    <a:pt x="352152" y="28992"/>
                  </a:cubicBezTo>
                  <a:cubicBezTo>
                    <a:pt x="339937" y="24389"/>
                    <a:pt x="325417" y="16335"/>
                    <a:pt x="312050" y="16565"/>
                  </a:cubicBezTo>
                  <a:close/>
                  <a:moveTo>
                    <a:pt x="306925" y="99"/>
                  </a:moveTo>
                  <a:cubicBezTo>
                    <a:pt x="313663" y="-279"/>
                    <a:pt x="320519" y="397"/>
                    <a:pt x="327491" y="2526"/>
                  </a:cubicBezTo>
                  <a:cubicBezTo>
                    <a:pt x="392715" y="22778"/>
                    <a:pt x="452868" y="56839"/>
                    <a:pt x="518323" y="76861"/>
                  </a:cubicBezTo>
                  <a:cubicBezTo>
                    <a:pt x="535839" y="82385"/>
                    <a:pt x="602445" y="95963"/>
                    <a:pt x="599680" y="123119"/>
                  </a:cubicBezTo>
                  <a:cubicBezTo>
                    <a:pt x="599449" y="124500"/>
                    <a:pt x="598988" y="125651"/>
                    <a:pt x="598297" y="126801"/>
                  </a:cubicBezTo>
                  <a:cubicBezTo>
                    <a:pt x="601062" y="133936"/>
                    <a:pt x="590000" y="139689"/>
                    <a:pt x="585621" y="132325"/>
                  </a:cubicBezTo>
                  <a:cubicBezTo>
                    <a:pt x="588386" y="137158"/>
                    <a:pt x="588617" y="134856"/>
                    <a:pt x="581703" y="133936"/>
                  </a:cubicBezTo>
                  <a:cubicBezTo>
                    <a:pt x="575480" y="133245"/>
                    <a:pt x="569488" y="133015"/>
                    <a:pt x="563495" y="132785"/>
                  </a:cubicBezTo>
                  <a:cubicBezTo>
                    <a:pt x="557042" y="132555"/>
                    <a:pt x="550819" y="132325"/>
                    <a:pt x="544597" y="132325"/>
                  </a:cubicBezTo>
                  <a:cubicBezTo>
                    <a:pt x="545979" y="132785"/>
                    <a:pt x="547362" y="133476"/>
                    <a:pt x="548515" y="134856"/>
                  </a:cubicBezTo>
                  <a:cubicBezTo>
                    <a:pt x="561191" y="150046"/>
                    <a:pt x="556351" y="186177"/>
                    <a:pt x="556581" y="204589"/>
                  </a:cubicBezTo>
                  <a:cubicBezTo>
                    <a:pt x="557042" y="249236"/>
                    <a:pt x="558655" y="293883"/>
                    <a:pt x="558655" y="338530"/>
                  </a:cubicBezTo>
                  <a:cubicBezTo>
                    <a:pt x="558655" y="343133"/>
                    <a:pt x="554968" y="346585"/>
                    <a:pt x="550589" y="346815"/>
                  </a:cubicBezTo>
                  <a:cubicBezTo>
                    <a:pt x="466927" y="350497"/>
                    <a:pt x="382805" y="346124"/>
                    <a:pt x="299374" y="350727"/>
                  </a:cubicBezTo>
                  <a:cubicBezTo>
                    <a:pt x="224931" y="354640"/>
                    <a:pt x="149797" y="358552"/>
                    <a:pt x="75815" y="348656"/>
                  </a:cubicBezTo>
                  <a:cubicBezTo>
                    <a:pt x="70975" y="347966"/>
                    <a:pt x="67749" y="345434"/>
                    <a:pt x="67518" y="340371"/>
                  </a:cubicBezTo>
                  <a:cubicBezTo>
                    <a:pt x="63370" y="274551"/>
                    <a:pt x="54612" y="208961"/>
                    <a:pt x="56225" y="142911"/>
                  </a:cubicBezTo>
                  <a:cubicBezTo>
                    <a:pt x="42166" y="142911"/>
                    <a:pt x="27877" y="142451"/>
                    <a:pt x="14049" y="140840"/>
                  </a:cubicBezTo>
                  <a:cubicBezTo>
                    <a:pt x="12896" y="141530"/>
                    <a:pt x="11514" y="141991"/>
                    <a:pt x="10592" y="142681"/>
                  </a:cubicBezTo>
                  <a:cubicBezTo>
                    <a:pt x="5060" y="145903"/>
                    <a:pt x="-3006" y="138999"/>
                    <a:pt x="1142" y="133245"/>
                  </a:cubicBezTo>
                  <a:cubicBezTo>
                    <a:pt x="11744" y="119667"/>
                    <a:pt x="38479" y="119897"/>
                    <a:pt x="53690" y="114604"/>
                  </a:cubicBezTo>
                  <a:cubicBezTo>
                    <a:pt x="88952" y="102407"/>
                    <a:pt x="121910" y="85837"/>
                    <a:pt x="154867" y="68806"/>
                  </a:cubicBezTo>
                  <a:cubicBezTo>
                    <a:pt x="186212" y="52466"/>
                    <a:pt x="218247" y="37507"/>
                    <a:pt x="249592" y="21167"/>
                  </a:cubicBezTo>
                  <a:cubicBezTo>
                    <a:pt x="267569" y="11847"/>
                    <a:pt x="286712" y="1232"/>
                    <a:pt x="306925" y="99"/>
                  </a:cubicBezTo>
                  <a:close/>
                </a:path>
              </a:pathLst>
            </a:custGeom>
            <a:noFill/>
          </p:spPr>
          <p:txBody>
            <a:bodyPr wrap="square" rtlCol="0" anchor="t">
              <a:spAutoFit/>
            </a:bodyPr>
            <a:p>
              <a:r>
                <a:rPr lang="zh-CN" altLang="en-US" sz="14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职业机构</a:t>
              </a:r>
              <a:endParaRPr lang="zh-CN" altLang="en-US" sz="14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1079500" y="2445385"/>
            <a:ext cx="11889740" cy="9965055"/>
            <a:chOff x="692" y="2987"/>
            <a:chExt cx="18724" cy="15693"/>
          </a:xfrm>
        </p:grpSpPr>
        <p:sp>
          <p:nvSpPr>
            <p:cNvPr id="16" name="矩形 15"/>
            <p:cNvSpPr/>
            <p:nvPr/>
          </p:nvSpPr>
          <p:spPr>
            <a:xfrm>
              <a:off x="692" y="8304"/>
              <a:ext cx="768" cy="3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/>
                <a:t>机构用户</a:t>
              </a:r>
              <a:endParaRPr lang="zh-CN" altLang="en-US"/>
            </a:p>
          </p:txBody>
        </p:sp>
        <p:sp>
          <p:nvSpPr>
            <p:cNvPr id="117" name="圆角矩形 116"/>
            <p:cNvSpPr/>
            <p:nvPr/>
          </p:nvSpPr>
          <p:spPr>
            <a:xfrm>
              <a:off x="3453" y="2987"/>
              <a:ext cx="15963" cy="14631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prstDash val="dashDot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3984" y="4952"/>
              <a:ext cx="14215" cy="10871"/>
              <a:chOff x="20788" y="3386"/>
              <a:chExt cx="14215" cy="10871"/>
            </a:xfrm>
          </p:grpSpPr>
          <p:sp>
            <p:nvSpPr>
              <p:cNvPr id="120" name="矩形 119"/>
              <p:cNvSpPr/>
              <p:nvPr/>
            </p:nvSpPr>
            <p:spPr>
              <a:xfrm>
                <a:off x="22384" y="13058"/>
                <a:ext cx="11709" cy="119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r>
                  <a:rPr lang="zh-CN" altLang="en-US" sz="2800"/>
                  <a:t>互认联盟</a:t>
                </a:r>
                <a:endParaRPr lang="zh-CN" altLang="en-US" sz="2800"/>
              </a:p>
            </p:txBody>
          </p:sp>
          <p:grpSp>
            <p:nvGrpSpPr>
              <p:cNvPr id="121" name="组合 120"/>
              <p:cNvGrpSpPr/>
              <p:nvPr/>
            </p:nvGrpSpPr>
            <p:grpSpPr>
              <a:xfrm rot="0">
                <a:off x="27004" y="10597"/>
                <a:ext cx="1964" cy="1844"/>
                <a:chOff x="7480" y="13715"/>
                <a:chExt cx="1964" cy="1844"/>
              </a:xfrm>
            </p:grpSpPr>
            <p:sp>
              <p:nvSpPr>
                <p:cNvPr id="122" name="school-house_46361"/>
                <p:cNvSpPr>
                  <a:spLocks noChangeAspect="1"/>
                </p:cNvSpPr>
                <p:nvPr/>
              </p:nvSpPr>
              <p:spPr bwMode="auto">
                <a:xfrm>
                  <a:off x="7666" y="13715"/>
                  <a:ext cx="1778" cy="1106"/>
                </a:xfrm>
                <a:custGeom>
                  <a:avLst/>
                  <a:gdLst>
                    <a:gd name="connsiteX0" fmla="*/ 489851 w 574179"/>
                    <a:gd name="connsiteY0" fmla="*/ 262305 h 356903"/>
                    <a:gd name="connsiteX1" fmla="*/ 489851 w 574179"/>
                    <a:gd name="connsiteY1" fmla="*/ 284665 h 356903"/>
                    <a:gd name="connsiteX2" fmla="*/ 513084 w 574179"/>
                    <a:gd name="connsiteY2" fmla="*/ 284665 h 356903"/>
                    <a:gd name="connsiteX3" fmla="*/ 513084 w 574179"/>
                    <a:gd name="connsiteY3" fmla="*/ 262305 h 356903"/>
                    <a:gd name="connsiteX4" fmla="*/ 449408 w 574179"/>
                    <a:gd name="connsiteY4" fmla="*/ 262305 h 356903"/>
                    <a:gd name="connsiteX5" fmla="*/ 449408 w 574179"/>
                    <a:gd name="connsiteY5" fmla="*/ 284665 h 356903"/>
                    <a:gd name="connsiteX6" fmla="*/ 472641 w 574179"/>
                    <a:gd name="connsiteY6" fmla="*/ 284665 h 356903"/>
                    <a:gd name="connsiteX7" fmla="*/ 472641 w 574179"/>
                    <a:gd name="connsiteY7" fmla="*/ 262305 h 356903"/>
                    <a:gd name="connsiteX8" fmla="*/ 101538 w 574179"/>
                    <a:gd name="connsiteY8" fmla="*/ 262305 h 356903"/>
                    <a:gd name="connsiteX9" fmla="*/ 101538 w 574179"/>
                    <a:gd name="connsiteY9" fmla="*/ 284665 h 356903"/>
                    <a:gd name="connsiteX10" fmla="*/ 124771 w 574179"/>
                    <a:gd name="connsiteY10" fmla="*/ 284665 h 356903"/>
                    <a:gd name="connsiteX11" fmla="*/ 124771 w 574179"/>
                    <a:gd name="connsiteY11" fmla="*/ 262305 h 356903"/>
                    <a:gd name="connsiteX12" fmla="*/ 61095 w 574179"/>
                    <a:gd name="connsiteY12" fmla="*/ 262305 h 356903"/>
                    <a:gd name="connsiteX13" fmla="*/ 61095 w 574179"/>
                    <a:gd name="connsiteY13" fmla="*/ 284665 h 356903"/>
                    <a:gd name="connsiteX14" fmla="*/ 84328 w 574179"/>
                    <a:gd name="connsiteY14" fmla="*/ 284665 h 356903"/>
                    <a:gd name="connsiteX15" fmla="*/ 84328 w 574179"/>
                    <a:gd name="connsiteY15" fmla="*/ 262305 h 356903"/>
                    <a:gd name="connsiteX16" fmla="*/ 489851 w 574179"/>
                    <a:gd name="connsiteY16" fmla="*/ 221026 h 356903"/>
                    <a:gd name="connsiteX17" fmla="*/ 489851 w 574179"/>
                    <a:gd name="connsiteY17" fmla="*/ 244245 h 356903"/>
                    <a:gd name="connsiteX18" fmla="*/ 513084 w 574179"/>
                    <a:gd name="connsiteY18" fmla="*/ 244245 h 356903"/>
                    <a:gd name="connsiteX19" fmla="*/ 513084 w 574179"/>
                    <a:gd name="connsiteY19" fmla="*/ 221026 h 356903"/>
                    <a:gd name="connsiteX20" fmla="*/ 449408 w 574179"/>
                    <a:gd name="connsiteY20" fmla="*/ 221026 h 356903"/>
                    <a:gd name="connsiteX21" fmla="*/ 449408 w 574179"/>
                    <a:gd name="connsiteY21" fmla="*/ 244245 h 356903"/>
                    <a:gd name="connsiteX22" fmla="*/ 472641 w 574179"/>
                    <a:gd name="connsiteY22" fmla="*/ 244245 h 356903"/>
                    <a:gd name="connsiteX23" fmla="*/ 472641 w 574179"/>
                    <a:gd name="connsiteY23" fmla="*/ 221026 h 356903"/>
                    <a:gd name="connsiteX24" fmla="*/ 101538 w 574179"/>
                    <a:gd name="connsiteY24" fmla="*/ 221026 h 356903"/>
                    <a:gd name="connsiteX25" fmla="*/ 101538 w 574179"/>
                    <a:gd name="connsiteY25" fmla="*/ 244245 h 356903"/>
                    <a:gd name="connsiteX26" fmla="*/ 124771 w 574179"/>
                    <a:gd name="connsiteY26" fmla="*/ 244245 h 356903"/>
                    <a:gd name="connsiteX27" fmla="*/ 124771 w 574179"/>
                    <a:gd name="connsiteY27" fmla="*/ 221026 h 356903"/>
                    <a:gd name="connsiteX28" fmla="*/ 61095 w 574179"/>
                    <a:gd name="connsiteY28" fmla="*/ 221026 h 356903"/>
                    <a:gd name="connsiteX29" fmla="*/ 61095 w 574179"/>
                    <a:gd name="connsiteY29" fmla="*/ 244245 h 356903"/>
                    <a:gd name="connsiteX30" fmla="*/ 84328 w 574179"/>
                    <a:gd name="connsiteY30" fmla="*/ 244245 h 356903"/>
                    <a:gd name="connsiteX31" fmla="*/ 84328 w 574179"/>
                    <a:gd name="connsiteY31" fmla="*/ 221026 h 356903"/>
                    <a:gd name="connsiteX32" fmla="*/ 359836 w 574179"/>
                    <a:gd name="connsiteY32" fmla="*/ 178022 h 356903"/>
                    <a:gd name="connsiteX33" fmla="*/ 359836 w 574179"/>
                    <a:gd name="connsiteY33" fmla="*/ 201242 h 356903"/>
                    <a:gd name="connsiteX34" fmla="*/ 382220 w 574179"/>
                    <a:gd name="connsiteY34" fmla="*/ 201242 h 356903"/>
                    <a:gd name="connsiteX35" fmla="*/ 382220 w 574179"/>
                    <a:gd name="connsiteY35" fmla="*/ 178022 h 356903"/>
                    <a:gd name="connsiteX36" fmla="*/ 318512 w 574179"/>
                    <a:gd name="connsiteY36" fmla="*/ 178022 h 356903"/>
                    <a:gd name="connsiteX37" fmla="*/ 318512 w 574179"/>
                    <a:gd name="connsiteY37" fmla="*/ 201242 h 356903"/>
                    <a:gd name="connsiteX38" fmla="*/ 341757 w 574179"/>
                    <a:gd name="connsiteY38" fmla="*/ 201242 h 356903"/>
                    <a:gd name="connsiteX39" fmla="*/ 341757 w 574179"/>
                    <a:gd name="connsiteY39" fmla="*/ 178022 h 356903"/>
                    <a:gd name="connsiteX40" fmla="*/ 231561 w 574179"/>
                    <a:gd name="connsiteY40" fmla="*/ 178022 h 356903"/>
                    <a:gd name="connsiteX41" fmla="*/ 231561 w 574179"/>
                    <a:gd name="connsiteY41" fmla="*/ 201242 h 356903"/>
                    <a:gd name="connsiteX42" fmla="*/ 254805 w 574179"/>
                    <a:gd name="connsiteY42" fmla="*/ 201242 h 356903"/>
                    <a:gd name="connsiteX43" fmla="*/ 254805 w 574179"/>
                    <a:gd name="connsiteY43" fmla="*/ 178022 h 356903"/>
                    <a:gd name="connsiteX44" fmla="*/ 191098 w 574179"/>
                    <a:gd name="connsiteY44" fmla="*/ 178022 h 356903"/>
                    <a:gd name="connsiteX45" fmla="*/ 191098 w 574179"/>
                    <a:gd name="connsiteY45" fmla="*/ 201242 h 356903"/>
                    <a:gd name="connsiteX46" fmla="*/ 214342 w 574179"/>
                    <a:gd name="connsiteY46" fmla="*/ 201242 h 356903"/>
                    <a:gd name="connsiteX47" fmla="*/ 214342 w 574179"/>
                    <a:gd name="connsiteY47" fmla="*/ 178022 h 356903"/>
                    <a:gd name="connsiteX48" fmla="*/ 359836 w 574179"/>
                    <a:gd name="connsiteY48" fmla="*/ 137601 h 356903"/>
                    <a:gd name="connsiteX49" fmla="*/ 359836 w 574179"/>
                    <a:gd name="connsiteY49" fmla="*/ 160822 h 356903"/>
                    <a:gd name="connsiteX50" fmla="*/ 382220 w 574179"/>
                    <a:gd name="connsiteY50" fmla="*/ 160822 h 356903"/>
                    <a:gd name="connsiteX51" fmla="*/ 382220 w 574179"/>
                    <a:gd name="connsiteY51" fmla="*/ 137601 h 356903"/>
                    <a:gd name="connsiteX52" fmla="*/ 318512 w 574179"/>
                    <a:gd name="connsiteY52" fmla="*/ 137601 h 356903"/>
                    <a:gd name="connsiteX53" fmla="*/ 318512 w 574179"/>
                    <a:gd name="connsiteY53" fmla="*/ 160822 h 356903"/>
                    <a:gd name="connsiteX54" fmla="*/ 341757 w 574179"/>
                    <a:gd name="connsiteY54" fmla="*/ 160822 h 356903"/>
                    <a:gd name="connsiteX55" fmla="*/ 341757 w 574179"/>
                    <a:gd name="connsiteY55" fmla="*/ 137601 h 356903"/>
                    <a:gd name="connsiteX56" fmla="*/ 231561 w 574179"/>
                    <a:gd name="connsiteY56" fmla="*/ 137601 h 356903"/>
                    <a:gd name="connsiteX57" fmla="*/ 231561 w 574179"/>
                    <a:gd name="connsiteY57" fmla="*/ 160822 h 356903"/>
                    <a:gd name="connsiteX58" fmla="*/ 254805 w 574179"/>
                    <a:gd name="connsiteY58" fmla="*/ 160822 h 356903"/>
                    <a:gd name="connsiteX59" fmla="*/ 254805 w 574179"/>
                    <a:gd name="connsiteY59" fmla="*/ 137601 h 356903"/>
                    <a:gd name="connsiteX60" fmla="*/ 191098 w 574179"/>
                    <a:gd name="connsiteY60" fmla="*/ 137601 h 356903"/>
                    <a:gd name="connsiteX61" fmla="*/ 191098 w 574179"/>
                    <a:gd name="connsiteY61" fmla="*/ 160822 h 356903"/>
                    <a:gd name="connsiteX62" fmla="*/ 214342 w 574179"/>
                    <a:gd name="connsiteY62" fmla="*/ 160822 h 356903"/>
                    <a:gd name="connsiteX63" fmla="*/ 214342 w 574179"/>
                    <a:gd name="connsiteY63" fmla="*/ 137601 h 356903"/>
                    <a:gd name="connsiteX64" fmla="*/ 434779 w 574179"/>
                    <a:gd name="connsiteY64" fmla="*/ 127287 h 356903"/>
                    <a:gd name="connsiteX65" fmla="*/ 525992 w 574179"/>
                    <a:gd name="connsiteY65" fmla="*/ 127287 h 356903"/>
                    <a:gd name="connsiteX66" fmla="*/ 574179 w 574179"/>
                    <a:gd name="connsiteY66" fmla="*/ 165987 h 356903"/>
                    <a:gd name="connsiteX67" fmla="*/ 547504 w 574179"/>
                    <a:gd name="connsiteY67" fmla="*/ 165987 h 356903"/>
                    <a:gd name="connsiteX68" fmla="*/ 547504 w 574179"/>
                    <a:gd name="connsiteY68" fmla="*/ 356903 h 356903"/>
                    <a:gd name="connsiteX69" fmla="*/ 434779 w 574179"/>
                    <a:gd name="connsiteY69" fmla="*/ 356903 h 356903"/>
                    <a:gd name="connsiteX70" fmla="*/ 47327 w 574179"/>
                    <a:gd name="connsiteY70" fmla="*/ 127287 h 356903"/>
                    <a:gd name="connsiteX71" fmla="*/ 139400 w 574179"/>
                    <a:gd name="connsiteY71" fmla="*/ 127287 h 356903"/>
                    <a:gd name="connsiteX72" fmla="*/ 139400 w 574179"/>
                    <a:gd name="connsiteY72" fmla="*/ 356903 h 356903"/>
                    <a:gd name="connsiteX73" fmla="*/ 25815 w 574179"/>
                    <a:gd name="connsiteY73" fmla="*/ 356903 h 356903"/>
                    <a:gd name="connsiteX74" fmla="*/ 25815 w 574179"/>
                    <a:gd name="connsiteY74" fmla="*/ 165987 h 356903"/>
                    <a:gd name="connsiteX75" fmla="*/ 0 w 574179"/>
                    <a:gd name="connsiteY75" fmla="*/ 165987 h 356903"/>
                    <a:gd name="connsiteX76" fmla="*/ 191098 w 574179"/>
                    <a:gd name="connsiteY76" fmla="*/ 0 h 356903"/>
                    <a:gd name="connsiteX77" fmla="*/ 194542 w 574179"/>
                    <a:gd name="connsiteY77" fmla="*/ 0 h 356903"/>
                    <a:gd name="connsiteX78" fmla="*/ 194542 w 574179"/>
                    <a:gd name="connsiteY78" fmla="*/ 5160 h 356903"/>
                    <a:gd name="connsiteX79" fmla="*/ 214342 w 574179"/>
                    <a:gd name="connsiteY79" fmla="*/ 12040 h 356903"/>
                    <a:gd name="connsiteX80" fmla="*/ 214342 w 574179"/>
                    <a:gd name="connsiteY80" fmla="*/ 29241 h 356903"/>
                    <a:gd name="connsiteX81" fmla="*/ 194542 w 574179"/>
                    <a:gd name="connsiteY81" fmla="*/ 21500 h 356903"/>
                    <a:gd name="connsiteX82" fmla="*/ 194542 w 574179"/>
                    <a:gd name="connsiteY82" fmla="*/ 57621 h 356903"/>
                    <a:gd name="connsiteX83" fmla="*/ 358975 w 574179"/>
                    <a:gd name="connsiteY83" fmla="*/ 57621 h 356903"/>
                    <a:gd name="connsiteX84" fmla="*/ 358975 w 574179"/>
                    <a:gd name="connsiteY84" fmla="*/ 17200 h 356903"/>
                    <a:gd name="connsiteX85" fmla="*/ 358975 w 574179"/>
                    <a:gd name="connsiteY85" fmla="*/ 0 h 356903"/>
                    <a:gd name="connsiteX86" fmla="*/ 362419 w 574179"/>
                    <a:gd name="connsiteY86" fmla="*/ 0 h 356903"/>
                    <a:gd name="connsiteX87" fmla="*/ 362419 w 574179"/>
                    <a:gd name="connsiteY87" fmla="*/ 5160 h 356903"/>
                    <a:gd name="connsiteX88" fmla="*/ 383081 w 574179"/>
                    <a:gd name="connsiteY88" fmla="*/ 12040 h 356903"/>
                    <a:gd name="connsiteX89" fmla="*/ 383081 w 574179"/>
                    <a:gd name="connsiteY89" fmla="*/ 29241 h 356903"/>
                    <a:gd name="connsiteX90" fmla="*/ 362419 w 574179"/>
                    <a:gd name="connsiteY90" fmla="*/ 21500 h 356903"/>
                    <a:gd name="connsiteX91" fmla="*/ 362419 w 574179"/>
                    <a:gd name="connsiteY91" fmla="*/ 57621 h 356903"/>
                    <a:gd name="connsiteX92" fmla="*/ 417517 w 574179"/>
                    <a:gd name="connsiteY92" fmla="*/ 57621 h 356903"/>
                    <a:gd name="connsiteX93" fmla="*/ 443344 w 574179"/>
                    <a:gd name="connsiteY93" fmla="*/ 96321 h 356903"/>
                    <a:gd name="connsiteX94" fmla="*/ 417517 w 574179"/>
                    <a:gd name="connsiteY94" fmla="*/ 96321 h 356903"/>
                    <a:gd name="connsiteX95" fmla="*/ 417517 w 574179"/>
                    <a:gd name="connsiteY95" fmla="*/ 356903 h 356903"/>
                    <a:gd name="connsiteX96" fmla="*/ 318512 w 574179"/>
                    <a:gd name="connsiteY96" fmla="*/ 356903 h 356903"/>
                    <a:gd name="connsiteX97" fmla="*/ 318512 w 574179"/>
                    <a:gd name="connsiteY97" fmla="*/ 278643 h 356903"/>
                    <a:gd name="connsiteX98" fmla="*/ 254805 w 574179"/>
                    <a:gd name="connsiteY98" fmla="*/ 278643 h 356903"/>
                    <a:gd name="connsiteX99" fmla="*/ 254805 w 574179"/>
                    <a:gd name="connsiteY99" fmla="*/ 356903 h 356903"/>
                    <a:gd name="connsiteX100" fmla="*/ 156662 w 574179"/>
                    <a:gd name="connsiteY100" fmla="*/ 356903 h 356903"/>
                    <a:gd name="connsiteX101" fmla="*/ 156662 w 574179"/>
                    <a:gd name="connsiteY101" fmla="*/ 96321 h 356903"/>
                    <a:gd name="connsiteX102" fmla="*/ 130834 w 574179"/>
                    <a:gd name="connsiteY102" fmla="*/ 96321 h 356903"/>
                    <a:gd name="connsiteX103" fmla="*/ 156662 w 574179"/>
                    <a:gd name="connsiteY103" fmla="*/ 57621 h 356903"/>
                    <a:gd name="connsiteX104" fmla="*/ 191098 w 574179"/>
                    <a:gd name="connsiteY104" fmla="*/ 57621 h 356903"/>
                    <a:gd name="connsiteX105" fmla="*/ 191098 w 574179"/>
                    <a:gd name="connsiteY105" fmla="*/ 17200 h 356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74179" h="356903">
                      <a:moveTo>
                        <a:pt x="489851" y="262305"/>
                      </a:moveTo>
                      <a:lnTo>
                        <a:pt x="489851" y="284665"/>
                      </a:lnTo>
                      <a:lnTo>
                        <a:pt x="513084" y="284665"/>
                      </a:lnTo>
                      <a:lnTo>
                        <a:pt x="513084" y="262305"/>
                      </a:lnTo>
                      <a:close/>
                      <a:moveTo>
                        <a:pt x="449408" y="262305"/>
                      </a:moveTo>
                      <a:lnTo>
                        <a:pt x="449408" y="284665"/>
                      </a:lnTo>
                      <a:lnTo>
                        <a:pt x="472641" y="284665"/>
                      </a:lnTo>
                      <a:lnTo>
                        <a:pt x="472641" y="262305"/>
                      </a:lnTo>
                      <a:close/>
                      <a:moveTo>
                        <a:pt x="101538" y="262305"/>
                      </a:moveTo>
                      <a:lnTo>
                        <a:pt x="101538" y="284665"/>
                      </a:lnTo>
                      <a:lnTo>
                        <a:pt x="124771" y="284665"/>
                      </a:lnTo>
                      <a:lnTo>
                        <a:pt x="124771" y="262305"/>
                      </a:lnTo>
                      <a:close/>
                      <a:moveTo>
                        <a:pt x="61095" y="262305"/>
                      </a:moveTo>
                      <a:lnTo>
                        <a:pt x="61095" y="284665"/>
                      </a:lnTo>
                      <a:lnTo>
                        <a:pt x="84328" y="284665"/>
                      </a:lnTo>
                      <a:lnTo>
                        <a:pt x="84328" y="262305"/>
                      </a:lnTo>
                      <a:close/>
                      <a:moveTo>
                        <a:pt x="489851" y="221026"/>
                      </a:moveTo>
                      <a:lnTo>
                        <a:pt x="489851" y="244245"/>
                      </a:lnTo>
                      <a:lnTo>
                        <a:pt x="513084" y="244245"/>
                      </a:lnTo>
                      <a:lnTo>
                        <a:pt x="513084" y="221026"/>
                      </a:lnTo>
                      <a:close/>
                      <a:moveTo>
                        <a:pt x="449408" y="221026"/>
                      </a:moveTo>
                      <a:lnTo>
                        <a:pt x="449408" y="244245"/>
                      </a:lnTo>
                      <a:lnTo>
                        <a:pt x="472641" y="244245"/>
                      </a:lnTo>
                      <a:lnTo>
                        <a:pt x="472641" y="221026"/>
                      </a:lnTo>
                      <a:close/>
                      <a:moveTo>
                        <a:pt x="101538" y="221026"/>
                      </a:moveTo>
                      <a:lnTo>
                        <a:pt x="101538" y="244245"/>
                      </a:lnTo>
                      <a:lnTo>
                        <a:pt x="124771" y="244245"/>
                      </a:lnTo>
                      <a:lnTo>
                        <a:pt x="124771" y="221026"/>
                      </a:lnTo>
                      <a:close/>
                      <a:moveTo>
                        <a:pt x="61095" y="221026"/>
                      </a:moveTo>
                      <a:lnTo>
                        <a:pt x="61095" y="244245"/>
                      </a:lnTo>
                      <a:lnTo>
                        <a:pt x="84328" y="244245"/>
                      </a:lnTo>
                      <a:lnTo>
                        <a:pt x="84328" y="221026"/>
                      </a:lnTo>
                      <a:close/>
                      <a:moveTo>
                        <a:pt x="359836" y="178022"/>
                      </a:moveTo>
                      <a:lnTo>
                        <a:pt x="359836" y="201242"/>
                      </a:lnTo>
                      <a:lnTo>
                        <a:pt x="382220" y="201242"/>
                      </a:lnTo>
                      <a:lnTo>
                        <a:pt x="382220" y="178022"/>
                      </a:lnTo>
                      <a:close/>
                      <a:moveTo>
                        <a:pt x="318512" y="178022"/>
                      </a:moveTo>
                      <a:lnTo>
                        <a:pt x="318512" y="201242"/>
                      </a:lnTo>
                      <a:lnTo>
                        <a:pt x="341757" y="201242"/>
                      </a:lnTo>
                      <a:lnTo>
                        <a:pt x="341757" y="178022"/>
                      </a:lnTo>
                      <a:close/>
                      <a:moveTo>
                        <a:pt x="231561" y="178022"/>
                      </a:moveTo>
                      <a:lnTo>
                        <a:pt x="231561" y="201242"/>
                      </a:lnTo>
                      <a:lnTo>
                        <a:pt x="254805" y="201242"/>
                      </a:lnTo>
                      <a:lnTo>
                        <a:pt x="254805" y="178022"/>
                      </a:lnTo>
                      <a:close/>
                      <a:moveTo>
                        <a:pt x="191098" y="178022"/>
                      </a:moveTo>
                      <a:lnTo>
                        <a:pt x="191098" y="201242"/>
                      </a:lnTo>
                      <a:lnTo>
                        <a:pt x="214342" y="201242"/>
                      </a:lnTo>
                      <a:lnTo>
                        <a:pt x="214342" y="178022"/>
                      </a:lnTo>
                      <a:close/>
                      <a:moveTo>
                        <a:pt x="359836" y="137601"/>
                      </a:moveTo>
                      <a:lnTo>
                        <a:pt x="359836" y="160822"/>
                      </a:lnTo>
                      <a:lnTo>
                        <a:pt x="382220" y="160822"/>
                      </a:lnTo>
                      <a:lnTo>
                        <a:pt x="382220" y="137601"/>
                      </a:lnTo>
                      <a:close/>
                      <a:moveTo>
                        <a:pt x="318512" y="137601"/>
                      </a:moveTo>
                      <a:lnTo>
                        <a:pt x="318512" y="160822"/>
                      </a:lnTo>
                      <a:lnTo>
                        <a:pt x="341757" y="160822"/>
                      </a:lnTo>
                      <a:lnTo>
                        <a:pt x="341757" y="137601"/>
                      </a:lnTo>
                      <a:close/>
                      <a:moveTo>
                        <a:pt x="231561" y="137601"/>
                      </a:moveTo>
                      <a:lnTo>
                        <a:pt x="231561" y="160822"/>
                      </a:lnTo>
                      <a:lnTo>
                        <a:pt x="254805" y="160822"/>
                      </a:lnTo>
                      <a:lnTo>
                        <a:pt x="254805" y="137601"/>
                      </a:lnTo>
                      <a:close/>
                      <a:moveTo>
                        <a:pt x="191098" y="137601"/>
                      </a:moveTo>
                      <a:lnTo>
                        <a:pt x="191098" y="160822"/>
                      </a:lnTo>
                      <a:lnTo>
                        <a:pt x="214342" y="160822"/>
                      </a:lnTo>
                      <a:lnTo>
                        <a:pt x="214342" y="137601"/>
                      </a:lnTo>
                      <a:close/>
                      <a:moveTo>
                        <a:pt x="434779" y="127287"/>
                      </a:moveTo>
                      <a:lnTo>
                        <a:pt x="525992" y="127287"/>
                      </a:lnTo>
                      <a:lnTo>
                        <a:pt x="574179" y="165987"/>
                      </a:lnTo>
                      <a:lnTo>
                        <a:pt x="547504" y="165987"/>
                      </a:lnTo>
                      <a:lnTo>
                        <a:pt x="547504" y="356903"/>
                      </a:lnTo>
                      <a:lnTo>
                        <a:pt x="434779" y="356903"/>
                      </a:lnTo>
                      <a:close/>
                      <a:moveTo>
                        <a:pt x="47327" y="127287"/>
                      </a:moveTo>
                      <a:lnTo>
                        <a:pt x="139400" y="127287"/>
                      </a:lnTo>
                      <a:lnTo>
                        <a:pt x="139400" y="356903"/>
                      </a:lnTo>
                      <a:lnTo>
                        <a:pt x="25815" y="356903"/>
                      </a:lnTo>
                      <a:lnTo>
                        <a:pt x="25815" y="165987"/>
                      </a:lnTo>
                      <a:lnTo>
                        <a:pt x="0" y="165987"/>
                      </a:lnTo>
                      <a:close/>
                      <a:moveTo>
                        <a:pt x="191098" y="0"/>
                      </a:moveTo>
                      <a:lnTo>
                        <a:pt x="194542" y="0"/>
                      </a:lnTo>
                      <a:lnTo>
                        <a:pt x="194542" y="5160"/>
                      </a:lnTo>
                      <a:cubicBezTo>
                        <a:pt x="201429" y="11180"/>
                        <a:pt x="208316" y="-2580"/>
                        <a:pt x="214342" y="12040"/>
                      </a:cubicBezTo>
                      <a:lnTo>
                        <a:pt x="214342" y="29241"/>
                      </a:lnTo>
                      <a:cubicBezTo>
                        <a:pt x="208316" y="14620"/>
                        <a:pt x="201429" y="27521"/>
                        <a:pt x="194542" y="21500"/>
                      </a:cubicBezTo>
                      <a:lnTo>
                        <a:pt x="194542" y="57621"/>
                      </a:lnTo>
                      <a:lnTo>
                        <a:pt x="358975" y="57621"/>
                      </a:lnTo>
                      <a:lnTo>
                        <a:pt x="358975" y="17200"/>
                      </a:lnTo>
                      <a:lnTo>
                        <a:pt x="358975" y="0"/>
                      </a:lnTo>
                      <a:lnTo>
                        <a:pt x="362419" y="0"/>
                      </a:lnTo>
                      <a:lnTo>
                        <a:pt x="362419" y="5160"/>
                      </a:lnTo>
                      <a:cubicBezTo>
                        <a:pt x="369306" y="11180"/>
                        <a:pt x="376193" y="-2580"/>
                        <a:pt x="383081" y="12040"/>
                      </a:cubicBezTo>
                      <a:lnTo>
                        <a:pt x="383081" y="29241"/>
                      </a:lnTo>
                      <a:cubicBezTo>
                        <a:pt x="376193" y="14620"/>
                        <a:pt x="369306" y="27521"/>
                        <a:pt x="362419" y="21500"/>
                      </a:cubicBezTo>
                      <a:lnTo>
                        <a:pt x="362419" y="57621"/>
                      </a:lnTo>
                      <a:lnTo>
                        <a:pt x="417517" y="57621"/>
                      </a:lnTo>
                      <a:lnTo>
                        <a:pt x="443344" y="96321"/>
                      </a:lnTo>
                      <a:lnTo>
                        <a:pt x="417517" y="96321"/>
                      </a:lnTo>
                      <a:lnTo>
                        <a:pt x="417517" y="356903"/>
                      </a:lnTo>
                      <a:lnTo>
                        <a:pt x="318512" y="356903"/>
                      </a:lnTo>
                      <a:lnTo>
                        <a:pt x="318512" y="278643"/>
                      </a:lnTo>
                      <a:lnTo>
                        <a:pt x="254805" y="278643"/>
                      </a:lnTo>
                      <a:lnTo>
                        <a:pt x="254805" y="356903"/>
                      </a:lnTo>
                      <a:lnTo>
                        <a:pt x="156662" y="356903"/>
                      </a:lnTo>
                      <a:lnTo>
                        <a:pt x="156662" y="96321"/>
                      </a:lnTo>
                      <a:lnTo>
                        <a:pt x="130834" y="96321"/>
                      </a:lnTo>
                      <a:lnTo>
                        <a:pt x="156662" y="57621"/>
                      </a:lnTo>
                      <a:lnTo>
                        <a:pt x="191098" y="57621"/>
                      </a:lnTo>
                      <a:lnTo>
                        <a:pt x="191098" y="17200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23" name="文本框 122"/>
                <p:cNvSpPr txBox="1"/>
                <p:nvPr/>
              </p:nvSpPr>
              <p:spPr>
                <a:xfrm>
                  <a:off x="7480" y="14979"/>
                  <a:ext cx="160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en-US" altLang="zh-CN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sym typeface="+mn-ea"/>
                    </a:rPr>
                    <a:t>      </a:t>
                  </a:r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sym typeface="+mn-ea"/>
                    </a:rPr>
                    <a:t>学校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endParaRPr>
                </a:p>
              </p:txBody>
            </p:sp>
          </p:grpSp>
          <p:grpSp>
            <p:nvGrpSpPr>
              <p:cNvPr id="124" name="组合 47"/>
              <p:cNvGrpSpPr/>
              <p:nvPr/>
            </p:nvGrpSpPr>
            <p:grpSpPr>
              <a:xfrm rot="0">
                <a:off x="22683" y="10624"/>
                <a:ext cx="1871" cy="1682"/>
                <a:chOff x="7480" y="13555"/>
                <a:chExt cx="1871" cy="1682"/>
              </a:xfrm>
            </p:grpSpPr>
            <p:sp>
              <p:nvSpPr>
                <p:cNvPr id="125" name="school-house_46361"/>
                <p:cNvSpPr>
                  <a:spLocks noChangeAspect="1"/>
                </p:cNvSpPr>
                <p:nvPr/>
              </p:nvSpPr>
              <p:spPr bwMode="auto">
                <a:xfrm>
                  <a:off x="7573" y="13555"/>
                  <a:ext cx="1778" cy="1052"/>
                </a:xfrm>
                <a:custGeom>
                  <a:avLst/>
                  <a:gdLst>
                    <a:gd name="connsiteX0" fmla="*/ 413435 w 599763"/>
                    <a:gd name="connsiteY0" fmla="*/ 242351 h 354892"/>
                    <a:gd name="connsiteX1" fmla="*/ 421018 w 599763"/>
                    <a:gd name="connsiteY1" fmla="*/ 246720 h 354892"/>
                    <a:gd name="connsiteX2" fmla="*/ 419179 w 599763"/>
                    <a:gd name="connsiteY2" fmla="*/ 273388 h 354892"/>
                    <a:gd name="connsiteX3" fmla="*/ 413665 w 599763"/>
                    <a:gd name="connsiteY3" fmla="*/ 301895 h 354892"/>
                    <a:gd name="connsiteX4" fmla="*/ 404245 w 599763"/>
                    <a:gd name="connsiteY4" fmla="*/ 299366 h 354892"/>
                    <a:gd name="connsiteX5" fmla="*/ 405164 w 599763"/>
                    <a:gd name="connsiteY5" fmla="*/ 263502 h 354892"/>
                    <a:gd name="connsiteX6" fmla="*/ 413435 w 599763"/>
                    <a:gd name="connsiteY6" fmla="*/ 242351 h 354892"/>
                    <a:gd name="connsiteX7" fmla="*/ 107616 w 599763"/>
                    <a:gd name="connsiteY7" fmla="*/ 239326 h 354892"/>
                    <a:gd name="connsiteX8" fmla="*/ 118194 w 599763"/>
                    <a:gd name="connsiteY8" fmla="*/ 239326 h 354892"/>
                    <a:gd name="connsiteX9" fmla="*/ 120954 w 599763"/>
                    <a:gd name="connsiteY9" fmla="*/ 264171 h 354892"/>
                    <a:gd name="connsiteX10" fmla="*/ 119804 w 599763"/>
                    <a:gd name="connsiteY10" fmla="*/ 289476 h 354892"/>
                    <a:gd name="connsiteX11" fmla="*/ 106236 w 599763"/>
                    <a:gd name="connsiteY11" fmla="*/ 289476 h 354892"/>
                    <a:gd name="connsiteX12" fmla="*/ 105087 w 599763"/>
                    <a:gd name="connsiteY12" fmla="*/ 260490 h 354892"/>
                    <a:gd name="connsiteX13" fmla="*/ 107616 w 599763"/>
                    <a:gd name="connsiteY13" fmla="*/ 239326 h 354892"/>
                    <a:gd name="connsiteX14" fmla="*/ 489266 w 599763"/>
                    <a:gd name="connsiteY14" fmla="*/ 239296 h 354892"/>
                    <a:gd name="connsiteX15" fmla="*/ 489726 w 599763"/>
                    <a:gd name="connsiteY15" fmla="*/ 239296 h 354892"/>
                    <a:gd name="connsiteX16" fmla="*/ 489956 w 599763"/>
                    <a:gd name="connsiteY16" fmla="*/ 239296 h 354892"/>
                    <a:gd name="connsiteX17" fmla="*/ 494785 w 599763"/>
                    <a:gd name="connsiteY17" fmla="*/ 241139 h 354892"/>
                    <a:gd name="connsiteX18" fmla="*/ 497314 w 599763"/>
                    <a:gd name="connsiteY18" fmla="*/ 262332 h 354892"/>
                    <a:gd name="connsiteX19" fmla="*/ 495475 w 599763"/>
                    <a:gd name="connsiteY19" fmla="*/ 289284 h 354892"/>
                    <a:gd name="connsiteX20" fmla="*/ 483748 w 599763"/>
                    <a:gd name="connsiteY20" fmla="*/ 289284 h 354892"/>
                    <a:gd name="connsiteX21" fmla="*/ 481909 w 599763"/>
                    <a:gd name="connsiteY21" fmla="*/ 262332 h 354892"/>
                    <a:gd name="connsiteX22" fmla="*/ 484668 w 599763"/>
                    <a:gd name="connsiteY22" fmla="*/ 241139 h 354892"/>
                    <a:gd name="connsiteX23" fmla="*/ 489266 w 599763"/>
                    <a:gd name="connsiteY23" fmla="*/ 239296 h 354892"/>
                    <a:gd name="connsiteX24" fmla="*/ 180432 w 599763"/>
                    <a:gd name="connsiteY24" fmla="*/ 237494 h 354892"/>
                    <a:gd name="connsiteX25" fmla="*/ 190798 w 599763"/>
                    <a:gd name="connsiteY25" fmla="*/ 237494 h 354892"/>
                    <a:gd name="connsiteX26" fmla="*/ 192871 w 599763"/>
                    <a:gd name="connsiteY26" fmla="*/ 264426 h 354892"/>
                    <a:gd name="connsiteX27" fmla="*/ 192180 w 599763"/>
                    <a:gd name="connsiteY27" fmla="*/ 290897 h 354892"/>
                    <a:gd name="connsiteX28" fmla="*/ 182275 w 599763"/>
                    <a:gd name="connsiteY28" fmla="*/ 292278 h 354892"/>
                    <a:gd name="connsiteX29" fmla="*/ 177207 w 599763"/>
                    <a:gd name="connsiteY29" fmla="*/ 264426 h 354892"/>
                    <a:gd name="connsiteX30" fmla="*/ 180432 w 599763"/>
                    <a:gd name="connsiteY30" fmla="*/ 237494 h 354892"/>
                    <a:gd name="connsiteX31" fmla="*/ 491561 w 599763"/>
                    <a:gd name="connsiteY31" fmla="*/ 162223 h 354892"/>
                    <a:gd name="connsiteX32" fmla="*/ 497317 w 599763"/>
                    <a:gd name="connsiteY32" fmla="*/ 169588 h 354892"/>
                    <a:gd name="connsiteX33" fmla="*/ 497317 w 599763"/>
                    <a:gd name="connsiteY33" fmla="*/ 172810 h 354892"/>
                    <a:gd name="connsiteX34" fmla="*/ 496396 w 599763"/>
                    <a:gd name="connsiteY34" fmla="*/ 177413 h 354892"/>
                    <a:gd name="connsiteX35" fmla="*/ 495936 w 599763"/>
                    <a:gd name="connsiteY35" fmla="*/ 190761 h 354892"/>
                    <a:gd name="connsiteX36" fmla="*/ 495245 w 599763"/>
                    <a:gd name="connsiteY36" fmla="*/ 216536 h 354892"/>
                    <a:gd name="connsiteX37" fmla="*/ 483962 w 599763"/>
                    <a:gd name="connsiteY37" fmla="*/ 216536 h 354892"/>
                    <a:gd name="connsiteX38" fmla="*/ 480508 w 599763"/>
                    <a:gd name="connsiteY38" fmla="*/ 181325 h 354892"/>
                    <a:gd name="connsiteX39" fmla="*/ 491561 w 599763"/>
                    <a:gd name="connsiteY39" fmla="*/ 162223 h 354892"/>
                    <a:gd name="connsiteX40" fmla="*/ 107804 w 599763"/>
                    <a:gd name="connsiteY40" fmla="*/ 161985 h 354892"/>
                    <a:gd name="connsiteX41" fmla="*/ 118202 w 599763"/>
                    <a:gd name="connsiteY41" fmla="*/ 161985 h 354892"/>
                    <a:gd name="connsiteX42" fmla="*/ 121206 w 599763"/>
                    <a:gd name="connsiteY42" fmla="*/ 185689 h 354892"/>
                    <a:gd name="connsiteX43" fmla="*/ 121206 w 599763"/>
                    <a:gd name="connsiteY43" fmla="*/ 210084 h 354892"/>
                    <a:gd name="connsiteX44" fmla="*/ 107572 w 599763"/>
                    <a:gd name="connsiteY44" fmla="*/ 211925 h 354892"/>
                    <a:gd name="connsiteX45" fmla="*/ 105262 w 599763"/>
                    <a:gd name="connsiteY45" fmla="*/ 185689 h 354892"/>
                    <a:gd name="connsiteX46" fmla="*/ 107804 w 599763"/>
                    <a:gd name="connsiteY46" fmla="*/ 161985 h 354892"/>
                    <a:gd name="connsiteX47" fmla="*/ 186439 w 599763"/>
                    <a:gd name="connsiteY47" fmla="*/ 161051 h 354892"/>
                    <a:gd name="connsiteX48" fmla="*/ 197503 w 599763"/>
                    <a:gd name="connsiteY48" fmla="*/ 162433 h 354892"/>
                    <a:gd name="connsiteX49" fmla="*/ 197734 w 599763"/>
                    <a:gd name="connsiteY49" fmla="*/ 186851 h 354892"/>
                    <a:gd name="connsiteX50" fmla="*/ 197734 w 599763"/>
                    <a:gd name="connsiteY50" fmla="*/ 213112 h 354892"/>
                    <a:gd name="connsiteX51" fmla="*/ 185286 w 599763"/>
                    <a:gd name="connsiteY51" fmla="*/ 214725 h 354892"/>
                    <a:gd name="connsiteX52" fmla="*/ 182289 w 599763"/>
                    <a:gd name="connsiteY52" fmla="*/ 184087 h 354892"/>
                    <a:gd name="connsiteX53" fmla="*/ 186439 w 599763"/>
                    <a:gd name="connsiteY53" fmla="*/ 161051 h 354892"/>
                    <a:gd name="connsiteX54" fmla="*/ 270786 w 599763"/>
                    <a:gd name="connsiteY54" fmla="*/ 160616 h 354892"/>
                    <a:gd name="connsiteX55" fmla="*/ 276544 w 599763"/>
                    <a:gd name="connsiteY55" fmla="*/ 162918 h 354892"/>
                    <a:gd name="connsiteX56" fmla="*/ 278847 w 599763"/>
                    <a:gd name="connsiteY56" fmla="*/ 170977 h 354892"/>
                    <a:gd name="connsiteX57" fmla="*/ 274701 w 599763"/>
                    <a:gd name="connsiteY57" fmla="*/ 215182 h 354892"/>
                    <a:gd name="connsiteX58" fmla="*/ 261343 w 599763"/>
                    <a:gd name="connsiteY58" fmla="*/ 215182 h 354892"/>
                    <a:gd name="connsiteX59" fmla="*/ 262956 w 599763"/>
                    <a:gd name="connsiteY59" fmla="*/ 166602 h 354892"/>
                    <a:gd name="connsiteX60" fmla="*/ 270786 w 599763"/>
                    <a:gd name="connsiteY60" fmla="*/ 160616 h 354892"/>
                    <a:gd name="connsiteX61" fmla="*/ 416901 w 599763"/>
                    <a:gd name="connsiteY61" fmla="*/ 160241 h 354892"/>
                    <a:gd name="connsiteX62" fmla="*/ 425175 w 599763"/>
                    <a:gd name="connsiteY62" fmla="*/ 168006 h 354892"/>
                    <a:gd name="connsiteX63" fmla="*/ 420562 w 599763"/>
                    <a:gd name="connsiteY63" fmla="*/ 216326 h 354892"/>
                    <a:gd name="connsiteX64" fmla="*/ 408800 w 599763"/>
                    <a:gd name="connsiteY64" fmla="*/ 213104 h 354892"/>
                    <a:gd name="connsiteX65" fmla="*/ 408800 w 599763"/>
                    <a:gd name="connsiteY65" fmla="*/ 168006 h 354892"/>
                    <a:gd name="connsiteX66" fmla="*/ 416901 w 599763"/>
                    <a:gd name="connsiteY66" fmla="*/ 160241 h 354892"/>
                    <a:gd name="connsiteX67" fmla="*/ 346478 w 599763"/>
                    <a:gd name="connsiteY67" fmla="*/ 159746 h 354892"/>
                    <a:gd name="connsiteX68" fmla="*/ 353060 w 599763"/>
                    <a:gd name="connsiteY68" fmla="*/ 163373 h 354892"/>
                    <a:gd name="connsiteX69" fmla="*/ 353060 w 599763"/>
                    <a:gd name="connsiteY69" fmla="*/ 186402 h 354892"/>
                    <a:gd name="connsiteX70" fmla="*/ 350057 w 599763"/>
                    <a:gd name="connsiteY70" fmla="*/ 213346 h 354892"/>
                    <a:gd name="connsiteX71" fmla="*/ 334815 w 599763"/>
                    <a:gd name="connsiteY71" fmla="*/ 211274 h 354892"/>
                    <a:gd name="connsiteX72" fmla="*/ 337125 w 599763"/>
                    <a:gd name="connsiteY72" fmla="*/ 184329 h 354892"/>
                    <a:gd name="connsiteX73" fmla="*/ 339896 w 599763"/>
                    <a:gd name="connsiteY73" fmla="*/ 163373 h 354892"/>
                    <a:gd name="connsiteX74" fmla="*/ 346478 w 599763"/>
                    <a:gd name="connsiteY74" fmla="*/ 159746 h 354892"/>
                    <a:gd name="connsiteX75" fmla="*/ 541601 w 599763"/>
                    <a:gd name="connsiteY75" fmla="*/ 132325 h 354892"/>
                    <a:gd name="connsiteX76" fmla="*/ 508182 w 599763"/>
                    <a:gd name="connsiteY76" fmla="*/ 132555 h 354892"/>
                    <a:gd name="connsiteX77" fmla="*/ 380500 w 599763"/>
                    <a:gd name="connsiteY77" fmla="*/ 136007 h 354892"/>
                    <a:gd name="connsiteX78" fmla="*/ 256967 w 599763"/>
                    <a:gd name="connsiteY78" fmla="*/ 136237 h 354892"/>
                    <a:gd name="connsiteX79" fmla="*/ 129515 w 599763"/>
                    <a:gd name="connsiteY79" fmla="*/ 139919 h 354892"/>
                    <a:gd name="connsiteX80" fmla="*/ 67979 w 599763"/>
                    <a:gd name="connsiteY80" fmla="*/ 142681 h 354892"/>
                    <a:gd name="connsiteX81" fmla="*/ 83421 w 599763"/>
                    <a:gd name="connsiteY81" fmla="*/ 333237 h 354892"/>
                    <a:gd name="connsiteX82" fmla="*/ 266186 w 599763"/>
                    <a:gd name="connsiteY82" fmla="*/ 335308 h 354892"/>
                    <a:gd name="connsiteX83" fmla="*/ 260193 w 599763"/>
                    <a:gd name="connsiteY83" fmla="*/ 297565 h 354892"/>
                    <a:gd name="connsiteX84" fmla="*/ 258119 w 599763"/>
                    <a:gd name="connsiteY84" fmla="*/ 244403 h 354892"/>
                    <a:gd name="connsiteX85" fmla="*/ 265955 w 599763"/>
                    <a:gd name="connsiteY85" fmla="*/ 236578 h 354892"/>
                    <a:gd name="connsiteX86" fmla="*/ 338554 w 599763"/>
                    <a:gd name="connsiteY86" fmla="*/ 232436 h 354892"/>
                    <a:gd name="connsiteX87" fmla="*/ 346620 w 599763"/>
                    <a:gd name="connsiteY87" fmla="*/ 240490 h 354892"/>
                    <a:gd name="connsiteX88" fmla="*/ 347312 w 599763"/>
                    <a:gd name="connsiteY88" fmla="*/ 303319 h 354892"/>
                    <a:gd name="connsiteX89" fmla="*/ 346620 w 599763"/>
                    <a:gd name="connsiteY89" fmla="*/ 333467 h 354892"/>
                    <a:gd name="connsiteX90" fmla="*/ 542292 w 599763"/>
                    <a:gd name="connsiteY90" fmla="*/ 330705 h 354892"/>
                    <a:gd name="connsiteX91" fmla="*/ 540218 w 599763"/>
                    <a:gd name="connsiteY91" fmla="*/ 219548 h 354892"/>
                    <a:gd name="connsiteX92" fmla="*/ 539296 w 599763"/>
                    <a:gd name="connsiteY92" fmla="*/ 177662 h 354892"/>
                    <a:gd name="connsiteX93" fmla="*/ 536761 w 599763"/>
                    <a:gd name="connsiteY93" fmla="*/ 146363 h 354892"/>
                    <a:gd name="connsiteX94" fmla="*/ 541601 w 599763"/>
                    <a:gd name="connsiteY94" fmla="*/ 132325 h 354892"/>
                    <a:gd name="connsiteX95" fmla="*/ 312050 w 599763"/>
                    <a:gd name="connsiteY95" fmla="*/ 16565 h 354892"/>
                    <a:gd name="connsiteX96" fmla="*/ 220782 w 599763"/>
                    <a:gd name="connsiteY96" fmla="*/ 54308 h 354892"/>
                    <a:gd name="connsiteX97" fmla="*/ 141500 w 599763"/>
                    <a:gd name="connsiteY97" fmla="*/ 94122 h 354892"/>
                    <a:gd name="connsiteX98" fmla="*/ 74663 w 599763"/>
                    <a:gd name="connsiteY98" fmla="*/ 124500 h 354892"/>
                    <a:gd name="connsiteX99" fmla="*/ 147723 w 599763"/>
                    <a:gd name="connsiteY99" fmla="*/ 122889 h 354892"/>
                    <a:gd name="connsiteX100" fmla="*/ 275174 w 599763"/>
                    <a:gd name="connsiteY100" fmla="*/ 119667 h 354892"/>
                    <a:gd name="connsiteX101" fmla="*/ 393406 w 599763"/>
                    <a:gd name="connsiteY101" fmla="*/ 119207 h 354892"/>
                    <a:gd name="connsiteX102" fmla="*/ 530077 w 599763"/>
                    <a:gd name="connsiteY102" fmla="*/ 115985 h 354892"/>
                    <a:gd name="connsiteX103" fmla="*/ 576863 w 599763"/>
                    <a:gd name="connsiteY103" fmla="*/ 115525 h 354892"/>
                    <a:gd name="connsiteX104" fmla="*/ 537452 w 599763"/>
                    <a:gd name="connsiteY104" fmla="*/ 100335 h 354892"/>
                    <a:gd name="connsiteX105" fmla="*/ 489053 w 599763"/>
                    <a:gd name="connsiteY105" fmla="*/ 84916 h 354892"/>
                    <a:gd name="connsiteX106" fmla="*/ 400551 w 599763"/>
                    <a:gd name="connsiteY106" fmla="*/ 49014 h 354892"/>
                    <a:gd name="connsiteX107" fmla="*/ 352152 w 599763"/>
                    <a:gd name="connsiteY107" fmla="*/ 28992 h 354892"/>
                    <a:gd name="connsiteX108" fmla="*/ 312050 w 599763"/>
                    <a:gd name="connsiteY108" fmla="*/ 16565 h 354892"/>
                    <a:gd name="connsiteX109" fmla="*/ 306925 w 599763"/>
                    <a:gd name="connsiteY109" fmla="*/ 99 h 354892"/>
                    <a:gd name="connsiteX110" fmla="*/ 327491 w 599763"/>
                    <a:gd name="connsiteY110" fmla="*/ 2526 h 354892"/>
                    <a:gd name="connsiteX111" fmla="*/ 518323 w 599763"/>
                    <a:gd name="connsiteY111" fmla="*/ 76861 h 354892"/>
                    <a:gd name="connsiteX112" fmla="*/ 599680 w 599763"/>
                    <a:gd name="connsiteY112" fmla="*/ 123119 h 354892"/>
                    <a:gd name="connsiteX113" fmla="*/ 598297 w 599763"/>
                    <a:gd name="connsiteY113" fmla="*/ 126801 h 354892"/>
                    <a:gd name="connsiteX114" fmla="*/ 585621 w 599763"/>
                    <a:gd name="connsiteY114" fmla="*/ 132325 h 354892"/>
                    <a:gd name="connsiteX115" fmla="*/ 581703 w 599763"/>
                    <a:gd name="connsiteY115" fmla="*/ 133936 h 354892"/>
                    <a:gd name="connsiteX116" fmla="*/ 563495 w 599763"/>
                    <a:gd name="connsiteY116" fmla="*/ 132785 h 354892"/>
                    <a:gd name="connsiteX117" fmla="*/ 544597 w 599763"/>
                    <a:gd name="connsiteY117" fmla="*/ 132325 h 354892"/>
                    <a:gd name="connsiteX118" fmla="*/ 548515 w 599763"/>
                    <a:gd name="connsiteY118" fmla="*/ 134856 h 354892"/>
                    <a:gd name="connsiteX119" fmla="*/ 556581 w 599763"/>
                    <a:gd name="connsiteY119" fmla="*/ 204589 h 354892"/>
                    <a:gd name="connsiteX120" fmla="*/ 558655 w 599763"/>
                    <a:gd name="connsiteY120" fmla="*/ 338530 h 354892"/>
                    <a:gd name="connsiteX121" fmla="*/ 550589 w 599763"/>
                    <a:gd name="connsiteY121" fmla="*/ 346815 h 354892"/>
                    <a:gd name="connsiteX122" fmla="*/ 299374 w 599763"/>
                    <a:gd name="connsiteY122" fmla="*/ 350727 h 354892"/>
                    <a:gd name="connsiteX123" fmla="*/ 75815 w 599763"/>
                    <a:gd name="connsiteY123" fmla="*/ 348656 h 354892"/>
                    <a:gd name="connsiteX124" fmla="*/ 67518 w 599763"/>
                    <a:gd name="connsiteY124" fmla="*/ 340371 h 354892"/>
                    <a:gd name="connsiteX125" fmla="*/ 56225 w 599763"/>
                    <a:gd name="connsiteY125" fmla="*/ 142911 h 354892"/>
                    <a:gd name="connsiteX126" fmla="*/ 14049 w 599763"/>
                    <a:gd name="connsiteY126" fmla="*/ 140840 h 354892"/>
                    <a:gd name="connsiteX127" fmla="*/ 10592 w 599763"/>
                    <a:gd name="connsiteY127" fmla="*/ 142681 h 354892"/>
                    <a:gd name="connsiteX128" fmla="*/ 1142 w 599763"/>
                    <a:gd name="connsiteY128" fmla="*/ 133245 h 354892"/>
                    <a:gd name="connsiteX129" fmla="*/ 53690 w 599763"/>
                    <a:gd name="connsiteY129" fmla="*/ 114604 h 354892"/>
                    <a:gd name="connsiteX130" fmla="*/ 154867 w 599763"/>
                    <a:gd name="connsiteY130" fmla="*/ 68806 h 354892"/>
                    <a:gd name="connsiteX131" fmla="*/ 249592 w 599763"/>
                    <a:gd name="connsiteY131" fmla="*/ 21167 h 354892"/>
                    <a:gd name="connsiteX132" fmla="*/ 306925 w 599763"/>
                    <a:gd name="connsiteY132" fmla="*/ 99 h 35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</a:cxnLst>
                  <a:rect l="l" t="t" r="r" b="b"/>
                  <a:pathLst>
                    <a:path w="599763" h="354892">
                      <a:moveTo>
                        <a:pt x="413435" y="242351"/>
                      </a:moveTo>
                      <a:cubicBezTo>
                        <a:pt x="416422" y="241202"/>
                        <a:pt x="420328" y="243731"/>
                        <a:pt x="421018" y="246720"/>
                      </a:cubicBezTo>
                      <a:cubicBezTo>
                        <a:pt x="422856" y="254766"/>
                        <a:pt x="419869" y="265341"/>
                        <a:pt x="419179" y="273388"/>
                      </a:cubicBezTo>
                      <a:cubicBezTo>
                        <a:pt x="418490" y="283043"/>
                        <a:pt x="417801" y="293159"/>
                        <a:pt x="413665" y="301895"/>
                      </a:cubicBezTo>
                      <a:cubicBezTo>
                        <a:pt x="411367" y="306263"/>
                        <a:pt x="404015" y="304194"/>
                        <a:pt x="404245" y="299366"/>
                      </a:cubicBezTo>
                      <a:cubicBezTo>
                        <a:pt x="404704" y="287411"/>
                        <a:pt x="404704" y="275457"/>
                        <a:pt x="405164" y="263502"/>
                      </a:cubicBezTo>
                      <a:cubicBezTo>
                        <a:pt x="405393" y="255456"/>
                        <a:pt x="404704" y="245800"/>
                        <a:pt x="413435" y="242351"/>
                      </a:cubicBezTo>
                      <a:close/>
                      <a:moveTo>
                        <a:pt x="107616" y="239326"/>
                      </a:moveTo>
                      <a:cubicBezTo>
                        <a:pt x="110376" y="235415"/>
                        <a:pt x="115665" y="235415"/>
                        <a:pt x="118194" y="239326"/>
                      </a:cubicBezTo>
                      <a:cubicBezTo>
                        <a:pt x="123024" y="246457"/>
                        <a:pt x="120954" y="255889"/>
                        <a:pt x="120954" y="264171"/>
                      </a:cubicBezTo>
                      <a:cubicBezTo>
                        <a:pt x="120724" y="272683"/>
                        <a:pt x="120724" y="281194"/>
                        <a:pt x="119804" y="289476"/>
                      </a:cubicBezTo>
                      <a:cubicBezTo>
                        <a:pt x="118884" y="298218"/>
                        <a:pt x="107156" y="298218"/>
                        <a:pt x="106236" y="289476"/>
                      </a:cubicBezTo>
                      <a:cubicBezTo>
                        <a:pt x="105087" y="279814"/>
                        <a:pt x="105087" y="270152"/>
                        <a:pt x="105087" y="260490"/>
                      </a:cubicBezTo>
                      <a:cubicBezTo>
                        <a:pt x="104857" y="253129"/>
                        <a:pt x="103477" y="245767"/>
                        <a:pt x="107616" y="239326"/>
                      </a:cubicBezTo>
                      <a:close/>
                      <a:moveTo>
                        <a:pt x="489266" y="239296"/>
                      </a:moveTo>
                      <a:cubicBezTo>
                        <a:pt x="489496" y="239296"/>
                        <a:pt x="489496" y="239296"/>
                        <a:pt x="489726" y="239296"/>
                      </a:cubicBezTo>
                      <a:cubicBezTo>
                        <a:pt x="489726" y="239296"/>
                        <a:pt x="489956" y="239296"/>
                        <a:pt x="489956" y="239296"/>
                      </a:cubicBezTo>
                      <a:cubicBezTo>
                        <a:pt x="491566" y="239296"/>
                        <a:pt x="493175" y="239757"/>
                        <a:pt x="494785" y="241139"/>
                      </a:cubicBezTo>
                      <a:cubicBezTo>
                        <a:pt x="499843" y="245746"/>
                        <a:pt x="497544" y="256343"/>
                        <a:pt x="497314" y="262332"/>
                      </a:cubicBezTo>
                      <a:cubicBezTo>
                        <a:pt x="497084" y="270395"/>
                        <a:pt x="498694" y="281682"/>
                        <a:pt x="495475" y="289284"/>
                      </a:cubicBezTo>
                      <a:cubicBezTo>
                        <a:pt x="493175" y="295043"/>
                        <a:pt x="486277" y="295043"/>
                        <a:pt x="483748" y="289284"/>
                      </a:cubicBezTo>
                      <a:cubicBezTo>
                        <a:pt x="480529" y="281682"/>
                        <a:pt x="482138" y="270395"/>
                        <a:pt x="481909" y="262332"/>
                      </a:cubicBezTo>
                      <a:cubicBezTo>
                        <a:pt x="481909" y="256343"/>
                        <a:pt x="479379" y="245746"/>
                        <a:pt x="484668" y="241139"/>
                      </a:cubicBezTo>
                      <a:cubicBezTo>
                        <a:pt x="486047" y="239757"/>
                        <a:pt x="487657" y="239296"/>
                        <a:pt x="489266" y="239296"/>
                      </a:cubicBezTo>
                      <a:close/>
                      <a:moveTo>
                        <a:pt x="180432" y="237494"/>
                      </a:moveTo>
                      <a:cubicBezTo>
                        <a:pt x="182736" y="233811"/>
                        <a:pt x="188495" y="233581"/>
                        <a:pt x="190798" y="237494"/>
                      </a:cubicBezTo>
                      <a:cubicBezTo>
                        <a:pt x="195636" y="245551"/>
                        <a:pt x="193102" y="255449"/>
                        <a:pt x="192871" y="264426"/>
                      </a:cubicBezTo>
                      <a:cubicBezTo>
                        <a:pt x="192641" y="273173"/>
                        <a:pt x="193793" y="282380"/>
                        <a:pt x="192180" y="290897"/>
                      </a:cubicBezTo>
                      <a:cubicBezTo>
                        <a:pt x="191489" y="295961"/>
                        <a:pt x="184579" y="295731"/>
                        <a:pt x="182275" y="292278"/>
                      </a:cubicBezTo>
                      <a:cubicBezTo>
                        <a:pt x="176977" y="284682"/>
                        <a:pt x="177207" y="273173"/>
                        <a:pt x="177207" y="264426"/>
                      </a:cubicBezTo>
                      <a:cubicBezTo>
                        <a:pt x="177207" y="255679"/>
                        <a:pt x="175595" y="245320"/>
                        <a:pt x="180432" y="237494"/>
                      </a:cubicBezTo>
                      <a:close/>
                      <a:moveTo>
                        <a:pt x="491561" y="162223"/>
                      </a:moveTo>
                      <a:cubicBezTo>
                        <a:pt x="495706" y="161533"/>
                        <a:pt x="498008" y="166366"/>
                        <a:pt x="497317" y="169588"/>
                      </a:cubicBezTo>
                      <a:cubicBezTo>
                        <a:pt x="498008" y="166366"/>
                        <a:pt x="497317" y="172810"/>
                        <a:pt x="497317" y="172810"/>
                      </a:cubicBezTo>
                      <a:cubicBezTo>
                        <a:pt x="497087" y="174421"/>
                        <a:pt x="496627" y="175802"/>
                        <a:pt x="496396" y="177413"/>
                      </a:cubicBezTo>
                      <a:cubicBezTo>
                        <a:pt x="495936" y="181785"/>
                        <a:pt x="495936" y="186388"/>
                        <a:pt x="495936" y="190761"/>
                      </a:cubicBezTo>
                      <a:cubicBezTo>
                        <a:pt x="495936" y="199506"/>
                        <a:pt x="496627" y="208251"/>
                        <a:pt x="495245" y="216536"/>
                      </a:cubicBezTo>
                      <a:cubicBezTo>
                        <a:pt x="494324" y="222290"/>
                        <a:pt x="485114" y="222060"/>
                        <a:pt x="483962" y="216536"/>
                      </a:cubicBezTo>
                      <a:cubicBezTo>
                        <a:pt x="481890" y="205260"/>
                        <a:pt x="480739" y="192832"/>
                        <a:pt x="480508" y="181325"/>
                      </a:cubicBezTo>
                      <a:cubicBezTo>
                        <a:pt x="480508" y="172580"/>
                        <a:pt x="481429" y="163374"/>
                        <a:pt x="491561" y="162223"/>
                      </a:cubicBezTo>
                      <a:close/>
                      <a:moveTo>
                        <a:pt x="107804" y="161985"/>
                      </a:moveTo>
                      <a:cubicBezTo>
                        <a:pt x="110576" y="158993"/>
                        <a:pt x="115429" y="159223"/>
                        <a:pt x="118202" y="161985"/>
                      </a:cubicBezTo>
                      <a:cubicBezTo>
                        <a:pt x="123517" y="167278"/>
                        <a:pt x="121206" y="178785"/>
                        <a:pt x="121206" y="185689"/>
                      </a:cubicBezTo>
                      <a:cubicBezTo>
                        <a:pt x="121206" y="193744"/>
                        <a:pt x="121668" y="202029"/>
                        <a:pt x="121206" y="210084"/>
                      </a:cubicBezTo>
                      <a:cubicBezTo>
                        <a:pt x="120975" y="217909"/>
                        <a:pt x="109883" y="219750"/>
                        <a:pt x="107572" y="211925"/>
                      </a:cubicBezTo>
                      <a:cubicBezTo>
                        <a:pt x="105031" y="203640"/>
                        <a:pt x="105493" y="194204"/>
                        <a:pt x="105262" y="185689"/>
                      </a:cubicBezTo>
                      <a:cubicBezTo>
                        <a:pt x="105031" y="178785"/>
                        <a:pt x="102489" y="167278"/>
                        <a:pt x="107804" y="161985"/>
                      </a:cubicBezTo>
                      <a:close/>
                      <a:moveTo>
                        <a:pt x="186439" y="161051"/>
                      </a:moveTo>
                      <a:cubicBezTo>
                        <a:pt x="190127" y="158287"/>
                        <a:pt x="194967" y="158287"/>
                        <a:pt x="197503" y="162433"/>
                      </a:cubicBezTo>
                      <a:cubicBezTo>
                        <a:pt x="201422" y="168653"/>
                        <a:pt x="198195" y="179710"/>
                        <a:pt x="197734" y="186851"/>
                      </a:cubicBezTo>
                      <a:cubicBezTo>
                        <a:pt x="197503" y="195605"/>
                        <a:pt x="197734" y="204359"/>
                        <a:pt x="197734" y="213112"/>
                      </a:cubicBezTo>
                      <a:cubicBezTo>
                        <a:pt x="197964" y="220253"/>
                        <a:pt x="187130" y="221866"/>
                        <a:pt x="185286" y="214725"/>
                      </a:cubicBezTo>
                      <a:cubicBezTo>
                        <a:pt x="182750" y="205050"/>
                        <a:pt x="182289" y="194223"/>
                        <a:pt x="182289" y="184087"/>
                      </a:cubicBezTo>
                      <a:cubicBezTo>
                        <a:pt x="182289" y="177407"/>
                        <a:pt x="180676" y="165889"/>
                        <a:pt x="186439" y="161051"/>
                      </a:cubicBezTo>
                      <a:close/>
                      <a:moveTo>
                        <a:pt x="270786" y="160616"/>
                      </a:moveTo>
                      <a:cubicBezTo>
                        <a:pt x="273319" y="160616"/>
                        <a:pt x="274932" y="161307"/>
                        <a:pt x="276544" y="162918"/>
                      </a:cubicBezTo>
                      <a:cubicBezTo>
                        <a:pt x="278617" y="164760"/>
                        <a:pt x="279538" y="168214"/>
                        <a:pt x="278847" y="170977"/>
                      </a:cubicBezTo>
                      <a:cubicBezTo>
                        <a:pt x="274010" y="185251"/>
                        <a:pt x="275853" y="200217"/>
                        <a:pt x="274701" y="215182"/>
                      </a:cubicBezTo>
                      <a:cubicBezTo>
                        <a:pt x="274010" y="223701"/>
                        <a:pt x="262034" y="223701"/>
                        <a:pt x="261343" y="215182"/>
                      </a:cubicBezTo>
                      <a:cubicBezTo>
                        <a:pt x="259731" y="199066"/>
                        <a:pt x="258580" y="182258"/>
                        <a:pt x="262956" y="166602"/>
                      </a:cubicBezTo>
                      <a:cubicBezTo>
                        <a:pt x="264107" y="163149"/>
                        <a:pt x="267331" y="160616"/>
                        <a:pt x="270786" y="160616"/>
                      </a:cubicBezTo>
                      <a:close/>
                      <a:moveTo>
                        <a:pt x="416901" y="160241"/>
                      </a:moveTo>
                      <a:cubicBezTo>
                        <a:pt x="421023" y="160241"/>
                        <a:pt x="425175" y="162829"/>
                        <a:pt x="425175" y="168006"/>
                      </a:cubicBezTo>
                      <a:cubicBezTo>
                        <a:pt x="425175" y="184113"/>
                        <a:pt x="427020" y="201370"/>
                        <a:pt x="420562" y="216326"/>
                      </a:cubicBezTo>
                      <a:cubicBezTo>
                        <a:pt x="418025" y="222078"/>
                        <a:pt x="408108" y="219317"/>
                        <a:pt x="408800" y="213104"/>
                      </a:cubicBezTo>
                      <a:cubicBezTo>
                        <a:pt x="410183" y="197918"/>
                        <a:pt x="409261" y="183192"/>
                        <a:pt x="408800" y="168006"/>
                      </a:cubicBezTo>
                      <a:cubicBezTo>
                        <a:pt x="408685" y="162829"/>
                        <a:pt x="412778" y="160241"/>
                        <a:pt x="416901" y="160241"/>
                      </a:cubicBezTo>
                      <a:close/>
                      <a:moveTo>
                        <a:pt x="346478" y="159746"/>
                      </a:moveTo>
                      <a:cubicBezTo>
                        <a:pt x="348961" y="159631"/>
                        <a:pt x="351443" y="160725"/>
                        <a:pt x="353060" y="163373"/>
                      </a:cubicBezTo>
                      <a:cubicBezTo>
                        <a:pt x="356524" y="169360"/>
                        <a:pt x="353752" y="179954"/>
                        <a:pt x="353060" y="186402"/>
                      </a:cubicBezTo>
                      <a:cubicBezTo>
                        <a:pt x="352367" y="195383"/>
                        <a:pt x="351674" y="204365"/>
                        <a:pt x="350057" y="213346"/>
                      </a:cubicBezTo>
                      <a:cubicBezTo>
                        <a:pt x="348441" y="221867"/>
                        <a:pt x="333661" y="219794"/>
                        <a:pt x="334815" y="211274"/>
                      </a:cubicBezTo>
                      <a:cubicBezTo>
                        <a:pt x="335970" y="202292"/>
                        <a:pt x="336432" y="193311"/>
                        <a:pt x="337125" y="184329"/>
                      </a:cubicBezTo>
                      <a:cubicBezTo>
                        <a:pt x="337356" y="178572"/>
                        <a:pt x="336201" y="167979"/>
                        <a:pt x="339896" y="163373"/>
                      </a:cubicBezTo>
                      <a:cubicBezTo>
                        <a:pt x="341513" y="161185"/>
                        <a:pt x="343995" y="159861"/>
                        <a:pt x="346478" y="159746"/>
                      </a:cubicBezTo>
                      <a:close/>
                      <a:moveTo>
                        <a:pt x="541601" y="132325"/>
                      </a:moveTo>
                      <a:cubicBezTo>
                        <a:pt x="530307" y="132325"/>
                        <a:pt x="519245" y="132325"/>
                        <a:pt x="508182" y="132555"/>
                      </a:cubicBezTo>
                      <a:cubicBezTo>
                        <a:pt x="465544" y="133245"/>
                        <a:pt x="423137" y="134856"/>
                        <a:pt x="380500" y="136007"/>
                      </a:cubicBezTo>
                      <a:cubicBezTo>
                        <a:pt x="339245" y="137388"/>
                        <a:pt x="298221" y="135777"/>
                        <a:pt x="256967" y="136237"/>
                      </a:cubicBezTo>
                      <a:cubicBezTo>
                        <a:pt x="214560" y="136697"/>
                        <a:pt x="172153" y="138308"/>
                        <a:pt x="129515" y="139919"/>
                      </a:cubicBezTo>
                      <a:cubicBezTo>
                        <a:pt x="109234" y="140840"/>
                        <a:pt x="88722" y="142221"/>
                        <a:pt x="67979" y="142681"/>
                      </a:cubicBezTo>
                      <a:cubicBezTo>
                        <a:pt x="71667" y="206200"/>
                        <a:pt x="79272" y="269718"/>
                        <a:pt x="83421" y="333237"/>
                      </a:cubicBezTo>
                      <a:cubicBezTo>
                        <a:pt x="144496" y="340831"/>
                        <a:pt x="205341" y="337609"/>
                        <a:pt x="266186" y="335308"/>
                      </a:cubicBezTo>
                      <a:cubicBezTo>
                        <a:pt x="259271" y="327253"/>
                        <a:pt x="260654" y="306080"/>
                        <a:pt x="260193" y="297565"/>
                      </a:cubicBezTo>
                      <a:cubicBezTo>
                        <a:pt x="258810" y="279844"/>
                        <a:pt x="258119" y="262124"/>
                        <a:pt x="258119" y="244403"/>
                      </a:cubicBezTo>
                      <a:cubicBezTo>
                        <a:pt x="257889" y="239800"/>
                        <a:pt x="261807" y="236808"/>
                        <a:pt x="265955" y="236578"/>
                      </a:cubicBezTo>
                      <a:cubicBezTo>
                        <a:pt x="290155" y="234507"/>
                        <a:pt x="314354" y="232666"/>
                        <a:pt x="338554" y="232436"/>
                      </a:cubicBezTo>
                      <a:cubicBezTo>
                        <a:pt x="342933" y="232436"/>
                        <a:pt x="346620" y="236118"/>
                        <a:pt x="346620" y="240490"/>
                      </a:cubicBezTo>
                      <a:cubicBezTo>
                        <a:pt x="346851" y="261433"/>
                        <a:pt x="347542" y="282376"/>
                        <a:pt x="347312" y="303319"/>
                      </a:cubicBezTo>
                      <a:cubicBezTo>
                        <a:pt x="347081" y="312294"/>
                        <a:pt x="348003" y="323571"/>
                        <a:pt x="346620" y="333467"/>
                      </a:cubicBezTo>
                      <a:cubicBezTo>
                        <a:pt x="411844" y="332776"/>
                        <a:pt x="477068" y="333237"/>
                        <a:pt x="542292" y="330705"/>
                      </a:cubicBezTo>
                      <a:cubicBezTo>
                        <a:pt x="542061" y="293653"/>
                        <a:pt x="540448" y="256600"/>
                        <a:pt x="540218" y="219548"/>
                      </a:cubicBezTo>
                      <a:cubicBezTo>
                        <a:pt x="540218" y="205739"/>
                        <a:pt x="539987" y="191701"/>
                        <a:pt x="539296" y="177662"/>
                      </a:cubicBezTo>
                      <a:cubicBezTo>
                        <a:pt x="539065" y="171449"/>
                        <a:pt x="540909" y="151426"/>
                        <a:pt x="536761" y="146363"/>
                      </a:cubicBezTo>
                      <a:cubicBezTo>
                        <a:pt x="532151" y="140840"/>
                        <a:pt x="536300" y="133476"/>
                        <a:pt x="541601" y="132325"/>
                      </a:cubicBezTo>
                      <a:close/>
                      <a:moveTo>
                        <a:pt x="312050" y="16565"/>
                      </a:moveTo>
                      <a:cubicBezTo>
                        <a:pt x="279322" y="16795"/>
                        <a:pt x="249822" y="41420"/>
                        <a:pt x="220782" y="54308"/>
                      </a:cubicBezTo>
                      <a:cubicBezTo>
                        <a:pt x="193817" y="66275"/>
                        <a:pt x="168004" y="81004"/>
                        <a:pt x="141500" y="94122"/>
                      </a:cubicBezTo>
                      <a:cubicBezTo>
                        <a:pt x="119836" y="105168"/>
                        <a:pt x="97710" y="115985"/>
                        <a:pt x="74663" y="124500"/>
                      </a:cubicBezTo>
                      <a:cubicBezTo>
                        <a:pt x="99093" y="123810"/>
                        <a:pt x="123754" y="123810"/>
                        <a:pt x="147723" y="122889"/>
                      </a:cubicBezTo>
                      <a:cubicBezTo>
                        <a:pt x="190130" y="121278"/>
                        <a:pt x="232767" y="119437"/>
                        <a:pt x="275174" y="119667"/>
                      </a:cubicBezTo>
                      <a:cubicBezTo>
                        <a:pt x="314815" y="119897"/>
                        <a:pt x="353765" y="120588"/>
                        <a:pt x="393406" y="119207"/>
                      </a:cubicBezTo>
                      <a:cubicBezTo>
                        <a:pt x="439040" y="117826"/>
                        <a:pt x="484443" y="115985"/>
                        <a:pt x="530077" y="115985"/>
                      </a:cubicBezTo>
                      <a:cubicBezTo>
                        <a:pt x="539526" y="115985"/>
                        <a:pt x="560499" y="113223"/>
                        <a:pt x="576863" y="115525"/>
                      </a:cubicBezTo>
                      <a:cubicBezTo>
                        <a:pt x="565339" y="108390"/>
                        <a:pt x="542292" y="101946"/>
                        <a:pt x="537452" y="100335"/>
                      </a:cubicBezTo>
                      <a:cubicBezTo>
                        <a:pt x="521319" y="95042"/>
                        <a:pt x="504955" y="90900"/>
                        <a:pt x="489053" y="84916"/>
                      </a:cubicBezTo>
                      <a:cubicBezTo>
                        <a:pt x="459321" y="73639"/>
                        <a:pt x="430051" y="61442"/>
                        <a:pt x="400551" y="49014"/>
                      </a:cubicBezTo>
                      <a:cubicBezTo>
                        <a:pt x="384418" y="42340"/>
                        <a:pt x="368515" y="35436"/>
                        <a:pt x="352152" y="28992"/>
                      </a:cubicBezTo>
                      <a:cubicBezTo>
                        <a:pt x="339937" y="24389"/>
                        <a:pt x="325417" y="16335"/>
                        <a:pt x="312050" y="16565"/>
                      </a:cubicBezTo>
                      <a:close/>
                      <a:moveTo>
                        <a:pt x="306925" y="99"/>
                      </a:moveTo>
                      <a:cubicBezTo>
                        <a:pt x="313663" y="-279"/>
                        <a:pt x="320519" y="397"/>
                        <a:pt x="327491" y="2526"/>
                      </a:cubicBezTo>
                      <a:cubicBezTo>
                        <a:pt x="392715" y="22778"/>
                        <a:pt x="452868" y="56839"/>
                        <a:pt x="518323" y="76861"/>
                      </a:cubicBezTo>
                      <a:cubicBezTo>
                        <a:pt x="535839" y="82385"/>
                        <a:pt x="602445" y="95963"/>
                        <a:pt x="599680" y="123119"/>
                      </a:cubicBezTo>
                      <a:cubicBezTo>
                        <a:pt x="599449" y="124500"/>
                        <a:pt x="598988" y="125651"/>
                        <a:pt x="598297" y="126801"/>
                      </a:cubicBezTo>
                      <a:cubicBezTo>
                        <a:pt x="601062" y="133936"/>
                        <a:pt x="590000" y="139689"/>
                        <a:pt x="585621" y="132325"/>
                      </a:cubicBezTo>
                      <a:cubicBezTo>
                        <a:pt x="588386" y="137158"/>
                        <a:pt x="588617" y="134856"/>
                        <a:pt x="581703" y="133936"/>
                      </a:cubicBezTo>
                      <a:cubicBezTo>
                        <a:pt x="575480" y="133245"/>
                        <a:pt x="569488" y="133015"/>
                        <a:pt x="563495" y="132785"/>
                      </a:cubicBezTo>
                      <a:cubicBezTo>
                        <a:pt x="557042" y="132555"/>
                        <a:pt x="550819" y="132325"/>
                        <a:pt x="544597" y="132325"/>
                      </a:cubicBezTo>
                      <a:cubicBezTo>
                        <a:pt x="545979" y="132785"/>
                        <a:pt x="547362" y="133476"/>
                        <a:pt x="548515" y="134856"/>
                      </a:cubicBezTo>
                      <a:cubicBezTo>
                        <a:pt x="561191" y="150046"/>
                        <a:pt x="556351" y="186177"/>
                        <a:pt x="556581" y="204589"/>
                      </a:cubicBezTo>
                      <a:cubicBezTo>
                        <a:pt x="557042" y="249236"/>
                        <a:pt x="558655" y="293883"/>
                        <a:pt x="558655" y="338530"/>
                      </a:cubicBezTo>
                      <a:cubicBezTo>
                        <a:pt x="558655" y="343133"/>
                        <a:pt x="554968" y="346585"/>
                        <a:pt x="550589" y="346815"/>
                      </a:cubicBezTo>
                      <a:cubicBezTo>
                        <a:pt x="466927" y="350497"/>
                        <a:pt x="382805" y="346124"/>
                        <a:pt x="299374" y="350727"/>
                      </a:cubicBezTo>
                      <a:cubicBezTo>
                        <a:pt x="224931" y="354640"/>
                        <a:pt x="149797" y="358552"/>
                        <a:pt x="75815" y="348656"/>
                      </a:cubicBezTo>
                      <a:cubicBezTo>
                        <a:pt x="70975" y="347966"/>
                        <a:pt x="67749" y="345434"/>
                        <a:pt x="67518" y="340371"/>
                      </a:cubicBezTo>
                      <a:cubicBezTo>
                        <a:pt x="63370" y="274551"/>
                        <a:pt x="54612" y="208961"/>
                        <a:pt x="56225" y="142911"/>
                      </a:cubicBezTo>
                      <a:cubicBezTo>
                        <a:pt x="42166" y="142911"/>
                        <a:pt x="27877" y="142451"/>
                        <a:pt x="14049" y="140840"/>
                      </a:cubicBezTo>
                      <a:cubicBezTo>
                        <a:pt x="12896" y="141530"/>
                        <a:pt x="11514" y="141991"/>
                        <a:pt x="10592" y="142681"/>
                      </a:cubicBezTo>
                      <a:cubicBezTo>
                        <a:pt x="5060" y="145903"/>
                        <a:pt x="-3006" y="138999"/>
                        <a:pt x="1142" y="133245"/>
                      </a:cubicBezTo>
                      <a:cubicBezTo>
                        <a:pt x="11744" y="119667"/>
                        <a:pt x="38479" y="119897"/>
                        <a:pt x="53690" y="114604"/>
                      </a:cubicBezTo>
                      <a:cubicBezTo>
                        <a:pt x="88952" y="102407"/>
                        <a:pt x="121910" y="85837"/>
                        <a:pt x="154867" y="68806"/>
                      </a:cubicBezTo>
                      <a:cubicBezTo>
                        <a:pt x="186212" y="52466"/>
                        <a:pt x="218247" y="37507"/>
                        <a:pt x="249592" y="21167"/>
                      </a:cubicBezTo>
                      <a:cubicBezTo>
                        <a:pt x="267569" y="11847"/>
                        <a:pt x="286712" y="1232"/>
                        <a:pt x="306925" y="99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26" name="文本框 125"/>
                <p:cNvSpPr txBox="1"/>
                <p:nvPr/>
              </p:nvSpPr>
              <p:spPr>
                <a:xfrm>
                  <a:off x="7480" y="14657"/>
                  <a:ext cx="1828" cy="580"/>
                </a:xfrm>
                <a:custGeom>
                  <a:avLst/>
                  <a:gdLst>
                    <a:gd name="connsiteX0" fmla="*/ 413435 w 599763"/>
                    <a:gd name="connsiteY0" fmla="*/ 242351 h 354892"/>
                    <a:gd name="connsiteX1" fmla="*/ 421018 w 599763"/>
                    <a:gd name="connsiteY1" fmla="*/ 246720 h 354892"/>
                    <a:gd name="connsiteX2" fmla="*/ 419179 w 599763"/>
                    <a:gd name="connsiteY2" fmla="*/ 273388 h 354892"/>
                    <a:gd name="connsiteX3" fmla="*/ 413665 w 599763"/>
                    <a:gd name="connsiteY3" fmla="*/ 301895 h 354892"/>
                    <a:gd name="connsiteX4" fmla="*/ 404245 w 599763"/>
                    <a:gd name="connsiteY4" fmla="*/ 299366 h 354892"/>
                    <a:gd name="connsiteX5" fmla="*/ 405164 w 599763"/>
                    <a:gd name="connsiteY5" fmla="*/ 263502 h 354892"/>
                    <a:gd name="connsiteX6" fmla="*/ 413435 w 599763"/>
                    <a:gd name="connsiteY6" fmla="*/ 242351 h 354892"/>
                    <a:gd name="connsiteX7" fmla="*/ 107616 w 599763"/>
                    <a:gd name="connsiteY7" fmla="*/ 239326 h 354892"/>
                    <a:gd name="connsiteX8" fmla="*/ 118194 w 599763"/>
                    <a:gd name="connsiteY8" fmla="*/ 239326 h 354892"/>
                    <a:gd name="connsiteX9" fmla="*/ 120954 w 599763"/>
                    <a:gd name="connsiteY9" fmla="*/ 264171 h 354892"/>
                    <a:gd name="connsiteX10" fmla="*/ 119804 w 599763"/>
                    <a:gd name="connsiteY10" fmla="*/ 289476 h 354892"/>
                    <a:gd name="connsiteX11" fmla="*/ 106236 w 599763"/>
                    <a:gd name="connsiteY11" fmla="*/ 289476 h 354892"/>
                    <a:gd name="connsiteX12" fmla="*/ 105087 w 599763"/>
                    <a:gd name="connsiteY12" fmla="*/ 260490 h 354892"/>
                    <a:gd name="connsiteX13" fmla="*/ 107616 w 599763"/>
                    <a:gd name="connsiteY13" fmla="*/ 239326 h 354892"/>
                    <a:gd name="connsiteX14" fmla="*/ 489266 w 599763"/>
                    <a:gd name="connsiteY14" fmla="*/ 239296 h 354892"/>
                    <a:gd name="connsiteX15" fmla="*/ 489726 w 599763"/>
                    <a:gd name="connsiteY15" fmla="*/ 239296 h 354892"/>
                    <a:gd name="connsiteX16" fmla="*/ 489956 w 599763"/>
                    <a:gd name="connsiteY16" fmla="*/ 239296 h 354892"/>
                    <a:gd name="connsiteX17" fmla="*/ 494785 w 599763"/>
                    <a:gd name="connsiteY17" fmla="*/ 241139 h 354892"/>
                    <a:gd name="connsiteX18" fmla="*/ 497314 w 599763"/>
                    <a:gd name="connsiteY18" fmla="*/ 262332 h 354892"/>
                    <a:gd name="connsiteX19" fmla="*/ 495475 w 599763"/>
                    <a:gd name="connsiteY19" fmla="*/ 289284 h 354892"/>
                    <a:gd name="connsiteX20" fmla="*/ 483748 w 599763"/>
                    <a:gd name="connsiteY20" fmla="*/ 289284 h 354892"/>
                    <a:gd name="connsiteX21" fmla="*/ 481909 w 599763"/>
                    <a:gd name="connsiteY21" fmla="*/ 262332 h 354892"/>
                    <a:gd name="connsiteX22" fmla="*/ 484668 w 599763"/>
                    <a:gd name="connsiteY22" fmla="*/ 241139 h 354892"/>
                    <a:gd name="connsiteX23" fmla="*/ 489266 w 599763"/>
                    <a:gd name="connsiteY23" fmla="*/ 239296 h 354892"/>
                    <a:gd name="connsiteX24" fmla="*/ 180432 w 599763"/>
                    <a:gd name="connsiteY24" fmla="*/ 237494 h 354892"/>
                    <a:gd name="connsiteX25" fmla="*/ 190798 w 599763"/>
                    <a:gd name="connsiteY25" fmla="*/ 237494 h 354892"/>
                    <a:gd name="connsiteX26" fmla="*/ 192871 w 599763"/>
                    <a:gd name="connsiteY26" fmla="*/ 264426 h 354892"/>
                    <a:gd name="connsiteX27" fmla="*/ 192180 w 599763"/>
                    <a:gd name="connsiteY27" fmla="*/ 290897 h 354892"/>
                    <a:gd name="connsiteX28" fmla="*/ 182275 w 599763"/>
                    <a:gd name="connsiteY28" fmla="*/ 292278 h 354892"/>
                    <a:gd name="connsiteX29" fmla="*/ 177207 w 599763"/>
                    <a:gd name="connsiteY29" fmla="*/ 264426 h 354892"/>
                    <a:gd name="connsiteX30" fmla="*/ 180432 w 599763"/>
                    <a:gd name="connsiteY30" fmla="*/ 237494 h 354892"/>
                    <a:gd name="connsiteX31" fmla="*/ 491561 w 599763"/>
                    <a:gd name="connsiteY31" fmla="*/ 162223 h 354892"/>
                    <a:gd name="connsiteX32" fmla="*/ 497317 w 599763"/>
                    <a:gd name="connsiteY32" fmla="*/ 169588 h 354892"/>
                    <a:gd name="connsiteX33" fmla="*/ 497317 w 599763"/>
                    <a:gd name="connsiteY33" fmla="*/ 172810 h 354892"/>
                    <a:gd name="connsiteX34" fmla="*/ 496396 w 599763"/>
                    <a:gd name="connsiteY34" fmla="*/ 177413 h 354892"/>
                    <a:gd name="connsiteX35" fmla="*/ 495936 w 599763"/>
                    <a:gd name="connsiteY35" fmla="*/ 190761 h 354892"/>
                    <a:gd name="connsiteX36" fmla="*/ 495245 w 599763"/>
                    <a:gd name="connsiteY36" fmla="*/ 216536 h 354892"/>
                    <a:gd name="connsiteX37" fmla="*/ 483962 w 599763"/>
                    <a:gd name="connsiteY37" fmla="*/ 216536 h 354892"/>
                    <a:gd name="connsiteX38" fmla="*/ 480508 w 599763"/>
                    <a:gd name="connsiteY38" fmla="*/ 181325 h 354892"/>
                    <a:gd name="connsiteX39" fmla="*/ 491561 w 599763"/>
                    <a:gd name="connsiteY39" fmla="*/ 162223 h 354892"/>
                    <a:gd name="connsiteX40" fmla="*/ 107804 w 599763"/>
                    <a:gd name="connsiteY40" fmla="*/ 161985 h 354892"/>
                    <a:gd name="connsiteX41" fmla="*/ 118202 w 599763"/>
                    <a:gd name="connsiteY41" fmla="*/ 161985 h 354892"/>
                    <a:gd name="connsiteX42" fmla="*/ 121206 w 599763"/>
                    <a:gd name="connsiteY42" fmla="*/ 185689 h 354892"/>
                    <a:gd name="connsiteX43" fmla="*/ 121206 w 599763"/>
                    <a:gd name="connsiteY43" fmla="*/ 210084 h 354892"/>
                    <a:gd name="connsiteX44" fmla="*/ 107572 w 599763"/>
                    <a:gd name="connsiteY44" fmla="*/ 211925 h 354892"/>
                    <a:gd name="connsiteX45" fmla="*/ 105262 w 599763"/>
                    <a:gd name="connsiteY45" fmla="*/ 185689 h 354892"/>
                    <a:gd name="connsiteX46" fmla="*/ 107804 w 599763"/>
                    <a:gd name="connsiteY46" fmla="*/ 161985 h 354892"/>
                    <a:gd name="connsiteX47" fmla="*/ 186439 w 599763"/>
                    <a:gd name="connsiteY47" fmla="*/ 161051 h 354892"/>
                    <a:gd name="connsiteX48" fmla="*/ 197503 w 599763"/>
                    <a:gd name="connsiteY48" fmla="*/ 162433 h 354892"/>
                    <a:gd name="connsiteX49" fmla="*/ 197734 w 599763"/>
                    <a:gd name="connsiteY49" fmla="*/ 186851 h 354892"/>
                    <a:gd name="connsiteX50" fmla="*/ 197734 w 599763"/>
                    <a:gd name="connsiteY50" fmla="*/ 213112 h 354892"/>
                    <a:gd name="connsiteX51" fmla="*/ 185286 w 599763"/>
                    <a:gd name="connsiteY51" fmla="*/ 214725 h 354892"/>
                    <a:gd name="connsiteX52" fmla="*/ 182289 w 599763"/>
                    <a:gd name="connsiteY52" fmla="*/ 184087 h 354892"/>
                    <a:gd name="connsiteX53" fmla="*/ 186439 w 599763"/>
                    <a:gd name="connsiteY53" fmla="*/ 161051 h 354892"/>
                    <a:gd name="connsiteX54" fmla="*/ 270786 w 599763"/>
                    <a:gd name="connsiteY54" fmla="*/ 160616 h 354892"/>
                    <a:gd name="connsiteX55" fmla="*/ 276544 w 599763"/>
                    <a:gd name="connsiteY55" fmla="*/ 162918 h 354892"/>
                    <a:gd name="connsiteX56" fmla="*/ 278847 w 599763"/>
                    <a:gd name="connsiteY56" fmla="*/ 170977 h 354892"/>
                    <a:gd name="connsiteX57" fmla="*/ 274701 w 599763"/>
                    <a:gd name="connsiteY57" fmla="*/ 215182 h 354892"/>
                    <a:gd name="connsiteX58" fmla="*/ 261343 w 599763"/>
                    <a:gd name="connsiteY58" fmla="*/ 215182 h 354892"/>
                    <a:gd name="connsiteX59" fmla="*/ 262956 w 599763"/>
                    <a:gd name="connsiteY59" fmla="*/ 166602 h 354892"/>
                    <a:gd name="connsiteX60" fmla="*/ 270786 w 599763"/>
                    <a:gd name="connsiteY60" fmla="*/ 160616 h 354892"/>
                    <a:gd name="connsiteX61" fmla="*/ 416901 w 599763"/>
                    <a:gd name="connsiteY61" fmla="*/ 160241 h 354892"/>
                    <a:gd name="connsiteX62" fmla="*/ 425175 w 599763"/>
                    <a:gd name="connsiteY62" fmla="*/ 168006 h 354892"/>
                    <a:gd name="connsiteX63" fmla="*/ 420562 w 599763"/>
                    <a:gd name="connsiteY63" fmla="*/ 216326 h 354892"/>
                    <a:gd name="connsiteX64" fmla="*/ 408800 w 599763"/>
                    <a:gd name="connsiteY64" fmla="*/ 213104 h 354892"/>
                    <a:gd name="connsiteX65" fmla="*/ 408800 w 599763"/>
                    <a:gd name="connsiteY65" fmla="*/ 168006 h 354892"/>
                    <a:gd name="connsiteX66" fmla="*/ 416901 w 599763"/>
                    <a:gd name="connsiteY66" fmla="*/ 160241 h 354892"/>
                    <a:gd name="connsiteX67" fmla="*/ 346478 w 599763"/>
                    <a:gd name="connsiteY67" fmla="*/ 159746 h 354892"/>
                    <a:gd name="connsiteX68" fmla="*/ 353060 w 599763"/>
                    <a:gd name="connsiteY68" fmla="*/ 163373 h 354892"/>
                    <a:gd name="connsiteX69" fmla="*/ 353060 w 599763"/>
                    <a:gd name="connsiteY69" fmla="*/ 186402 h 354892"/>
                    <a:gd name="connsiteX70" fmla="*/ 350057 w 599763"/>
                    <a:gd name="connsiteY70" fmla="*/ 213346 h 354892"/>
                    <a:gd name="connsiteX71" fmla="*/ 334815 w 599763"/>
                    <a:gd name="connsiteY71" fmla="*/ 211274 h 354892"/>
                    <a:gd name="connsiteX72" fmla="*/ 337125 w 599763"/>
                    <a:gd name="connsiteY72" fmla="*/ 184329 h 354892"/>
                    <a:gd name="connsiteX73" fmla="*/ 339896 w 599763"/>
                    <a:gd name="connsiteY73" fmla="*/ 163373 h 354892"/>
                    <a:gd name="connsiteX74" fmla="*/ 346478 w 599763"/>
                    <a:gd name="connsiteY74" fmla="*/ 159746 h 354892"/>
                    <a:gd name="connsiteX75" fmla="*/ 541601 w 599763"/>
                    <a:gd name="connsiteY75" fmla="*/ 132325 h 354892"/>
                    <a:gd name="connsiteX76" fmla="*/ 508182 w 599763"/>
                    <a:gd name="connsiteY76" fmla="*/ 132555 h 354892"/>
                    <a:gd name="connsiteX77" fmla="*/ 380500 w 599763"/>
                    <a:gd name="connsiteY77" fmla="*/ 136007 h 354892"/>
                    <a:gd name="connsiteX78" fmla="*/ 256967 w 599763"/>
                    <a:gd name="connsiteY78" fmla="*/ 136237 h 354892"/>
                    <a:gd name="connsiteX79" fmla="*/ 129515 w 599763"/>
                    <a:gd name="connsiteY79" fmla="*/ 139919 h 354892"/>
                    <a:gd name="connsiteX80" fmla="*/ 67979 w 599763"/>
                    <a:gd name="connsiteY80" fmla="*/ 142681 h 354892"/>
                    <a:gd name="connsiteX81" fmla="*/ 83421 w 599763"/>
                    <a:gd name="connsiteY81" fmla="*/ 333237 h 354892"/>
                    <a:gd name="connsiteX82" fmla="*/ 266186 w 599763"/>
                    <a:gd name="connsiteY82" fmla="*/ 335308 h 354892"/>
                    <a:gd name="connsiteX83" fmla="*/ 260193 w 599763"/>
                    <a:gd name="connsiteY83" fmla="*/ 297565 h 354892"/>
                    <a:gd name="connsiteX84" fmla="*/ 258119 w 599763"/>
                    <a:gd name="connsiteY84" fmla="*/ 244403 h 354892"/>
                    <a:gd name="connsiteX85" fmla="*/ 265955 w 599763"/>
                    <a:gd name="connsiteY85" fmla="*/ 236578 h 354892"/>
                    <a:gd name="connsiteX86" fmla="*/ 338554 w 599763"/>
                    <a:gd name="connsiteY86" fmla="*/ 232436 h 354892"/>
                    <a:gd name="connsiteX87" fmla="*/ 346620 w 599763"/>
                    <a:gd name="connsiteY87" fmla="*/ 240490 h 354892"/>
                    <a:gd name="connsiteX88" fmla="*/ 347312 w 599763"/>
                    <a:gd name="connsiteY88" fmla="*/ 303319 h 354892"/>
                    <a:gd name="connsiteX89" fmla="*/ 346620 w 599763"/>
                    <a:gd name="connsiteY89" fmla="*/ 333467 h 354892"/>
                    <a:gd name="connsiteX90" fmla="*/ 542292 w 599763"/>
                    <a:gd name="connsiteY90" fmla="*/ 330705 h 354892"/>
                    <a:gd name="connsiteX91" fmla="*/ 540218 w 599763"/>
                    <a:gd name="connsiteY91" fmla="*/ 219548 h 354892"/>
                    <a:gd name="connsiteX92" fmla="*/ 539296 w 599763"/>
                    <a:gd name="connsiteY92" fmla="*/ 177662 h 354892"/>
                    <a:gd name="connsiteX93" fmla="*/ 536761 w 599763"/>
                    <a:gd name="connsiteY93" fmla="*/ 146363 h 354892"/>
                    <a:gd name="connsiteX94" fmla="*/ 541601 w 599763"/>
                    <a:gd name="connsiteY94" fmla="*/ 132325 h 354892"/>
                    <a:gd name="connsiteX95" fmla="*/ 312050 w 599763"/>
                    <a:gd name="connsiteY95" fmla="*/ 16565 h 354892"/>
                    <a:gd name="connsiteX96" fmla="*/ 220782 w 599763"/>
                    <a:gd name="connsiteY96" fmla="*/ 54308 h 354892"/>
                    <a:gd name="connsiteX97" fmla="*/ 141500 w 599763"/>
                    <a:gd name="connsiteY97" fmla="*/ 94122 h 354892"/>
                    <a:gd name="connsiteX98" fmla="*/ 74663 w 599763"/>
                    <a:gd name="connsiteY98" fmla="*/ 124500 h 354892"/>
                    <a:gd name="connsiteX99" fmla="*/ 147723 w 599763"/>
                    <a:gd name="connsiteY99" fmla="*/ 122889 h 354892"/>
                    <a:gd name="connsiteX100" fmla="*/ 275174 w 599763"/>
                    <a:gd name="connsiteY100" fmla="*/ 119667 h 354892"/>
                    <a:gd name="connsiteX101" fmla="*/ 393406 w 599763"/>
                    <a:gd name="connsiteY101" fmla="*/ 119207 h 354892"/>
                    <a:gd name="connsiteX102" fmla="*/ 530077 w 599763"/>
                    <a:gd name="connsiteY102" fmla="*/ 115985 h 354892"/>
                    <a:gd name="connsiteX103" fmla="*/ 576863 w 599763"/>
                    <a:gd name="connsiteY103" fmla="*/ 115525 h 354892"/>
                    <a:gd name="connsiteX104" fmla="*/ 537452 w 599763"/>
                    <a:gd name="connsiteY104" fmla="*/ 100335 h 354892"/>
                    <a:gd name="connsiteX105" fmla="*/ 489053 w 599763"/>
                    <a:gd name="connsiteY105" fmla="*/ 84916 h 354892"/>
                    <a:gd name="connsiteX106" fmla="*/ 400551 w 599763"/>
                    <a:gd name="connsiteY106" fmla="*/ 49014 h 354892"/>
                    <a:gd name="connsiteX107" fmla="*/ 352152 w 599763"/>
                    <a:gd name="connsiteY107" fmla="*/ 28992 h 354892"/>
                    <a:gd name="connsiteX108" fmla="*/ 312050 w 599763"/>
                    <a:gd name="connsiteY108" fmla="*/ 16565 h 354892"/>
                    <a:gd name="connsiteX109" fmla="*/ 306925 w 599763"/>
                    <a:gd name="connsiteY109" fmla="*/ 99 h 354892"/>
                    <a:gd name="connsiteX110" fmla="*/ 327491 w 599763"/>
                    <a:gd name="connsiteY110" fmla="*/ 2526 h 354892"/>
                    <a:gd name="connsiteX111" fmla="*/ 518323 w 599763"/>
                    <a:gd name="connsiteY111" fmla="*/ 76861 h 354892"/>
                    <a:gd name="connsiteX112" fmla="*/ 599680 w 599763"/>
                    <a:gd name="connsiteY112" fmla="*/ 123119 h 354892"/>
                    <a:gd name="connsiteX113" fmla="*/ 598297 w 599763"/>
                    <a:gd name="connsiteY113" fmla="*/ 126801 h 354892"/>
                    <a:gd name="connsiteX114" fmla="*/ 585621 w 599763"/>
                    <a:gd name="connsiteY114" fmla="*/ 132325 h 354892"/>
                    <a:gd name="connsiteX115" fmla="*/ 581703 w 599763"/>
                    <a:gd name="connsiteY115" fmla="*/ 133936 h 354892"/>
                    <a:gd name="connsiteX116" fmla="*/ 563495 w 599763"/>
                    <a:gd name="connsiteY116" fmla="*/ 132785 h 354892"/>
                    <a:gd name="connsiteX117" fmla="*/ 544597 w 599763"/>
                    <a:gd name="connsiteY117" fmla="*/ 132325 h 354892"/>
                    <a:gd name="connsiteX118" fmla="*/ 548515 w 599763"/>
                    <a:gd name="connsiteY118" fmla="*/ 134856 h 354892"/>
                    <a:gd name="connsiteX119" fmla="*/ 556581 w 599763"/>
                    <a:gd name="connsiteY119" fmla="*/ 204589 h 354892"/>
                    <a:gd name="connsiteX120" fmla="*/ 558655 w 599763"/>
                    <a:gd name="connsiteY120" fmla="*/ 338530 h 354892"/>
                    <a:gd name="connsiteX121" fmla="*/ 550589 w 599763"/>
                    <a:gd name="connsiteY121" fmla="*/ 346815 h 354892"/>
                    <a:gd name="connsiteX122" fmla="*/ 299374 w 599763"/>
                    <a:gd name="connsiteY122" fmla="*/ 350727 h 354892"/>
                    <a:gd name="connsiteX123" fmla="*/ 75815 w 599763"/>
                    <a:gd name="connsiteY123" fmla="*/ 348656 h 354892"/>
                    <a:gd name="connsiteX124" fmla="*/ 67518 w 599763"/>
                    <a:gd name="connsiteY124" fmla="*/ 340371 h 354892"/>
                    <a:gd name="connsiteX125" fmla="*/ 56225 w 599763"/>
                    <a:gd name="connsiteY125" fmla="*/ 142911 h 354892"/>
                    <a:gd name="connsiteX126" fmla="*/ 14049 w 599763"/>
                    <a:gd name="connsiteY126" fmla="*/ 140840 h 354892"/>
                    <a:gd name="connsiteX127" fmla="*/ 10592 w 599763"/>
                    <a:gd name="connsiteY127" fmla="*/ 142681 h 354892"/>
                    <a:gd name="connsiteX128" fmla="*/ 1142 w 599763"/>
                    <a:gd name="connsiteY128" fmla="*/ 133245 h 354892"/>
                    <a:gd name="connsiteX129" fmla="*/ 53690 w 599763"/>
                    <a:gd name="connsiteY129" fmla="*/ 114604 h 354892"/>
                    <a:gd name="connsiteX130" fmla="*/ 154867 w 599763"/>
                    <a:gd name="connsiteY130" fmla="*/ 68806 h 354892"/>
                    <a:gd name="connsiteX131" fmla="*/ 249592 w 599763"/>
                    <a:gd name="connsiteY131" fmla="*/ 21167 h 354892"/>
                    <a:gd name="connsiteX132" fmla="*/ 306925 w 599763"/>
                    <a:gd name="connsiteY132" fmla="*/ 99 h 35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</a:cxnLst>
                  <a:rect l="l" t="t" r="r" b="b"/>
                  <a:pathLst>
                    <a:path w="599763" h="354892">
                      <a:moveTo>
                        <a:pt x="413435" y="242351"/>
                      </a:moveTo>
                      <a:cubicBezTo>
                        <a:pt x="416422" y="241202"/>
                        <a:pt x="420328" y="243731"/>
                        <a:pt x="421018" y="246720"/>
                      </a:cubicBezTo>
                      <a:cubicBezTo>
                        <a:pt x="422856" y="254766"/>
                        <a:pt x="419869" y="265341"/>
                        <a:pt x="419179" y="273388"/>
                      </a:cubicBezTo>
                      <a:cubicBezTo>
                        <a:pt x="418490" y="283043"/>
                        <a:pt x="417801" y="293159"/>
                        <a:pt x="413665" y="301895"/>
                      </a:cubicBezTo>
                      <a:cubicBezTo>
                        <a:pt x="411367" y="306263"/>
                        <a:pt x="404015" y="304194"/>
                        <a:pt x="404245" y="299366"/>
                      </a:cubicBezTo>
                      <a:cubicBezTo>
                        <a:pt x="404704" y="287411"/>
                        <a:pt x="404704" y="275457"/>
                        <a:pt x="405164" y="263502"/>
                      </a:cubicBezTo>
                      <a:cubicBezTo>
                        <a:pt x="405393" y="255456"/>
                        <a:pt x="404704" y="245800"/>
                        <a:pt x="413435" y="242351"/>
                      </a:cubicBezTo>
                      <a:close/>
                      <a:moveTo>
                        <a:pt x="107616" y="239326"/>
                      </a:moveTo>
                      <a:cubicBezTo>
                        <a:pt x="110376" y="235415"/>
                        <a:pt x="115665" y="235415"/>
                        <a:pt x="118194" y="239326"/>
                      </a:cubicBezTo>
                      <a:cubicBezTo>
                        <a:pt x="123024" y="246457"/>
                        <a:pt x="120954" y="255889"/>
                        <a:pt x="120954" y="264171"/>
                      </a:cubicBezTo>
                      <a:cubicBezTo>
                        <a:pt x="120724" y="272683"/>
                        <a:pt x="120724" y="281194"/>
                        <a:pt x="119804" y="289476"/>
                      </a:cubicBezTo>
                      <a:cubicBezTo>
                        <a:pt x="118884" y="298218"/>
                        <a:pt x="107156" y="298218"/>
                        <a:pt x="106236" y="289476"/>
                      </a:cubicBezTo>
                      <a:cubicBezTo>
                        <a:pt x="105087" y="279814"/>
                        <a:pt x="105087" y="270152"/>
                        <a:pt x="105087" y="260490"/>
                      </a:cubicBezTo>
                      <a:cubicBezTo>
                        <a:pt x="104857" y="253129"/>
                        <a:pt x="103477" y="245767"/>
                        <a:pt x="107616" y="239326"/>
                      </a:cubicBezTo>
                      <a:close/>
                      <a:moveTo>
                        <a:pt x="489266" y="239296"/>
                      </a:moveTo>
                      <a:cubicBezTo>
                        <a:pt x="489496" y="239296"/>
                        <a:pt x="489496" y="239296"/>
                        <a:pt x="489726" y="239296"/>
                      </a:cubicBezTo>
                      <a:cubicBezTo>
                        <a:pt x="489726" y="239296"/>
                        <a:pt x="489956" y="239296"/>
                        <a:pt x="489956" y="239296"/>
                      </a:cubicBezTo>
                      <a:cubicBezTo>
                        <a:pt x="491566" y="239296"/>
                        <a:pt x="493175" y="239757"/>
                        <a:pt x="494785" y="241139"/>
                      </a:cubicBezTo>
                      <a:cubicBezTo>
                        <a:pt x="499843" y="245746"/>
                        <a:pt x="497544" y="256343"/>
                        <a:pt x="497314" y="262332"/>
                      </a:cubicBezTo>
                      <a:cubicBezTo>
                        <a:pt x="497084" y="270395"/>
                        <a:pt x="498694" y="281682"/>
                        <a:pt x="495475" y="289284"/>
                      </a:cubicBezTo>
                      <a:cubicBezTo>
                        <a:pt x="493175" y="295043"/>
                        <a:pt x="486277" y="295043"/>
                        <a:pt x="483748" y="289284"/>
                      </a:cubicBezTo>
                      <a:cubicBezTo>
                        <a:pt x="480529" y="281682"/>
                        <a:pt x="482138" y="270395"/>
                        <a:pt x="481909" y="262332"/>
                      </a:cubicBezTo>
                      <a:cubicBezTo>
                        <a:pt x="481909" y="256343"/>
                        <a:pt x="479379" y="245746"/>
                        <a:pt x="484668" y="241139"/>
                      </a:cubicBezTo>
                      <a:cubicBezTo>
                        <a:pt x="486047" y="239757"/>
                        <a:pt x="487657" y="239296"/>
                        <a:pt x="489266" y="239296"/>
                      </a:cubicBezTo>
                      <a:close/>
                      <a:moveTo>
                        <a:pt x="180432" y="237494"/>
                      </a:moveTo>
                      <a:cubicBezTo>
                        <a:pt x="182736" y="233811"/>
                        <a:pt x="188495" y="233581"/>
                        <a:pt x="190798" y="237494"/>
                      </a:cubicBezTo>
                      <a:cubicBezTo>
                        <a:pt x="195636" y="245551"/>
                        <a:pt x="193102" y="255449"/>
                        <a:pt x="192871" y="264426"/>
                      </a:cubicBezTo>
                      <a:cubicBezTo>
                        <a:pt x="192641" y="273173"/>
                        <a:pt x="193793" y="282380"/>
                        <a:pt x="192180" y="290897"/>
                      </a:cubicBezTo>
                      <a:cubicBezTo>
                        <a:pt x="191489" y="295961"/>
                        <a:pt x="184579" y="295731"/>
                        <a:pt x="182275" y="292278"/>
                      </a:cubicBezTo>
                      <a:cubicBezTo>
                        <a:pt x="176977" y="284682"/>
                        <a:pt x="177207" y="273173"/>
                        <a:pt x="177207" y="264426"/>
                      </a:cubicBezTo>
                      <a:cubicBezTo>
                        <a:pt x="177207" y="255679"/>
                        <a:pt x="175595" y="245320"/>
                        <a:pt x="180432" y="237494"/>
                      </a:cubicBezTo>
                      <a:close/>
                      <a:moveTo>
                        <a:pt x="491561" y="162223"/>
                      </a:moveTo>
                      <a:cubicBezTo>
                        <a:pt x="495706" y="161533"/>
                        <a:pt x="498008" y="166366"/>
                        <a:pt x="497317" y="169588"/>
                      </a:cubicBezTo>
                      <a:cubicBezTo>
                        <a:pt x="498008" y="166366"/>
                        <a:pt x="497317" y="172810"/>
                        <a:pt x="497317" y="172810"/>
                      </a:cubicBezTo>
                      <a:cubicBezTo>
                        <a:pt x="497087" y="174421"/>
                        <a:pt x="496627" y="175802"/>
                        <a:pt x="496396" y="177413"/>
                      </a:cubicBezTo>
                      <a:cubicBezTo>
                        <a:pt x="495936" y="181785"/>
                        <a:pt x="495936" y="186388"/>
                        <a:pt x="495936" y="190761"/>
                      </a:cubicBezTo>
                      <a:cubicBezTo>
                        <a:pt x="495936" y="199506"/>
                        <a:pt x="496627" y="208251"/>
                        <a:pt x="495245" y="216536"/>
                      </a:cubicBezTo>
                      <a:cubicBezTo>
                        <a:pt x="494324" y="222290"/>
                        <a:pt x="485114" y="222060"/>
                        <a:pt x="483962" y="216536"/>
                      </a:cubicBezTo>
                      <a:cubicBezTo>
                        <a:pt x="481890" y="205260"/>
                        <a:pt x="480739" y="192832"/>
                        <a:pt x="480508" y="181325"/>
                      </a:cubicBezTo>
                      <a:cubicBezTo>
                        <a:pt x="480508" y="172580"/>
                        <a:pt x="481429" y="163374"/>
                        <a:pt x="491561" y="162223"/>
                      </a:cubicBezTo>
                      <a:close/>
                      <a:moveTo>
                        <a:pt x="107804" y="161985"/>
                      </a:moveTo>
                      <a:cubicBezTo>
                        <a:pt x="110576" y="158993"/>
                        <a:pt x="115429" y="159223"/>
                        <a:pt x="118202" y="161985"/>
                      </a:cubicBezTo>
                      <a:cubicBezTo>
                        <a:pt x="123517" y="167278"/>
                        <a:pt x="121206" y="178785"/>
                        <a:pt x="121206" y="185689"/>
                      </a:cubicBezTo>
                      <a:cubicBezTo>
                        <a:pt x="121206" y="193744"/>
                        <a:pt x="121668" y="202029"/>
                        <a:pt x="121206" y="210084"/>
                      </a:cubicBezTo>
                      <a:cubicBezTo>
                        <a:pt x="120975" y="217909"/>
                        <a:pt x="109883" y="219750"/>
                        <a:pt x="107572" y="211925"/>
                      </a:cubicBezTo>
                      <a:cubicBezTo>
                        <a:pt x="105031" y="203640"/>
                        <a:pt x="105493" y="194204"/>
                        <a:pt x="105262" y="185689"/>
                      </a:cubicBezTo>
                      <a:cubicBezTo>
                        <a:pt x="105031" y="178785"/>
                        <a:pt x="102489" y="167278"/>
                        <a:pt x="107804" y="161985"/>
                      </a:cubicBezTo>
                      <a:close/>
                      <a:moveTo>
                        <a:pt x="186439" y="161051"/>
                      </a:moveTo>
                      <a:cubicBezTo>
                        <a:pt x="190127" y="158287"/>
                        <a:pt x="194967" y="158287"/>
                        <a:pt x="197503" y="162433"/>
                      </a:cubicBezTo>
                      <a:cubicBezTo>
                        <a:pt x="201422" y="168653"/>
                        <a:pt x="198195" y="179710"/>
                        <a:pt x="197734" y="186851"/>
                      </a:cubicBezTo>
                      <a:cubicBezTo>
                        <a:pt x="197503" y="195605"/>
                        <a:pt x="197734" y="204359"/>
                        <a:pt x="197734" y="213112"/>
                      </a:cubicBezTo>
                      <a:cubicBezTo>
                        <a:pt x="197964" y="220253"/>
                        <a:pt x="187130" y="221866"/>
                        <a:pt x="185286" y="214725"/>
                      </a:cubicBezTo>
                      <a:cubicBezTo>
                        <a:pt x="182750" y="205050"/>
                        <a:pt x="182289" y="194223"/>
                        <a:pt x="182289" y="184087"/>
                      </a:cubicBezTo>
                      <a:cubicBezTo>
                        <a:pt x="182289" y="177407"/>
                        <a:pt x="180676" y="165889"/>
                        <a:pt x="186439" y="161051"/>
                      </a:cubicBezTo>
                      <a:close/>
                      <a:moveTo>
                        <a:pt x="270786" y="160616"/>
                      </a:moveTo>
                      <a:cubicBezTo>
                        <a:pt x="273319" y="160616"/>
                        <a:pt x="274932" y="161307"/>
                        <a:pt x="276544" y="162918"/>
                      </a:cubicBezTo>
                      <a:cubicBezTo>
                        <a:pt x="278617" y="164760"/>
                        <a:pt x="279538" y="168214"/>
                        <a:pt x="278847" y="170977"/>
                      </a:cubicBezTo>
                      <a:cubicBezTo>
                        <a:pt x="274010" y="185251"/>
                        <a:pt x="275853" y="200217"/>
                        <a:pt x="274701" y="215182"/>
                      </a:cubicBezTo>
                      <a:cubicBezTo>
                        <a:pt x="274010" y="223701"/>
                        <a:pt x="262034" y="223701"/>
                        <a:pt x="261343" y="215182"/>
                      </a:cubicBezTo>
                      <a:cubicBezTo>
                        <a:pt x="259731" y="199066"/>
                        <a:pt x="258580" y="182258"/>
                        <a:pt x="262956" y="166602"/>
                      </a:cubicBezTo>
                      <a:cubicBezTo>
                        <a:pt x="264107" y="163149"/>
                        <a:pt x="267331" y="160616"/>
                        <a:pt x="270786" y="160616"/>
                      </a:cubicBezTo>
                      <a:close/>
                      <a:moveTo>
                        <a:pt x="416901" y="160241"/>
                      </a:moveTo>
                      <a:cubicBezTo>
                        <a:pt x="421023" y="160241"/>
                        <a:pt x="425175" y="162829"/>
                        <a:pt x="425175" y="168006"/>
                      </a:cubicBezTo>
                      <a:cubicBezTo>
                        <a:pt x="425175" y="184113"/>
                        <a:pt x="427020" y="201370"/>
                        <a:pt x="420562" y="216326"/>
                      </a:cubicBezTo>
                      <a:cubicBezTo>
                        <a:pt x="418025" y="222078"/>
                        <a:pt x="408108" y="219317"/>
                        <a:pt x="408800" y="213104"/>
                      </a:cubicBezTo>
                      <a:cubicBezTo>
                        <a:pt x="410183" y="197918"/>
                        <a:pt x="409261" y="183192"/>
                        <a:pt x="408800" y="168006"/>
                      </a:cubicBezTo>
                      <a:cubicBezTo>
                        <a:pt x="408685" y="162829"/>
                        <a:pt x="412778" y="160241"/>
                        <a:pt x="416901" y="160241"/>
                      </a:cubicBezTo>
                      <a:close/>
                      <a:moveTo>
                        <a:pt x="346478" y="159746"/>
                      </a:moveTo>
                      <a:cubicBezTo>
                        <a:pt x="348961" y="159631"/>
                        <a:pt x="351443" y="160725"/>
                        <a:pt x="353060" y="163373"/>
                      </a:cubicBezTo>
                      <a:cubicBezTo>
                        <a:pt x="356524" y="169360"/>
                        <a:pt x="353752" y="179954"/>
                        <a:pt x="353060" y="186402"/>
                      </a:cubicBezTo>
                      <a:cubicBezTo>
                        <a:pt x="352367" y="195383"/>
                        <a:pt x="351674" y="204365"/>
                        <a:pt x="350057" y="213346"/>
                      </a:cubicBezTo>
                      <a:cubicBezTo>
                        <a:pt x="348441" y="221867"/>
                        <a:pt x="333661" y="219794"/>
                        <a:pt x="334815" y="211274"/>
                      </a:cubicBezTo>
                      <a:cubicBezTo>
                        <a:pt x="335970" y="202292"/>
                        <a:pt x="336432" y="193311"/>
                        <a:pt x="337125" y="184329"/>
                      </a:cubicBezTo>
                      <a:cubicBezTo>
                        <a:pt x="337356" y="178572"/>
                        <a:pt x="336201" y="167979"/>
                        <a:pt x="339896" y="163373"/>
                      </a:cubicBezTo>
                      <a:cubicBezTo>
                        <a:pt x="341513" y="161185"/>
                        <a:pt x="343995" y="159861"/>
                        <a:pt x="346478" y="159746"/>
                      </a:cubicBezTo>
                      <a:close/>
                      <a:moveTo>
                        <a:pt x="541601" y="132325"/>
                      </a:moveTo>
                      <a:cubicBezTo>
                        <a:pt x="530307" y="132325"/>
                        <a:pt x="519245" y="132325"/>
                        <a:pt x="508182" y="132555"/>
                      </a:cubicBezTo>
                      <a:cubicBezTo>
                        <a:pt x="465544" y="133245"/>
                        <a:pt x="423137" y="134856"/>
                        <a:pt x="380500" y="136007"/>
                      </a:cubicBezTo>
                      <a:cubicBezTo>
                        <a:pt x="339245" y="137388"/>
                        <a:pt x="298221" y="135777"/>
                        <a:pt x="256967" y="136237"/>
                      </a:cubicBezTo>
                      <a:cubicBezTo>
                        <a:pt x="214560" y="136697"/>
                        <a:pt x="172153" y="138308"/>
                        <a:pt x="129515" y="139919"/>
                      </a:cubicBezTo>
                      <a:cubicBezTo>
                        <a:pt x="109234" y="140840"/>
                        <a:pt x="88722" y="142221"/>
                        <a:pt x="67979" y="142681"/>
                      </a:cubicBezTo>
                      <a:cubicBezTo>
                        <a:pt x="71667" y="206200"/>
                        <a:pt x="79272" y="269718"/>
                        <a:pt x="83421" y="333237"/>
                      </a:cubicBezTo>
                      <a:cubicBezTo>
                        <a:pt x="144496" y="340831"/>
                        <a:pt x="205341" y="337609"/>
                        <a:pt x="266186" y="335308"/>
                      </a:cubicBezTo>
                      <a:cubicBezTo>
                        <a:pt x="259271" y="327253"/>
                        <a:pt x="260654" y="306080"/>
                        <a:pt x="260193" y="297565"/>
                      </a:cubicBezTo>
                      <a:cubicBezTo>
                        <a:pt x="258810" y="279844"/>
                        <a:pt x="258119" y="262124"/>
                        <a:pt x="258119" y="244403"/>
                      </a:cubicBezTo>
                      <a:cubicBezTo>
                        <a:pt x="257889" y="239800"/>
                        <a:pt x="261807" y="236808"/>
                        <a:pt x="265955" y="236578"/>
                      </a:cubicBezTo>
                      <a:cubicBezTo>
                        <a:pt x="290155" y="234507"/>
                        <a:pt x="314354" y="232666"/>
                        <a:pt x="338554" y="232436"/>
                      </a:cubicBezTo>
                      <a:cubicBezTo>
                        <a:pt x="342933" y="232436"/>
                        <a:pt x="346620" y="236118"/>
                        <a:pt x="346620" y="240490"/>
                      </a:cubicBezTo>
                      <a:cubicBezTo>
                        <a:pt x="346851" y="261433"/>
                        <a:pt x="347542" y="282376"/>
                        <a:pt x="347312" y="303319"/>
                      </a:cubicBezTo>
                      <a:cubicBezTo>
                        <a:pt x="347081" y="312294"/>
                        <a:pt x="348003" y="323571"/>
                        <a:pt x="346620" y="333467"/>
                      </a:cubicBezTo>
                      <a:cubicBezTo>
                        <a:pt x="411844" y="332776"/>
                        <a:pt x="477068" y="333237"/>
                        <a:pt x="542292" y="330705"/>
                      </a:cubicBezTo>
                      <a:cubicBezTo>
                        <a:pt x="542061" y="293653"/>
                        <a:pt x="540448" y="256600"/>
                        <a:pt x="540218" y="219548"/>
                      </a:cubicBezTo>
                      <a:cubicBezTo>
                        <a:pt x="540218" y="205739"/>
                        <a:pt x="539987" y="191701"/>
                        <a:pt x="539296" y="177662"/>
                      </a:cubicBezTo>
                      <a:cubicBezTo>
                        <a:pt x="539065" y="171449"/>
                        <a:pt x="540909" y="151426"/>
                        <a:pt x="536761" y="146363"/>
                      </a:cubicBezTo>
                      <a:cubicBezTo>
                        <a:pt x="532151" y="140840"/>
                        <a:pt x="536300" y="133476"/>
                        <a:pt x="541601" y="132325"/>
                      </a:cubicBezTo>
                      <a:close/>
                      <a:moveTo>
                        <a:pt x="312050" y="16565"/>
                      </a:moveTo>
                      <a:cubicBezTo>
                        <a:pt x="279322" y="16795"/>
                        <a:pt x="249822" y="41420"/>
                        <a:pt x="220782" y="54308"/>
                      </a:cubicBezTo>
                      <a:cubicBezTo>
                        <a:pt x="193817" y="66275"/>
                        <a:pt x="168004" y="81004"/>
                        <a:pt x="141500" y="94122"/>
                      </a:cubicBezTo>
                      <a:cubicBezTo>
                        <a:pt x="119836" y="105168"/>
                        <a:pt x="97710" y="115985"/>
                        <a:pt x="74663" y="124500"/>
                      </a:cubicBezTo>
                      <a:cubicBezTo>
                        <a:pt x="99093" y="123810"/>
                        <a:pt x="123754" y="123810"/>
                        <a:pt x="147723" y="122889"/>
                      </a:cubicBezTo>
                      <a:cubicBezTo>
                        <a:pt x="190130" y="121278"/>
                        <a:pt x="232767" y="119437"/>
                        <a:pt x="275174" y="119667"/>
                      </a:cubicBezTo>
                      <a:cubicBezTo>
                        <a:pt x="314815" y="119897"/>
                        <a:pt x="353765" y="120588"/>
                        <a:pt x="393406" y="119207"/>
                      </a:cubicBezTo>
                      <a:cubicBezTo>
                        <a:pt x="439040" y="117826"/>
                        <a:pt x="484443" y="115985"/>
                        <a:pt x="530077" y="115985"/>
                      </a:cubicBezTo>
                      <a:cubicBezTo>
                        <a:pt x="539526" y="115985"/>
                        <a:pt x="560499" y="113223"/>
                        <a:pt x="576863" y="115525"/>
                      </a:cubicBezTo>
                      <a:cubicBezTo>
                        <a:pt x="565339" y="108390"/>
                        <a:pt x="542292" y="101946"/>
                        <a:pt x="537452" y="100335"/>
                      </a:cubicBezTo>
                      <a:cubicBezTo>
                        <a:pt x="521319" y="95042"/>
                        <a:pt x="504955" y="90900"/>
                        <a:pt x="489053" y="84916"/>
                      </a:cubicBezTo>
                      <a:cubicBezTo>
                        <a:pt x="459321" y="73639"/>
                        <a:pt x="430051" y="61442"/>
                        <a:pt x="400551" y="49014"/>
                      </a:cubicBezTo>
                      <a:cubicBezTo>
                        <a:pt x="384418" y="42340"/>
                        <a:pt x="368515" y="35436"/>
                        <a:pt x="352152" y="28992"/>
                      </a:cubicBezTo>
                      <a:cubicBezTo>
                        <a:pt x="339937" y="24389"/>
                        <a:pt x="325417" y="16335"/>
                        <a:pt x="312050" y="16565"/>
                      </a:cubicBezTo>
                      <a:close/>
                      <a:moveTo>
                        <a:pt x="306925" y="99"/>
                      </a:moveTo>
                      <a:cubicBezTo>
                        <a:pt x="313663" y="-279"/>
                        <a:pt x="320519" y="397"/>
                        <a:pt x="327491" y="2526"/>
                      </a:cubicBezTo>
                      <a:cubicBezTo>
                        <a:pt x="392715" y="22778"/>
                        <a:pt x="452868" y="56839"/>
                        <a:pt x="518323" y="76861"/>
                      </a:cubicBezTo>
                      <a:cubicBezTo>
                        <a:pt x="535839" y="82385"/>
                        <a:pt x="602445" y="95963"/>
                        <a:pt x="599680" y="123119"/>
                      </a:cubicBezTo>
                      <a:cubicBezTo>
                        <a:pt x="599449" y="124500"/>
                        <a:pt x="598988" y="125651"/>
                        <a:pt x="598297" y="126801"/>
                      </a:cubicBezTo>
                      <a:cubicBezTo>
                        <a:pt x="601062" y="133936"/>
                        <a:pt x="590000" y="139689"/>
                        <a:pt x="585621" y="132325"/>
                      </a:cubicBezTo>
                      <a:cubicBezTo>
                        <a:pt x="588386" y="137158"/>
                        <a:pt x="588617" y="134856"/>
                        <a:pt x="581703" y="133936"/>
                      </a:cubicBezTo>
                      <a:cubicBezTo>
                        <a:pt x="575480" y="133245"/>
                        <a:pt x="569488" y="133015"/>
                        <a:pt x="563495" y="132785"/>
                      </a:cubicBezTo>
                      <a:cubicBezTo>
                        <a:pt x="557042" y="132555"/>
                        <a:pt x="550819" y="132325"/>
                        <a:pt x="544597" y="132325"/>
                      </a:cubicBezTo>
                      <a:cubicBezTo>
                        <a:pt x="545979" y="132785"/>
                        <a:pt x="547362" y="133476"/>
                        <a:pt x="548515" y="134856"/>
                      </a:cubicBezTo>
                      <a:cubicBezTo>
                        <a:pt x="561191" y="150046"/>
                        <a:pt x="556351" y="186177"/>
                        <a:pt x="556581" y="204589"/>
                      </a:cubicBezTo>
                      <a:cubicBezTo>
                        <a:pt x="557042" y="249236"/>
                        <a:pt x="558655" y="293883"/>
                        <a:pt x="558655" y="338530"/>
                      </a:cubicBezTo>
                      <a:cubicBezTo>
                        <a:pt x="558655" y="343133"/>
                        <a:pt x="554968" y="346585"/>
                        <a:pt x="550589" y="346815"/>
                      </a:cubicBezTo>
                      <a:cubicBezTo>
                        <a:pt x="466927" y="350497"/>
                        <a:pt x="382805" y="346124"/>
                        <a:pt x="299374" y="350727"/>
                      </a:cubicBezTo>
                      <a:cubicBezTo>
                        <a:pt x="224931" y="354640"/>
                        <a:pt x="149797" y="358552"/>
                        <a:pt x="75815" y="348656"/>
                      </a:cubicBezTo>
                      <a:cubicBezTo>
                        <a:pt x="70975" y="347966"/>
                        <a:pt x="67749" y="345434"/>
                        <a:pt x="67518" y="340371"/>
                      </a:cubicBezTo>
                      <a:cubicBezTo>
                        <a:pt x="63370" y="274551"/>
                        <a:pt x="54612" y="208961"/>
                        <a:pt x="56225" y="142911"/>
                      </a:cubicBezTo>
                      <a:cubicBezTo>
                        <a:pt x="42166" y="142911"/>
                        <a:pt x="27877" y="142451"/>
                        <a:pt x="14049" y="140840"/>
                      </a:cubicBezTo>
                      <a:cubicBezTo>
                        <a:pt x="12896" y="141530"/>
                        <a:pt x="11514" y="141991"/>
                        <a:pt x="10592" y="142681"/>
                      </a:cubicBezTo>
                      <a:cubicBezTo>
                        <a:pt x="5060" y="145903"/>
                        <a:pt x="-3006" y="138999"/>
                        <a:pt x="1142" y="133245"/>
                      </a:cubicBezTo>
                      <a:cubicBezTo>
                        <a:pt x="11744" y="119667"/>
                        <a:pt x="38479" y="119897"/>
                        <a:pt x="53690" y="114604"/>
                      </a:cubicBezTo>
                      <a:cubicBezTo>
                        <a:pt x="88952" y="102407"/>
                        <a:pt x="121910" y="85837"/>
                        <a:pt x="154867" y="68806"/>
                      </a:cubicBezTo>
                      <a:cubicBezTo>
                        <a:pt x="186212" y="52466"/>
                        <a:pt x="218247" y="37507"/>
                        <a:pt x="249592" y="21167"/>
                      </a:cubicBezTo>
                      <a:cubicBezTo>
                        <a:pt x="267569" y="11847"/>
                        <a:pt x="286712" y="1232"/>
                        <a:pt x="306925" y="99"/>
                      </a:cubicBezTo>
                      <a:close/>
                    </a:path>
                  </a:pathLst>
                </a:cu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en-US" altLang="zh-CN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sym typeface="+mn-ea"/>
                    </a:rPr>
                    <a:t> </a:t>
                  </a:r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sym typeface="+mn-ea"/>
                    </a:rPr>
                    <a:t>职业</a:t>
                  </a:r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sym typeface="+mn-ea"/>
                    </a:rPr>
                    <a:t>机构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endParaRPr>
                </a:p>
              </p:txBody>
            </p:sp>
          </p:grpSp>
          <p:grpSp>
            <p:nvGrpSpPr>
              <p:cNvPr id="132" name="组合 131"/>
              <p:cNvGrpSpPr/>
              <p:nvPr/>
            </p:nvGrpSpPr>
            <p:grpSpPr>
              <a:xfrm rot="0">
                <a:off x="31473" y="10527"/>
                <a:ext cx="1079" cy="1942"/>
                <a:chOff x="33328" y="15150"/>
                <a:chExt cx="1079" cy="1942"/>
              </a:xfrm>
            </p:grpSpPr>
            <p:sp>
              <p:nvSpPr>
                <p:cNvPr id="130" name="medical-specialist_56996"/>
                <p:cNvSpPr>
                  <a:spLocks noChangeAspect="1"/>
                </p:cNvSpPr>
                <p:nvPr/>
              </p:nvSpPr>
              <p:spPr bwMode="auto">
                <a:xfrm>
                  <a:off x="33328" y="15150"/>
                  <a:ext cx="1079" cy="1247"/>
                </a:xfrm>
                <a:custGeom>
                  <a:avLst/>
                  <a:gdLst>
                    <a:gd name="connsiteX0" fmla="*/ 144518 w 526488"/>
                    <a:gd name="connsiteY0" fmla="*/ 431861 h 607992"/>
                    <a:gd name="connsiteX1" fmla="*/ 162371 w 526488"/>
                    <a:gd name="connsiteY1" fmla="*/ 449714 h 607992"/>
                    <a:gd name="connsiteX2" fmla="*/ 144518 w 526488"/>
                    <a:gd name="connsiteY2" fmla="*/ 467567 h 607992"/>
                    <a:gd name="connsiteX3" fmla="*/ 126665 w 526488"/>
                    <a:gd name="connsiteY3" fmla="*/ 449714 h 607992"/>
                    <a:gd name="connsiteX4" fmla="*/ 144518 w 526488"/>
                    <a:gd name="connsiteY4" fmla="*/ 431861 h 607992"/>
                    <a:gd name="connsiteX5" fmla="*/ 167359 w 526488"/>
                    <a:gd name="connsiteY5" fmla="*/ 383734 h 607992"/>
                    <a:gd name="connsiteX6" fmla="*/ 173895 w 526488"/>
                    <a:gd name="connsiteY6" fmla="*/ 387332 h 607992"/>
                    <a:gd name="connsiteX7" fmla="*/ 246523 w 526488"/>
                    <a:gd name="connsiteY7" fmla="*/ 436242 h 607992"/>
                    <a:gd name="connsiteX8" fmla="*/ 253023 w 526488"/>
                    <a:gd name="connsiteY8" fmla="*/ 444896 h 607992"/>
                    <a:gd name="connsiteX9" fmla="*/ 253023 w 526488"/>
                    <a:gd name="connsiteY9" fmla="*/ 444990 h 607992"/>
                    <a:gd name="connsiteX10" fmla="*/ 253023 w 526488"/>
                    <a:gd name="connsiteY10" fmla="*/ 445366 h 607992"/>
                    <a:gd name="connsiteX11" fmla="*/ 253023 w 526488"/>
                    <a:gd name="connsiteY11" fmla="*/ 445460 h 607992"/>
                    <a:gd name="connsiteX12" fmla="*/ 252929 w 526488"/>
                    <a:gd name="connsiteY12" fmla="*/ 508479 h 607992"/>
                    <a:gd name="connsiteX13" fmla="*/ 204793 w 526488"/>
                    <a:gd name="connsiteY13" fmla="*/ 559740 h 607992"/>
                    <a:gd name="connsiteX14" fmla="*/ 156750 w 526488"/>
                    <a:gd name="connsiteY14" fmla="*/ 508479 h 607992"/>
                    <a:gd name="connsiteX15" fmla="*/ 156750 w 526488"/>
                    <a:gd name="connsiteY15" fmla="*/ 482331 h 607992"/>
                    <a:gd name="connsiteX16" fmla="*/ 179358 w 526488"/>
                    <a:gd name="connsiteY16" fmla="*/ 449693 h 607992"/>
                    <a:gd name="connsiteX17" fmla="*/ 144410 w 526488"/>
                    <a:gd name="connsiteY17" fmla="*/ 414797 h 607992"/>
                    <a:gd name="connsiteX18" fmla="*/ 109461 w 526488"/>
                    <a:gd name="connsiteY18" fmla="*/ 449693 h 607992"/>
                    <a:gd name="connsiteX19" fmla="*/ 133011 w 526488"/>
                    <a:gd name="connsiteY19" fmla="*/ 482613 h 607992"/>
                    <a:gd name="connsiteX20" fmla="*/ 133011 w 526488"/>
                    <a:gd name="connsiteY20" fmla="*/ 509702 h 607992"/>
                    <a:gd name="connsiteX21" fmla="*/ 204887 w 526488"/>
                    <a:gd name="connsiteY21" fmla="*/ 582032 h 607992"/>
                    <a:gd name="connsiteX22" fmla="*/ 276668 w 526488"/>
                    <a:gd name="connsiteY22" fmla="*/ 509702 h 607992"/>
                    <a:gd name="connsiteX23" fmla="*/ 276479 w 526488"/>
                    <a:gd name="connsiteY23" fmla="*/ 444990 h 607992"/>
                    <a:gd name="connsiteX24" fmla="*/ 283639 w 526488"/>
                    <a:gd name="connsiteY24" fmla="*/ 435584 h 607992"/>
                    <a:gd name="connsiteX25" fmla="*/ 352405 w 526488"/>
                    <a:gd name="connsiteY25" fmla="*/ 394292 h 607992"/>
                    <a:gd name="connsiteX26" fmla="*/ 354195 w 526488"/>
                    <a:gd name="connsiteY26" fmla="*/ 392035 h 607992"/>
                    <a:gd name="connsiteX27" fmla="*/ 371434 w 526488"/>
                    <a:gd name="connsiteY27" fmla="*/ 390060 h 607992"/>
                    <a:gd name="connsiteX28" fmla="*/ 376803 w 526488"/>
                    <a:gd name="connsiteY28" fmla="*/ 393070 h 607992"/>
                    <a:gd name="connsiteX29" fmla="*/ 428331 w 526488"/>
                    <a:gd name="connsiteY29" fmla="*/ 416866 h 607992"/>
                    <a:gd name="connsiteX30" fmla="*/ 526488 w 526488"/>
                    <a:gd name="connsiteY30" fmla="*/ 483177 h 607992"/>
                    <a:gd name="connsiteX31" fmla="*/ 526488 w 526488"/>
                    <a:gd name="connsiteY31" fmla="*/ 607992 h 607992"/>
                    <a:gd name="connsiteX32" fmla="*/ 263385 w 526488"/>
                    <a:gd name="connsiteY32" fmla="*/ 607992 h 607992"/>
                    <a:gd name="connsiteX33" fmla="*/ 263009 w 526488"/>
                    <a:gd name="connsiteY33" fmla="*/ 607992 h 607992"/>
                    <a:gd name="connsiteX34" fmla="*/ 0 w 526488"/>
                    <a:gd name="connsiteY34" fmla="*/ 607992 h 607992"/>
                    <a:gd name="connsiteX35" fmla="*/ 0 w 526488"/>
                    <a:gd name="connsiteY35" fmla="*/ 483177 h 607992"/>
                    <a:gd name="connsiteX36" fmla="*/ 98063 w 526488"/>
                    <a:gd name="connsiteY36" fmla="*/ 408683 h 607992"/>
                    <a:gd name="connsiteX37" fmla="*/ 156656 w 526488"/>
                    <a:gd name="connsiteY37" fmla="*/ 385357 h 607992"/>
                    <a:gd name="connsiteX38" fmla="*/ 167359 w 526488"/>
                    <a:gd name="connsiteY38" fmla="*/ 383734 h 607992"/>
                    <a:gd name="connsiteX39" fmla="*/ 264594 w 526488"/>
                    <a:gd name="connsiteY39" fmla="*/ 0 h 607992"/>
                    <a:gd name="connsiteX40" fmla="*/ 266949 w 526488"/>
                    <a:gd name="connsiteY40" fmla="*/ 0 h 607992"/>
                    <a:gd name="connsiteX41" fmla="*/ 269304 w 526488"/>
                    <a:gd name="connsiteY41" fmla="*/ 0 h 607992"/>
                    <a:gd name="connsiteX42" fmla="*/ 391681 w 526488"/>
                    <a:gd name="connsiteY42" fmla="*/ 104125 h 607992"/>
                    <a:gd name="connsiteX43" fmla="*/ 383767 w 526488"/>
                    <a:gd name="connsiteY43" fmla="*/ 157834 h 607992"/>
                    <a:gd name="connsiteX44" fmla="*/ 394884 w 526488"/>
                    <a:gd name="connsiteY44" fmla="*/ 183419 h 607992"/>
                    <a:gd name="connsiteX45" fmla="*/ 366339 w 526488"/>
                    <a:gd name="connsiteY45" fmla="*/ 235152 h 607992"/>
                    <a:gd name="connsiteX46" fmla="*/ 335062 w 526488"/>
                    <a:gd name="connsiteY46" fmla="*/ 296386 h 607992"/>
                    <a:gd name="connsiteX47" fmla="*/ 332989 w 526488"/>
                    <a:gd name="connsiteY47" fmla="*/ 321688 h 607992"/>
                    <a:gd name="connsiteX48" fmla="*/ 341091 w 526488"/>
                    <a:gd name="connsiteY48" fmla="*/ 358842 h 607992"/>
                    <a:gd name="connsiteX49" fmla="*/ 341939 w 526488"/>
                    <a:gd name="connsiteY49" fmla="*/ 372951 h 607992"/>
                    <a:gd name="connsiteX50" fmla="*/ 266949 w 526488"/>
                    <a:gd name="connsiteY50" fmla="*/ 416689 h 607992"/>
                    <a:gd name="connsiteX51" fmla="*/ 191959 w 526488"/>
                    <a:gd name="connsiteY51" fmla="*/ 372951 h 607992"/>
                    <a:gd name="connsiteX52" fmla="*/ 192807 w 526488"/>
                    <a:gd name="connsiteY52" fmla="*/ 358842 h 607992"/>
                    <a:gd name="connsiteX53" fmla="*/ 200909 w 526488"/>
                    <a:gd name="connsiteY53" fmla="*/ 321688 h 607992"/>
                    <a:gd name="connsiteX54" fmla="*/ 198836 w 526488"/>
                    <a:gd name="connsiteY54" fmla="*/ 296386 h 607992"/>
                    <a:gd name="connsiteX55" fmla="*/ 167559 w 526488"/>
                    <a:gd name="connsiteY55" fmla="*/ 235152 h 607992"/>
                    <a:gd name="connsiteX56" fmla="*/ 139014 w 526488"/>
                    <a:gd name="connsiteY56" fmla="*/ 183419 h 607992"/>
                    <a:gd name="connsiteX57" fmla="*/ 150131 w 526488"/>
                    <a:gd name="connsiteY57" fmla="*/ 157834 h 607992"/>
                    <a:gd name="connsiteX58" fmla="*/ 142217 w 526488"/>
                    <a:gd name="connsiteY58" fmla="*/ 104125 h 607992"/>
                    <a:gd name="connsiteX59" fmla="*/ 264594 w 526488"/>
                    <a:gd name="connsiteY59" fmla="*/ 0 h 607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526488" h="607992">
                      <a:moveTo>
                        <a:pt x="144518" y="431861"/>
                      </a:moveTo>
                      <a:cubicBezTo>
                        <a:pt x="154378" y="431861"/>
                        <a:pt x="162371" y="439854"/>
                        <a:pt x="162371" y="449714"/>
                      </a:cubicBezTo>
                      <a:cubicBezTo>
                        <a:pt x="162371" y="459574"/>
                        <a:pt x="154378" y="467567"/>
                        <a:pt x="144518" y="467567"/>
                      </a:cubicBezTo>
                      <a:cubicBezTo>
                        <a:pt x="134658" y="467567"/>
                        <a:pt x="126665" y="459574"/>
                        <a:pt x="126665" y="449714"/>
                      </a:cubicBezTo>
                      <a:cubicBezTo>
                        <a:pt x="126665" y="439854"/>
                        <a:pt x="134658" y="431861"/>
                        <a:pt x="144518" y="431861"/>
                      </a:cubicBezTo>
                      <a:close/>
                      <a:moveTo>
                        <a:pt x="167359" y="383734"/>
                      </a:moveTo>
                      <a:cubicBezTo>
                        <a:pt x="170433" y="384416"/>
                        <a:pt x="172811" y="385968"/>
                        <a:pt x="173895" y="387332"/>
                      </a:cubicBezTo>
                      <a:cubicBezTo>
                        <a:pt x="190286" y="408213"/>
                        <a:pt x="246429" y="436242"/>
                        <a:pt x="246523" y="436242"/>
                      </a:cubicBezTo>
                      <a:cubicBezTo>
                        <a:pt x="249820" y="437935"/>
                        <a:pt x="252835" y="440851"/>
                        <a:pt x="253023" y="444896"/>
                      </a:cubicBezTo>
                      <a:cubicBezTo>
                        <a:pt x="253023" y="444990"/>
                        <a:pt x="253023" y="444990"/>
                        <a:pt x="253023" y="444990"/>
                      </a:cubicBezTo>
                      <a:lnTo>
                        <a:pt x="253023" y="445366"/>
                      </a:lnTo>
                      <a:lnTo>
                        <a:pt x="253023" y="445460"/>
                      </a:lnTo>
                      <a:lnTo>
                        <a:pt x="252929" y="508479"/>
                      </a:lnTo>
                      <a:cubicBezTo>
                        <a:pt x="252929" y="536790"/>
                        <a:pt x="231357" y="559740"/>
                        <a:pt x="204793" y="559740"/>
                      </a:cubicBezTo>
                      <a:cubicBezTo>
                        <a:pt x="178322" y="559740"/>
                        <a:pt x="156750" y="536790"/>
                        <a:pt x="156750" y="508479"/>
                      </a:cubicBezTo>
                      <a:lnTo>
                        <a:pt x="156750" y="482331"/>
                      </a:lnTo>
                      <a:cubicBezTo>
                        <a:pt x="169938" y="477346"/>
                        <a:pt x="179358" y="464648"/>
                        <a:pt x="179358" y="449693"/>
                      </a:cubicBezTo>
                      <a:cubicBezTo>
                        <a:pt x="179358" y="430411"/>
                        <a:pt x="163721" y="414797"/>
                        <a:pt x="144410" y="414797"/>
                      </a:cubicBezTo>
                      <a:cubicBezTo>
                        <a:pt x="125099" y="414797"/>
                        <a:pt x="109461" y="430411"/>
                        <a:pt x="109461" y="449693"/>
                      </a:cubicBezTo>
                      <a:cubicBezTo>
                        <a:pt x="109461" y="464930"/>
                        <a:pt x="119258" y="477910"/>
                        <a:pt x="133011" y="482613"/>
                      </a:cubicBezTo>
                      <a:lnTo>
                        <a:pt x="133011" y="509702"/>
                      </a:lnTo>
                      <a:cubicBezTo>
                        <a:pt x="133011" y="549582"/>
                        <a:pt x="165228" y="582032"/>
                        <a:pt x="204887" y="582032"/>
                      </a:cubicBezTo>
                      <a:cubicBezTo>
                        <a:pt x="244451" y="582032"/>
                        <a:pt x="276668" y="549582"/>
                        <a:pt x="276668" y="509702"/>
                      </a:cubicBezTo>
                      <a:lnTo>
                        <a:pt x="276479" y="444990"/>
                      </a:lnTo>
                      <a:cubicBezTo>
                        <a:pt x="276479" y="440475"/>
                        <a:pt x="279494" y="436713"/>
                        <a:pt x="283639" y="435584"/>
                      </a:cubicBezTo>
                      <a:cubicBezTo>
                        <a:pt x="283639" y="435584"/>
                        <a:pt x="336391" y="413010"/>
                        <a:pt x="352405" y="394292"/>
                      </a:cubicBezTo>
                      <a:cubicBezTo>
                        <a:pt x="352970" y="393540"/>
                        <a:pt x="353630" y="392787"/>
                        <a:pt x="354195" y="392035"/>
                      </a:cubicBezTo>
                      <a:cubicBezTo>
                        <a:pt x="356362" y="389307"/>
                        <a:pt x="363709" y="385827"/>
                        <a:pt x="371434" y="390060"/>
                      </a:cubicBezTo>
                      <a:cubicBezTo>
                        <a:pt x="373506" y="391188"/>
                        <a:pt x="374354" y="391471"/>
                        <a:pt x="376803" y="393070"/>
                      </a:cubicBezTo>
                      <a:cubicBezTo>
                        <a:pt x="390462" y="401535"/>
                        <a:pt x="407324" y="409342"/>
                        <a:pt x="428331" y="416866"/>
                      </a:cubicBezTo>
                      <a:cubicBezTo>
                        <a:pt x="504539" y="444331"/>
                        <a:pt x="526488" y="464083"/>
                        <a:pt x="526488" y="483177"/>
                      </a:cubicBezTo>
                      <a:lnTo>
                        <a:pt x="526488" y="607992"/>
                      </a:lnTo>
                      <a:lnTo>
                        <a:pt x="263385" y="607992"/>
                      </a:lnTo>
                      <a:lnTo>
                        <a:pt x="263009" y="607992"/>
                      </a:lnTo>
                      <a:lnTo>
                        <a:pt x="0" y="607992"/>
                      </a:lnTo>
                      <a:lnTo>
                        <a:pt x="0" y="483177"/>
                      </a:lnTo>
                      <a:cubicBezTo>
                        <a:pt x="0" y="464083"/>
                        <a:pt x="21949" y="436148"/>
                        <a:pt x="98063" y="408683"/>
                      </a:cubicBezTo>
                      <a:cubicBezTo>
                        <a:pt x="122744" y="399842"/>
                        <a:pt x="142243" y="393258"/>
                        <a:pt x="156656" y="385357"/>
                      </a:cubicBezTo>
                      <a:cubicBezTo>
                        <a:pt x="160518" y="383241"/>
                        <a:pt x="164286" y="383052"/>
                        <a:pt x="167359" y="383734"/>
                      </a:cubicBezTo>
                      <a:close/>
                      <a:moveTo>
                        <a:pt x="264594" y="0"/>
                      </a:moveTo>
                      <a:lnTo>
                        <a:pt x="266949" y="0"/>
                      </a:lnTo>
                      <a:lnTo>
                        <a:pt x="269304" y="0"/>
                      </a:lnTo>
                      <a:cubicBezTo>
                        <a:pt x="374629" y="0"/>
                        <a:pt x="394413" y="75061"/>
                        <a:pt x="391681" y="104125"/>
                      </a:cubicBezTo>
                      <a:cubicBezTo>
                        <a:pt x="389420" y="127453"/>
                        <a:pt x="383767" y="157834"/>
                        <a:pt x="383767" y="157834"/>
                      </a:cubicBezTo>
                      <a:cubicBezTo>
                        <a:pt x="383767" y="157834"/>
                        <a:pt x="394884" y="162913"/>
                        <a:pt x="394884" y="183419"/>
                      </a:cubicBezTo>
                      <a:cubicBezTo>
                        <a:pt x="391022" y="234776"/>
                        <a:pt x="370484" y="212577"/>
                        <a:pt x="366339" y="235152"/>
                      </a:cubicBezTo>
                      <a:cubicBezTo>
                        <a:pt x="357954" y="279455"/>
                        <a:pt x="340997" y="281148"/>
                        <a:pt x="335062" y="296386"/>
                      </a:cubicBezTo>
                      <a:cubicBezTo>
                        <a:pt x="333743" y="299772"/>
                        <a:pt x="332989" y="316232"/>
                        <a:pt x="332989" y="321688"/>
                      </a:cubicBezTo>
                      <a:cubicBezTo>
                        <a:pt x="332989" y="339842"/>
                        <a:pt x="333931" y="349530"/>
                        <a:pt x="341091" y="358842"/>
                      </a:cubicBezTo>
                      <a:cubicBezTo>
                        <a:pt x="342693" y="360911"/>
                        <a:pt x="345425" y="367778"/>
                        <a:pt x="341939" y="372951"/>
                      </a:cubicBezTo>
                      <a:cubicBezTo>
                        <a:pt x="326112" y="396560"/>
                        <a:pt x="295588" y="416313"/>
                        <a:pt x="266949" y="416689"/>
                      </a:cubicBezTo>
                      <a:cubicBezTo>
                        <a:pt x="238310" y="416313"/>
                        <a:pt x="207786" y="396560"/>
                        <a:pt x="191959" y="372951"/>
                      </a:cubicBezTo>
                      <a:cubicBezTo>
                        <a:pt x="188473" y="367778"/>
                        <a:pt x="191206" y="360911"/>
                        <a:pt x="192807" y="358842"/>
                      </a:cubicBezTo>
                      <a:cubicBezTo>
                        <a:pt x="199967" y="349530"/>
                        <a:pt x="200909" y="339842"/>
                        <a:pt x="200909" y="321688"/>
                      </a:cubicBezTo>
                      <a:cubicBezTo>
                        <a:pt x="200909" y="316232"/>
                        <a:pt x="200155" y="299772"/>
                        <a:pt x="198836" y="296386"/>
                      </a:cubicBezTo>
                      <a:cubicBezTo>
                        <a:pt x="192901" y="281148"/>
                        <a:pt x="175944" y="279455"/>
                        <a:pt x="167559" y="235152"/>
                      </a:cubicBezTo>
                      <a:cubicBezTo>
                        <a:pt x="163414" y="212577"/>
                        <a:pt x="142877" y="234776"/>
                        <a:pt x="139014" y="183419"/>
                      </a:cubicBezTo>
                      <a:cubicBezTo>
                        <a:pt x="139014" y="162913"/>
                        <a:pt x="150131" y="157834"/>
                        <a:pt x="150131" y="157834"/>
                      </a:cubicBezTo>
                      <a:cubicBezTo>
                        <a:pt x="150131" y="157834"/>
                        <a:pt x="144478" y="127453"/>
                        <a:pt x="142217" y="104125"/>
                      </a:cubicBezTo>
                      <a:cubicBezTo>
                        <a:pt x="139485" y="75061"/>
                        <a:pt x="159269" y="0"/>
                        <a:pt x="26459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accent1">
                      <a:lumMod val="40000"/>
                      <a:lumOff val="60000"/>
                    </a:schemeClr>
                  </a:solidFill>
                </a:ln>
              </p:spPr>
            </p:sp>
            <p:sp>
              <p:nvSpPr>
                <p:cNvPr id="131" name="文本框 130"/>
                <p:cNvSpPr txBox="1"/>
                <p:nvPr/>
              </p:nvSpPr>
              <p:spPr>
                <a:xfrm>
                  <a:off x="33351" y="16512"/>
                  <a:ext cx="100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pPr algn="ctr"/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专家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sp>
            <p:nvSpPr>
              <p:cNvPr id="134" name="圆角矩形 133"/>
              <p:cNvSpPr/>
              <p:nvPr/>
            </p:nvSpPr>
            <p:spPr>
              <a:xfrm>
                <a:off x="20788" y="3386"/>
                <a:ext cx="7006" cy="5407"/>
              </a:xfrm>
              <a:prstGeom prst="round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lt1"/>
                    </a:solidFill>
                  </a14:hiddenFill>
                </a:ext>
              </a:ex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sp>
            <p:nvSpPr>
              <p:cNvPr id="135" name="圆角矩形 134"/>
              <p:cNvSpPr/>
              <p:nvPr/>
            </p:nvSpPr>
            <p:spPr>
              <a:xfrm>
                <a:off x="28436" y="3436"/>
                <a:ext cx="6567" cy="5356"/>
              </a:xfrm>
              <a:prstGeom prst="round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lt1"/>
                    </a:solidFill>
                  </a14:hiddenFill>
                </a:ext>
              </a:ex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grpSp>
            <p:nvGrpSpPr>
              <p:cNvPr id="15" name="组合 14"/>
              <p:cNvGrpSpPr/>
              <p:nvPr/>
            </p:nvGrpSpPr>
            <p:grpSpPr>
              <a:xfrm rot="0">
                <a:off x="21839" y="4803"/>
                <a:ext cx="1728" cy="1563"/>
                <a:chOff x="22855" y="7431"/>
                <a:chExt cx="1728" cy="1563"/>
              </a:xfrm>
            </p:grpSpPr>
            <p:sp>
              <p:nvSpPr>
                <p:cNvPr id="175" name="xlsx-file_317779"/>
                <p:cNvSpPr>
                  <a:spLocks noChangeAspect="1"/>
                </p:cNvSpPr>
                <p:nvPr/>
              </p:nvSpPr>
              <p:spPr bwMode="auto">
                <a:xfrm>
                  <a:off x="23354" y="7431"/>
                  <a:ext cx="801" cy="960"/>
                </a:xfrm>
                <a:custGeom>
                  <a:avLst/>
                  <a:gdLst>
                    <a:gd name="connsiteX0" fmla="*/ 278476 w 506307"/>
                    <a:gd name="connsiteY0" fmla="*/ 404480 h 606722"/>
                    <a:gd name="connsiteX1" fmla="*/ 278476 w 506307"/>
                    <a:gd name="connsiteY1" fmla="*/ 480293 h 606722"/>
                    <a:gd name="connsiteX2" fmla="*/ 354400 w 506307"/>
                    <a:gd name="connsiteY2" fmla="*/ 480293 h 606722"/>
                    <a:gd name="connsiteX3" fmla="*/ 354400 w 506307"/>
                    <a:gd name="connsiteY3" fmla="*/ 404480 h 606722"/>
                    <a:gd name="connsiteX4" fmla="*/ 151906 w 506307"/>
                    <a:gd name="connsiteY4" fmla="*/ 404480 h 606722"/>
                    <a:gd name="connsiteX5" fmla="*/ 151906 w 506307"/>
                    <a:gd name="connsiteY5" fmla="*/ 480293 h 606722"/>
                    <a:gd name="connsiteX6" fmla="*/ 227830 w 506307"/>
                    <a:gd name="connsiteY6" fmla="*/ 480293 h 606722"/>
                    <a:gd name="connsiteX7" fmla="*/ 227830 w 506307"/>
                    <a:gd name="connsiteY7" fmla="*/ 404480 h 606722"/>
                    <a:gd name="connsiteX8" fmla="*/ 278476 w 506307"/>
                    <a:gd name="connsiteY8" fmla="*/ 278097 h 606722"/>
                    <a:gd name="connsiteX9" fmla="*/ 278476 w 506307"/>
                    <a:gd name="connsiteY9" fmla="*/ 353909 h 606722"/>
                    <a:gd name="connsiteX10" fmla="*/ 354400 w 506307"/>
                    <a:gd name="connsiteY10" fmla="*/ 353909 h 606722"/>
                    <a:gd name="connsiteX11" fmla="*/ 354400 w 506307"/>
                    <a:gd name="connsiteY11" fmla="*/ 278097 h 606722"/>
                    <a:gd name="connsiteX12" fmla="*/ 151906 w 506307"/>
                    <a:gd name="connsiteY12" fmla="*/ 278097 h 606722"/>
                    <a:gd name="connsiteX13" fmla="*/ 151906 w 506307"/>
                    <a:gd name="connsiteY13" fmla="*/ 353909 h 606722"/>
                    <a:gd name="connsiteX14" fmla="*/ 227830 w 506307"/>
                    <a:gd name="connsiteY14" fmla="*/ 353909 h 606722"/>
                    <a:gd name="connsiteX15" fmla="*/ 227830 w 506307"/>
                    <a:gd name="connsiteY15" fmla="*/ 278097 h 606722"/>
                    <a:gd name="connsiteX16" fmla="*/ 151906 w 506307"/>
                    <a:gd name="connsiteY16" fmla="*/ 176954 h 606722"/>
                    <a:gd name="connsiteX17" fmla="*/ 151906 w 506307"/>
                    <a:gd name="connsiteY17" fmla="*/ 227526 h 606722"/>
                    <a:gd name="connsiteX18" fmla="*/ 354400 w 506307"/>
                    <a:gd name="connsiteY18" fmla="*/ 227526 h 606722"/>
                    <a:gd name="connsiteX19" fmla="*/ 354400 w 506307"/>
                    <a:gd name="connsiteY19" fmla="*/ 176954 h 606722"/>
                    <a:gd name="connsiteX20" fmla="*/ 101261 w 506307"/>
                    <a:gd name="connsiteY20" fmla="*/ 126383 h 606722"/>
                    <a:gd name="connsiteX21" fmla="*/ 405045 w 506307"/>
                    <a:gd name="connsiteY21" fmla="*/ 126383 h 606722"/>
                    <a:gd name="connsiteX22" fmla="*/ 405045 w 506307"/>
                    <a:gd name="connsiteY22" fmla="*/ 227526 h 606722"/>
                    <a:gd name="connsiteX23" fmla="*/ 405045 w 506307"/>
                    <a:gd name="connsiteY23" fmla="*/ 278097 h 606722"/>
                    <a:gd name="connsiteX24" fmla="*/ 405045 w 506307"/>
                    <a:gd name="connsiteY24" fmla="*/ 530864 h 606722"/>
                    <a:gd name="connsiteX25" fmla="*/ 101261 w 506307"/>
                    <a:gd name="connsiteY25" fmla="*/ 530864 h 606722"/>
                    <a:gd name="connsiteX26" fmla="*/ 101261 w 506307"/>
                    <a:gd name="connsiteY26" fmla="*/ 278097 h 606722"/>
                    <a:gd name="connsiteX27" fmla="*/ 101261 w 506307"/>
                    <a:gd name="connsiteY27" fmla="*/ 227526 h 606722"/>
                    <a:gd name="connsiteX28" fmla="*/ 50640 w 506307"/>
                    <a:gd name="connsiteY28" fmla="*/ 50567 h 606722"/>
                    <a:gd name="connsiteX29" fmla="*/ 50640 w 506307"/>
                    <a:gd name="connsiteY29" fmla="*/ 556155 h 606722"/>
                    <a:gd name="connsiteX30" fmla="*/ 455667 w 506307"/>
                    <a:gd name="connsiteY30" fmla="*/ 556155 h 606722"/>
                    <a:gd name="connsiteX31" fmla="*/ 455667 w 506307"/>
                    <a:gd name="connsiteY31" fmla="*/ 138550 h 606722"/>
                    <a:gd name="connsiteX32" fmla="*/ 345488 w 506307"/>
                    <a:gd name="connsiteY32" fmla="*/ 50567 h 606722"/>
                    <a:gd name="connsiteX33" fmla="*/ 0 w 506307"/>
                    <a:gd name="connsiteY33" fmla="*/ 0 h 606722"/>
                    <a:gd name="connsiteX34" fmla="*/ 363288 w 506307"/>
                    <a:gd name="connsiteY34" fmla="*/ 0 h 606722"/>
                    <a:gd name="connsiteX35" fmla="*/ 506307 w 506307"/>
                    <a:gd name="connsiteY35" fmla="*/ 114288 h 606722"/>
                    <a:gd name="connsiteX36" fmla="*/ 506307 w 506307"/>
                    <a:gd name="connsiteY36" fmla="*/ 606722 h 606722"/>
                    <a:gd name="connsiteX37" fmla="*/ 0 w 506307"/>
                    <a:gd name="connsiteY37" fmla="*/ 606722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06307" h="606722">
                      <a:moveTo>
                        <a:pt x="278476" y="404480"/>
                      </a:moveTo>
                      <a:lnTo>
                        <a:pt x="278476" y="480293"/>
                      </a:lnTo>
                      <a:lnTo>
                        <a:pt x="354400" y="480293"/>
                      </a:lnTo>
                      <a:lnTo>
                        <a:pt x="354400" y="404480"/>
                      </a:lnTo>
                      <a:close/>
                      <a:moveTo>
                        <a:pt x="151906" y="404480"/>
                      </a:moveTo>
                      <a:lnTo>
                        <a:pt x="151906" y="480293"/>
                      </a:lnTo>
                      <a:lnTo>
                        <a:pt x="227830" y="480293"/>
                      </a:lnTo>
                      <a:lnTo>
                        <a:pt x="227830" y="404480"/>
                      </a:lnTo>
                      <a:close/>
                      <a:moveTo>
                        <a:pt x="278476" y="278097"/>
                      </a:moveTo>
                      <a:lnTo>
                        <a:pt x="278476" y="353909"/>
                      </a:lnTo>
                      <a:lnTo>
                        <a:pt x="354400" y="353909"/>
                      </a:lnTo>
                      <a:lnTo>
                        <a:pt x="354400" y="278097"/>
                      </a:lnTo>
                      <a:close/>
                      <a:moveTo>
                        <a:pt x="151906" y="278097"/>
                      </a:moveTo>
                      <a:lnTo>
                        <a:pt x="151906" y="353909"/>
                      </a:lnTo>
                      <a:lnTo>
                        <a:pt x="227830" y="353909"/>
                      </a:lnTo>
                      <a:lnTo>
                        <a:pt x="227830" y="278097"/>
                      </a:lnTo>
                      <a:close/>
                      <a:moveTo>
                        <a:pt x="151906" y="176954"/>
                      </a:moveTo>
                      <a:lnTo>
                        <a:pt x="151906" y="227526"/>
                      </a:lnTo>
                      <a:lnTo>
                        <a:pt x="354400" y="227526"/>
                      </a:lnTo>
                      <a:lnTo>
                        <a:pt x="354400" y="176954"/>
                      </a:lnTo>
                      <a:close/>
                      <a:moveTo>
                        <a:pt x="101261" y="126383"/>
                      </a:moveTo>
                      <a:lnTo>
                        <a:pt x="405045" y="126383"/>
                      </a:lnTo>
                      <a:lnTo>
                        <a:pt x="405045" y="227526"/>
                      </a:lnTo>
                      <a:lnTo>
                        <a:pt x="405045" y="278097"/>
                      </a:lnTo>
                      <a:lnTo>
                        <a:pt x="405045" y="530864"/>
                      </a:lnTo>
                      <a:lnTo>
                        <a:pt x="101261" y="530864"/>
                      </a:lnTo>
                      <a:lnTo>
                        <a:pt x="101261" y="278097"/>
                      </a:lnTo>
                      <a:lnTo>
                        <a:pt x="101261" y="227526"/>
                      </a:lnTo>
                      <a:close/>
                      <a:moveTo>
                        <a:pt x="50640" y="50567"/>
                      </a:moveTo>
                      <a:lnTo>
                        <a:pt x="50640" y="556155"/>
                      </a:lnTo>
                      <a:lnTo>
                        <a:pt x="455667" y="556155"/>
                      </a:lnTo>
                      <a:lnTo>
                        <a:pt x="455667" y="138550"/>
                      </a:lnTo>
                      <a:lnTo>
                        <a:pt x="345488" y="50567"/>
                      </a:lnTo>
                      <a:close/>
                      <a:moveTo>
                        <a:pt x="0" y="0"/>
                      </a:moveTo>
                      <a:lnTo>
                        <a:pt x="363288" y="0"/>
                      </a:lnTo>
                      <a:lnTo>
                        <a:pt x="506307" y="114288"/>
                      </a:lnTo>
                      <a:lnTo>
                        <a:pt x="506307" y="606722"/>
                      </a:lnTo>
                      <a:lnTo>
                        <a:pt x="0" y="606722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76" name="文本框 175"/>
                <p:cNvSpPr txBox="1"/>
                <p:nvPr/>
              </p:nvSpPr>
              <p:spPr>
                <a:xfrm>
                  <a:off x="22855" y="8414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认证单元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sp>
            <p:nvSpPr>
              <p:cNvPr id="13" name="矩形 12"/>
              <p:cNvSpPr/>
              <p:nvPr/>
            </p:nvSpPr>
            <p:spPr>
              <a:xfrm>
                <a:off x="21696" y="8988"/>
                <a:ext cx="5103" cy="61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r>
                  <a:rPr lang="zh-CN" altLang="en-US" sz="2400"/>
                  <a:t>建立认证标准体系</a:t>
                </a:r>
                <a:endParaRPr lang="zh-CN" altLang="en-US" sz="2400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29130" y="8988"/>
                <a:ext cx="5103" cy="61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r>
                  <a:rPr lang="zh-CN" altLang="en-US" sz="2400"/>
                  <a:t>建立转换规则体系</a:t>
                </a:r>
                <a:endParaRPr lang="zh-CN" altLang="en-US" sz="2400"/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21351" y="3631"/>
                <a:ext cx="3408" cy="580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p>
                <a:pPr algn="ctr"/>
                <a:r>
                  <a: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专业</a:t>
                </a:r>
                <a:r>
                  <a:rPr lang="en-US" altLang="zh-CN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A</a:t>
                </a:r>
                <a:r>
                  <a: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认证标准体系</a:t>
                </a:r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endParaRPr>
              </a:p>
            </p:txBody>
          </p:sp>
          <p:sp>
            <p:nvSpPr>
              <p:cNvPr id="48" name="文本框 47"/>
              <p:cNvSpPr txBox="1"/>
              <p:nvPr/>
            </p:nvSpPr>
            <p:spPr>
              <a:xfrm>
                <a:off x="29144" y="3671"/>
                <a:ext cx="3408" cy="580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p>
                <a:pPr algn="ctr"/>
                <a:r>
                  <a: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专业</a:t>
                </a:r>
                <a:r>
                  <a:rPr lang="en-US" altLang="zh-CN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A</a:t>
                </a:r>
                <a:r>
                  <a: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转换规则体系</a:t>
                </a:r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endParaRPr>
              </a:p>
            </p:txBody>
          </p:sp>
          <p:grpSp>
            <p:nvGrpSpPr>
              <p:cNvPr id="61" name="组合 60"/>
              <p:cNvGrpSpPr/>
              <p:nvPr/>
            </p:nvGrpSpPr>
            <p:grpSpPr>
              <a:xfrm rot="0">
                <a:off x="24554" y="4796"/>
                <a:ext cx="1728" cy="1563"/>
                <a:chOff x="22855" y="7431"/>
                <a:chExt cx="1728" cy="1563"/>
              </a:xfrm>
            </p:grpSpPr>
            <p:sp>
              <p:nvSpPr>
                <p:cNvPr id="66" name="xlsx-file_317779"/>
                <p:cNvSpPr>
                  <a:spLocks noChangeAspect="1"/>
                </p:cNvSpPr>
                <p:nvPr/>
              </p:nvSpPr>
              <p:spPr bwMode="auto">
                <a:xfrm>
                  <a:off x="23354" y="7431"/>
                  <a:ext cx="801" cy="960"/>
                </a:xfrm>
                <a:custGeom>
                  <a:avLst/>
                  <a:gdLst>
                    <a:gd name="connsiteX0" fmla="*/ 278476 w 506307"/>
                    <a:gd name="connsiteY0" fmla="*/ 404480 h 606722"/>
                    <a:gd name="connsiteX1" fmla="*/ 278476 w 506307"/>
                    <a:gd name="connsiteY1" fmla="*/ 480293 h 606722"/>
                    <a:gd name="connsiteX2" fmla="*/ 354400 w 506307"/>
                    <a:gd name="connsiteY2" fmla="*/ 480293 h 606722"/>
                    <a:gd name="connsiteX3" fmla="*/ 354400 w 506307"/>
                    <a:gd name="connsiteY3" fmla="*/ 404480 h 606722"/>
                    <a:gd name="connsiteX4" fmla="*/ 151906 w 506307"/>
                    <a:gd name="connsiteY4" fmla="*/ 404480 h 606722"/>
                    <a:gd name="connsiteX5" fmla="*/ 151906 w 506307"/>
                    <a:gd name="connsiteY5" fmla="*/ 480293 h 606722"/>
                    <a:gd name="connsiteX6" fmla="*/ 227830 w 506307"/>
                    <a:gd name="connsiteY6" fmla="*/ 480293 h 606722"/>
                    <a:gd name="connsiteX7" fmla="*/ 227830 w 506307"/>
                    <a:gd name="connsiteY7" fmla="*/ 404480 h 606722"/>
                    <a:gd name="connsiteX8" fmla="*/ 278476 w 506307"/>
                    <a:gd name="connsiteY8" fmla="*/ 278097 h 606722"/>
                    <a:gd name="connsiteX9" fmla="*/ 278476 w 506307"/>
                    <a:gd name="connsiteY9" fmla="*/ 353909 h 606722"/>
                    <a:gd name="connsiteX10" fmla="*/ 354400 w 506307"/>
                    <a:gd name="connsiteY10" fmla="*/ 353909 h 606722"/>
                    <a:gd name="connsiteX11" fmla="*/ 354400 w 506307"/>
                    <a:gd name="connsiteY11" fmla="*/ 278097 h 606722"/>
                    <a:gd name="connsiteX12" fmla="*/ 151906 w 506307"/>
                    <a:gd name="connsiteY12" fmla="*/ 278097 h 606722"/>
                    <a:gd name="connsiteX13" fmla="*/ 151906 w 506307"/>
                    <a:gd name="connsiteY13" fmla="*/ 353909 h 606722"/>
                    <a:gd name="connsiteX14" fmla="*/ 227830 w 506307"/>
                    <a:gd name="connsiteY14" fmla="*/ 353909 h 606722"/>
                    <a:gd name="connsiteX15" fmla="*/ 227830 w 506307"/>
                    <a:gd name="connsiteY15" fmla="*/ 278097 h 606722"/>
                    <a:gd name="connsiteX16" fmla="*/ 151906 w 506307"/>
                    <a:gd name="connsiteY16" fmla="*/ 176954 h 606722"/>
                    <a:gd name="connsiteX17" fmla="*/ 151906 w 506307"/>
                    <a:gd name="connsiteY17" fmla="*/ 227526 h 606722"/>
                    <a:gd name="connsiteX18" fmla="*/ 354400 w 506307"/>
                    <a:gd name="connsiteY18" fmla="*/ 227526 h 606722"/>
                    <a:gd name="connsiteX19" fmla="*/ 354400 w 506307"/>
                    <a:gd name="connsiteY19" fmla="*/ 176954 h 606722"/>
                    <a:gd name="connsiteX20" fmla="*/ 101261 w 506307"/>
                    <a:gd name="connsiteY20" fmla="*/ 126383 h 606722"/>
                    <a:gd name="connsiteX21" fmla="*/ 405045 w 506307"/>
                    <a:gd name="connsiteY21" fmla="*/ 126383 h 606722"/>
                    <a:gd name="connsiteX22" fmla="*/ 405045 w 506307"/>
                    <a:gd name="connsiteY22" fmla="*/ 227526 h 606722"/>
                    <a:gd name="connsiteX23" fmla="*/ 405045 w 506307"/>
                    <a:gd name="connsiteY23" fmla="*/ 278097 h 606722"/>
                    <a:gd name="connsiteX24" fmla="*/ 405045 w 506307"/>
                    <a:gd name="connsiteY24" fmla="*/ 530864 h 606722"/>
                    <a:gd name="connsiteX25" fmla="*/ 101261 w 506307"/>
                    <a:gd name="connsiteY25" fmla="*/ 530864 h 606722"/>
                    <a:gd name="connsiteX26" fmla="*/ 101261 w 506307"/>
                    <a:gd name="connsiteY26" fmla="*/ 278097 h 606722"/>
                    <a:gd name="connsiteX27" fmla="*/ 101261 w 506307"/>
                    <a:gd name="connsiteY27" fmla="*/ 227526 h 606722"/>
                    <a:gd name="connsiteX28" fmla="*/ 50640 w 506307"/>
                    <a:gd name="connsiteY28" fmla="*/ 50567 h 606722"/>
                    <a:gd name="connsiteX29" fmla="*/ 50640 w 506307"/>
                    <a:gd name="connsiteY29" fmla="*/ 556155 h 606722"/>
                    <a:gd name="connsiteX30" fmla="*/ 455667 w 506307"/>
                    <a:gd name="connsiteY30" fmla="*/ 556155 h 606722"/>
                    <a:gd name="connsiteX31" fmla="*/ 455667 w 506307"/>
                    <a:gd name="connsiteY31" fmla="*/ 138550 h 606722"/>
                    <a:gd name="connsiteX32" fmla="*/ 345488 w 506307"/>
                    <a:gd name="connsiteY32" fmla="*/ 50567 h 606722"/>
                    <a:gd name="connsiteX33" fmla="*/ 0 w 506307"/>
                    <a:gd name="connsiteY33" fmla="*/ 0 h 606722"/>
                    <a:gd name="connsiteX34" fmla="*/ 363288 w 506307"/>
                    <a:gd name="connsiteY34" fmla="*/ 0 h 606722"/>
                    <a:gd name="connsiteX35" fmla="*/ 506307 w 506307"/>
                    <a:gd name="connsiteY35" fmla="*/ 114288 h 606722"/>
                    <a:gd name="connsiteX36" fmla="*/ 506307 w 506307"/>
                    <a:gd name="connsiteY36" fmla="*/ 606722 h 606722"/>
                    <a:gd name="connsiteX37" fmla="*/ 0 w 506307"/>
                    <a:gd name="connsiteY37" fmla="*/ 606722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06307" h="606722">
                      <a:moveTo>
                        <a:pt x="278476" y="404480"/>
                      </a:moveTo>
                      <a:lnTo>
                        <a:pt x="278476" y="480293"/>
                      </a:lnTo>
                      <a:lnTo>
                        <a:pt x="354400" y="480293"/>
                      </a:lnTo>
                      <a:lnTo>
                        <a:pt x="354400" y="404480"/>
                      </a:lnTo>
                      <a:close/>
                      <a:moveTo>
                        <a:pt x="151906" y="404480"/>
                      </a:moveTo>
                      <a:lnTo>
                        <a:pt x="151906" y="480293"/>
                      </a:lnTo>
                      <a:lnTo>
                        <a:pt x="227830" y="480293"/>
                      </a:lnTo>
                      <a:lnTo>
                        <a:pt x="227830" y="404480"/>
                      </a:lnTo>
                      <a:close/>
                      <a:moveTo>
                        <a:pt x="278476" y="278097"/>
                      </a:moveTo>
                      <a:lnTo>
                        <a:pt x="278476" y="353909"/>
                      </a:lnTo>
                      <a:lnTo>
                        <a:pt x="354400" y="353909"/>
                      </a:lnTo>
                      <a:lnTo>
                        <a:pt x="354400" y="278097"/>
                      </a:lnTo>
                      <a:close/>
                      <a:moveTo>
                        <a:pt x="151906" y="278097"/>
                      </a:moveTo>
                      <a:lnTo>
                        <a:pt x="151906" y="353909"/>
                      </a:lnTo>
                      <a:lnTo>
                        <a:pt x="227830" y="353909"/>
                      </a:lnTo>
                      <a:lnTo>
                        <a:pt x="227830" y="278097"/>
                      </a:lnTo>
                      <a:close/>
                      <a:moveTo>
                        <a:pt x="151906" y="176954"/>
                      </a:moveTo>
                      <a:lnTo>
                        <a:pt x="151906" y="227526"/>
                      </a:lnTo>
                      <a:lnTo>
                        <a:pt x="354400" y="227526"/>
                      </a:lnTo>
                      <a:lnTo>
                        <a:pt x="354400" y="176954"/>
                      </a:lnTo>
                      <a:close/>
                      <a:moveTo>
                        <a:pt x="101261" y="126383"/>
                      </a:moveTo>
                      <a:lnTo>
                        <a:pt x="405045" y="126383"/>
                      </a:lnTo>
                      <a:lnTo>
                        <a:pt x="405045" y="227526"/>
                      </a:lnTo>
                      <a:lnTo>
                        <a:pt x="405045" y="278097"/>
                      </a:lnTo>
                      <a:lnTo>
                        <a:pt x="405045" y="530864"/>
                      </a:lnTo>
                      <a:lnTo>
                        <a:pt x="101261" y="530864"/>
                      </a:lnTo>
                      <a:lnTo>
                        <a:pt x="101261" y="278097"/>
                      </a:lnTo>
                      <a:lnTo>
                        <a:pt x="101261" y="227526"/>
                      </a:lnTo>
                      <a:close/>
                      <a:moveTo>
                        <a:pt x="50640" y="50567"/>
                      </a:moveTo>
                      <a:lnTo>
                        <a:pt x="50640" y="556155"/>
                      </a:lnTo>
                      <a:lnTo>
                        <a:pt x="455667" y="556155"/>
                      </a:lnTo>
                      <a:lnTo>
                        <a:pt x="455667" y="138550"/>
                      </a:lnTo>
                      <a:lnTo>
                        <a:pt x="345488" y="50567"/>
                      </a:lnTo>
                      <a:close/>
                      <a:moveTo>
                        <a:pt x="0" y="0"/>
                      </a:moveTo>
                      <a:lnTo>
                        <a:pt x="363288" y="0"/>
                      </a:lnTo>
                      <a:lnTo>
                        <a:pt x="506307" y="114288"/>
                      </a:lnTo>
                      <a:lnTo>
                        <a:pt x="506307" y="606722"/>
                      </a:lnTo>
                      <a:lnTo>
                        <a:pt x="0" y="606722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67" name="文本框 66"/>
                <p:cNvSpPr txBox="1"/>
                <p:nvPr/>
              </p:nvSpPr>
              <p:spPr>
                <a:xfrm>
                  <a:off x="22855" y="8414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认证单元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68" name="组合 67"/>
              <p:cNvGrpSpPr/>
              <p:nvPr/>
            </p:nvGrpSpPr>
            <p:grpSpPr>
              <a:xfrm rot="0">
                <a:off x="21804" y="6923"/>
                <a:ext cx="1728" cy="1563"/>
                <a:chOff x="22855" y="7431"/>
                <a:chExt cx="1728" cy="1563"/>
              </a:xfrm>
            </p:grpSpPr>
            <p:sp>
              <p:nvSpPr>
                <p:cNvPr id="69" name="xlsx-file_317779"/>
                <p:cNvSpPr>
                  <a:spLocks noChangeAspect="1"/>
                </p:cNvSpPr>
                <p:nvPr/>
              </p:nvSpPr>
              <p:spPr bwMode="auto">
                <a:xfrm>
                  <a:off x="23354" y="7431"/>
                  <a:ext cx="801" cy="960"/>
                </a:xfrm>
                <a:custGeom>
                  <a:avLst/>
                  <a:gdLst>
                    <a:gd name="connsiteX0" fmla="*/ 278476 w 506307"/>
                    <a:gd name="connsiteY0" fmla="*/ 404480 h 606722"/>
                    <a:gd name="connsiteX1" fmla="*/ 278476 w 506307"/>
                    <a:gd name="connsiteY1" fmla="*/ 480293 h 606722"/>
                    <a:gd name="connsiteX2" fmla="*/ 354400 w 506307"/>
                    <a:gd name="connsiteY2" fmla="*/ 480293 h 606722"/>
                    <a:gd name="connsiteX3" fmla="*/ 354400 w 506307"/>
                    <a:gd name="connsiteY3" fmla="*/ 404480 h 606722"/>
                    <a:gd name="connsiteX4" fmla="*/ 151906 w 506307"/>
                    <a:gd name="connsiteY4" fmla="*/ 404480 h 606722"/>
                    <a:gd name="connsiteX5" fmla="*/ 151906 w 506307"/>
                    <a:gd name="connsiteY5" fmla="*/ 480293 h 606722"/>
                    <a:gd name="connsiteX6" fmla="*/ 227830 w 506307"/>
                    <a:gd name="connsiteY6" fmla="*/ 480293 h 606722"/>
                    <a:gd name="connsiteX7" fmla="*/ 227830 w 506307"/>
                    <a:gd name="connsiteY7" fmla="*/ 404480 h 606722"/>
                    <a:gd name="connsiteX8" fmla="*/ 278476 w 506307"/>
                    <a:gd name="connsiteY8" fmla="*/ 278097 h 606722"/>
                    <a:gd name="connsiteX9" fmla="*/ 278476 w 506307"/>
                    <a:gd name="connsiteY9" fmla="*/ 353909 h 606722"/>
                    <a:gd name="connsiteX10" fmla="*/ 354400 w 506307"/>
                    <a:gd name="connsiteY10" fmla="*/ 353909 h 606722"/>
                    <a:gd name="connsiteX11" fmla="*/ 354400 w 506307"/>
                    <a:gd name="connsiteY11" fmla="*/ 278097 h 606722"/>
                    <a:gd name="connsiteX12" fmla="*/ 151906 w 506307"/>
                    <a:gd name="connsiteY12" fmla="*/ 278097 h 606722"/>
                    <a:gd name="connsiteX13" fmla="*/ 151906 w 506307"/>
                    <a:gd name="connsiteY13" fmla="*/ 353909 h 606722"/>
                    <a:gd name="connsiteX14" fmla="*/ 227830 w 506307"/>
                    <a:gd name="connsiteY14" fmla="*/ 353909 h 606722"/>
                    <a:gd name="connsiteX15" fmla="*/ 227830 w 506307"/>
                    <a:gd name="connsiteY15" fmla="*/ 278097 h 606722"/>
                    <a:gd name="connsiteX16" fmla="*/ 151906 w 506307"/>
                    <a:gd name="connsiteY16" fmla="*/ 176954 h 606722"/>
                    <a:gd name="connsiteX17" fmla="*/ 151906 w 506307"/>
                    <a:gd name="connsiteY17" fmla="*/ 227526 h 606722"/>
                    <a:gd name="connsiteX18" fmla="*/ 354400 w 506307"/>
                    <a:gd name="connsiteY18" fmla="*/ 227526 h 606722"/>
                    <a:gd name="connsiteX19" fmla="*/ 354400 w 506307"/>
                    <a:gd name="connsiteY19" fmla="*/ 176954 h 606722"/>
                    <a:gd name="connsiteX20" fmla="*/ 101261 w 506307"/>
                    <a:gd name="connsiteY20" fmla="*/ 126383 h 606722"/>
                    <a:gd name="connsiteX21" fmla="*/ 405045 w 506307"/>
                    <a:gd name="connsiteY21" fmla="*/ 126383 h 606722"/>
                    <a:gd name="connsiteX22" fmla="*/ 405045 w 506307"/>
                    <a:gd name="connsiteY22" fmla="*/ 227526 h 606722"/>
                    <a:gd name="connsiteX23" fmla="*/ 405045 w 506307"/>
                    <a:gd name="connsiteY23" fmla="*/ 278097 h 606722"/>
                    <a:gd name="connsiteX24" fmla="*/ 405045 w 506307"/>
                    <a:gd name="connsiteY24" fmla="*/ 530864 h 606722"/>
                    <a:gd name="connsiteX25" fmla="*/ 101261 w 506307"/>
                    <a:gd name="connsiteY25" fmla="*/ 530864 h 606722"/>
                    <a:gd name="connsiteX26" fmla="*/ 101261 w 506307"/>
                    <a:gd name="connsiteY26" fmla="*/ 278097 h 606722"/>
                    <a:gd name="connsiteX27" fmla="*/ 101261 w 506307"/>
                    <a:gd name="connsiteY27" fmla="*/ 227526 h 606722"/>
                    <a:gd name="connsiteX28" fmla="*/ 50640 w 506307"/>
                    <a:gd name="connsiteY28" fmla="*/ 50567 h 606722"/>
                    <a:gd name="connsiteX29" fmla="*/ 50640 w 506307"/>
                    <a:gd name="connsiteY29" fmla="*/ 556155 h 606722"/>
                    <a:gd name="connsiteX30" fmla="*/ 455667 w 506307"/>
                    <a:gd name="connsiteY30" fmla="*/ 556155 h 606722"/>
                    <a:gd name="connsiteX31" fmla="*/ 455667 w 506307"/>
                    <a:gd name="connsiteY31" fmla="*/ 138550 h 606722"/>
                    <a:gd name="connsiteX32" fmla="*/ 345488 w 506307"/>
                    <a:gd name="connsiteY32" fmla="*/ 50567 h 606722"/>
                    <a:gd name="connsiteX33" fmla="*/ 0 w 506307"/>
                    <a:gd name="connsiteY33" fmla="*/ 0 h 606722"/>
                    <a:gd name="connsiteX34" fmla="*/ 363288 w 506307"/>
                    <a:gd name="connsiteY34" fmla="*/ 0 h 606722"/>
                    <a:gd name="connsiteX35" fmla="*/ 506307 w 506307"/>
                    <a:gd name="connsiteY35" fmla="*/ 114288 h 606722"/>
                    <a:gd name="connsiteX36" fmla="*/ 506307 w 506307"/>
                    <a:gd name="connsiteY36" fmla="*/ 606722 h 606722"/>
                    <a:gd name="connsiteX37" fmla="*/ 0 w 506307"/>
                    <a:gd name="connsiteY37" fmla="*/ 606722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06307" h="606722">
                      <a:moveTo>
                        <a:pt x="278476" y="404480"/>
                      </a:moveTo>
                      <a:lnTo>
                        <a:pt x="278476" y="480293"/>
                      </a:lnTo>
                      <a:lnTo>
                        <a:pt x="354400" y="480293"/>
                      </a:lnTo>
                      <a:lnTo>
                        <a:pt x="354400" y="404480"/>
                      </a:lnTo>
                      <a:close/>
                      <a:moveTo>
                        <a:pt x="151906" y="404480"/>
                      </a:moveTo>
                      <a:lnTo>
                        <a:pt x="151906" y="480293"/>
                      </a:lnTo>
                      <a:lnTo>
                        <a:pt x="227830" y="480293"/>
                      </a:lnTo>
                      <a:lnTo>
                        <a:pt x="227830" y="404480"/>
                      </a:lnTo>
                      <a:close/>
                      <a:moveTo>
                        <a:pt x="278476" y="278097"/>
                      </a:moveTo>
                      <a:lnTo>
                        <a:pt x="278476" y="353909"/>
                      </a:lnTo>
                      <a:lnTo>
                        <a:pt x="354400" y="353909"/>
                      </a:lnTo>
                      <a:lnTo>
                        <a:pt x="354400" y="278097"/>
                      </a:lnTo>
                      <a:close/>
                      <a:moveTo>
                        <a:pt x="151906" y="278097"/>
                      </a:moveTo>
                      <a:lnTo>
                        <a:pt x="151906" y="353909"/>
                      </a:lnTo>
                      <a:lnTo>
                        <a:pt x="227830" y="353909"/>
                      </a:lnTo>
                      <a:lnTo>
                        <a:pt x="227830" y="278097"/>
                      </a:lnTo>
                      <a:close/>
                      <a:moveTo>
                        <a:pt x="151906" y="176954"/>
                      </a:moveTo>
                      <a:lnTo>
                        <a:pt x="151906" y="227526"/>
                      </a:lnTo>
                      <a:lnTo>
                        <a:pt x="354400" y="227526"/>
                      </a:lnTo>
                      <a:lnTo>
                        <a:pt x="354400" y="176954"/>
                      </a:lnTo>
                      <a:close/>
                      <a:moveTo>
                        <a:pt x="101261" y="126383"/>
                      </a:moveTo>
                      <a:lnTo>
                        <a:pt x="405045" y="126383"/>
                      </a:lnTo>
                      <a:lnTo>
                        <a:pt x="405045" y="227526"/>
                      </a:lnTo>
                      <a:lnTo>
                        <a:pt x="405045" y="278097"/>
                      </a:lnTo>
                      <a:lnTo>
                        <a:pt x="405045" y="530864"/>
                      </a:lnTo>
                      <a:lnTo>
                        <a:pt x="101261" y="530864"/>
                      </a:lnTo>
                      <a:lnTo>
                        <a:pt x="101261" y="278097"/>
                      </a:lnTo>
                      <a:lnTo>
                        <a:pt x="101261" y="227526"/>
                      </a:lnTo>
                      <a:close/>
                      <a:moveTo>
                        <a:pt x="50640" y="50567"/>
                      </a:moveTo>
                      <a:lnTo>
                        <a:pt x="50640" y="556155"/>
                      </a:lnTo>
                      <a:lnTo>
                        <a:pt x="455667" y="556155"/>
                      </a:lnTo>
                      <a:lnTo>
                        <a:pt x="455667" y="138550"/>
                      </a:lnTo>
                      <a:lnTo>
                        <a:pt x="345488" y="50567"/>
                      </a:lnTo>
                      <a:close/>
                      <a:moveTo>
                        <a:pt x="0" y="0"/>
                      </a:moveTo>
                      <a:lnTo>
                        <a:pt x="363288" y="0"/>
                      </a:lnTo>
                      <a:lnTo>
                        <a:pt x="506307" y="114288"/>
                      </a:lnTo>
                      <a:lnTo>
                        <a:pt x="506307" y="606722"/>
                      </a:lnTo>
                      <a:lnTo>
                        <a:pt x="0" y="606722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70" name="文本框 69"/>
                <p:cNvSpPr txBox="1"/>
                <p:nvPr/>
              </p:nvSpPr>
              <p:spPr>
                <a:xfrm>
                  <a:off x="22855" y="8414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认证单元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71" name="组合 70"/>
              <p:cNvGrpSpPr/>
              <p:nvPr/>
            </p:nvGrpSpPr>
            <p:grpSpPr>
              <a:xfrm rot="0">
                <a:off x="24554" y="6888"/>
                <a:ext cx="1728" cy="1563"/>
                <a:chOff x="22855" y="7431"/>
                <a:chExt cx="1728" cy="1563"/>
              </a:xfrm>
            </p:grpSpPr>
            <p:sp>
              <p:nvSpPr>
                <p:cNvPr id="72" name="xlsx-file_317779"/>
                <p:cNvSpPr>
                  <a:spLocks noChangeAspect="1"/>
                </p:cNvSpPr>
                <p:nvPr/>
              </p:nvSpPr>
              <p:spPr bwMode="auto">
                <a:xfrm>
                  <a:off x="23354" y="7431"/>
                  <a:ext cx="801" cy="960"/>
                </a:xfrm>
                <a:custGeom>
                  <a:avLst/>
                  <a:gdLst>
                    <a:gd name="connsiteX0" fmla="*/ 278476 w 506307"/>
                    <a:gd name="connsiteY0" fmla="*/ 404480 h 606722"/>
                    <a:gd name="connsiteX1" fmla="*/ 278476 w 506307"/>
                    <a:gd name="connsiteY1" fmla="*/ 480293 h 606722"/>
                    <a:gd name="connsiteX2" fmla="*/ 354400 w 506307"/>
                    <a:gd name="connsiteY2" fmla="*/ 480293 h 606722"/>
                    <a:gd name="connsiteX3" fmla="*/ 354400 w 506307"/>
                    <a:gd name="connsiteY3" fmla="*/ 404480 h 606722"/>
                    <a:gd name="connsiteX4" fmla="*/ 151906 w 506307"/>
                    <a:gd name="connsiteY4" fmla="*/ 404480 h 606722"/>
                    <a:gd name="connsiteX5" fmla="*/ 151906 w 506307"/>
                    <a:gd name="connsiteY5" fmla="*/ 480293 h 606722"/>
                    <a:gd name="connsiteX6" fmla="*/ 227830 w 506307"/>
                    <a:gd name="connsiteY6" fmla="*/ 480293 h 606722"/>
                    <a:gd name="connsiteX7" fmla="*/ 227830 w 506307"/>
                    <a:gd name="connsiteY7" fmla="*/ 404480 h 606722"/>
                    <a:gd name="connsiteX8" fmla="*/ 278476 w 506307"/>
                    <a:gd name="connsiteY8" fmla="*/ 278097 h 606722"/>
                    <a:gd name="connsiteX9" fmla="*/ 278476 w 506307"/>
                    <a:gd name="connsiteY9" fmla="*/ 353909 h 606722"/>
                    <a:gd name="connsiteX10" fmla="*/ 354400 w 506307"/>
                    <a:gd name="connsiteY10" fmla="*/ 353909 h 606722"/>
                    <a:gd name="connsiteX11" fmla="*/ 354400 w 506307"/>
                    <a:gd name="connsiteY11" fmla="*/ 278097 h 606722"/>
                    <a:gd name="connsiteX12" fmla="*/ 151906 w 506307"/>
                    <a:gd name="connsiteY12" fmla="*/ 278097 h 606722"/>
                    <a:gd name="connsiteX13" fmla="*/ 151906 w 506307"/>
                    <a:gd name="connsiteY13" fmla="*/ 353909 h 606722"/>
                    <a:gd name="connsiteX14" fmla="*/ 227830 w 506307"/>
                    <a:gd name="connsiteY14" fmla="*/ 353909 h 606722"/>
                    <a:gd name="connsiteX15" fmla="*/ 227830 w 506307"/>
                    <a:gd name="connsiteY15" fmla="*/ 278097 h 606722"/>
                    <a:gd name="connsiteX16" fmla="*/ 151906 w 506307"/>
                    <a:gd name="connsiteY16" fmla="*/ 176954 h 606722"/>
                    <a:gd name="connsiteX17" fmla="*/ 151906 w 506307"/>
                    <a:gd name="connsiteY17" fmla="*/ 227526 h 606722"/>
                    <a:gd name="connsiteX18" fmla="*/ 354400 w 506307"/>
                    <a:gd name="connsiteY18" fmla="*/ 227526 h 606722"/>
                    <a:gd name="connsiteX19" fmla="*/ 354400 w 506307"/>
                    <a:gd name="connsiteY19" fmla="*/ 176954 h 606722"/>
                    <a:gd name="connsiteX20" fmla="*/ 101261 w 506307"/>
                    <a:gd name="connsiteY20" fmla="*/ 126383 h 606722"/>
                    <a:gd name="connsiteX21" fmla="*/ 405045 w 506307"/>
                    <a:gd name="connsiteY21" fmla="*/ 126383 h 606722"/>
                    <a:gd name="connsiteX22" fmla="*/ 405045 w 506307"/>
                    <a:gd name="connsiteY22" fmla="*/ 227526 h 606722"/>
                    <a:gd name="connsiteX23" fmla="*/ 405045 w 506307"/>
                    <a:gd name="connsiteY23" fmla="*/ 278097 h 606722"/>
                    <a:gd name="connsiteX24" fmla="*/ 405045 w 506307"/>
                    <a:gd name="connsiteY24" fmla="*/ 530864 h 606722"/>
                    <a:gd name="connsiteX25" fmla="*/ 101261 w 506307"/>
                    <a:gd name="connsiteY25" fmla="*/ 530864 h 606722"/>
                    <a:gd name="connsiteX26" fmla="*/ 101261 w 506307"/>
                    <a:gd name="connsiteY26" fmla="*/ 278097 h 606722"/>
                    <a:gd name="connsiteX27" fmla="*/ 101261 w 506307"/>
                    <a:gd name="connsiteY27" fmla="*/ 227526 h 606722"/>
                    <a:gd name="connsiteX28" fmla="*/ 50640 w 506307"/>
                    <a:gd name="connsiteY28" fmla="*/ 50567 h 606722"/>
                    <a:gd name="connsiteX29" fmla="*/ 50640 w 506307"/>
                    <a:gd name="connsiteY29" fmla="*/ 556155 h 606722"/>
                    <a:gd name="connsiteX30" fmla="*/ 455667 w 506307"/>
                    <a:gd name="connsiteY30" fmla="*/ 556155 h 606722"/>
                    <a:gd name="connsiteX31" fmla="*/ 455667 w 506307"/>
                    <a:gd name="connsiteY31" fmla="*/ 138550 h 606722"/>
                    <a:gd name="connsiteX32" fmla="*/ 345488 w 506307"/>
                    <a:gd name="connsiteY32" fmla="*/ 50567 h 606722"/>
                    <a:gd name="connsiteX33" fmla="*/ 0 w 506307"/>
                    <a:gd name="connsiteY33" fmla="*/ 0 h 606722"/>
                    <a:gd name="connsiteX34" fmla="*/ 363288 w 506307"/>
                    <a:gd name="connsiteY34" fmla="*/ 0 h 606722"/>
                    <a:gd name="connsiteX35" fmla="*/ 506307 w 506307"/>
                    <a:gd name="connsiteY35" fmla="*/ 114288 h 606722"/>
                    <a:gd name="connsiteX36" fmla="*/ 506307 w 506307"/>
                    <a:gd name="connsiteY36" fmla="*/ 606722 h 606722"/>
                    <a:gd name="connsiteX37" fmla="*/ 0 w 506307"/>
                    <a:gd name="connsiteY37" fmla="*/ 606722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06307" h="606722">
                      <a:moveTo>
                        <a:pt x="278476" y="404480"/>
                      </a:moveTo>
                      <a:lnTo>
                        <a:pt x="278476" y="480293"/>
                      </a:lnTo>
                      <a:lnTo>
                        <a:pt x="354400" y="480293"/>
                      </a:lnTo>
                      <a:lnTo>
                        <a:pt x="354400" y="404480"/>
                      </a:lnTo>
                      <a:close/>
                      <a:moveTo>
                        <a:pt x="151906" y="404480"/>
                      </a:moveTo>
                      <a:lnTo>
                        <a:pt x="151906" y="480293"/>
                      </a:lnTo>
                      <a:lnTo>
                        <a:pt x="227830" y="480293"/>
                      </a:lnTo>
                      <a:lnTo>
                        <a:pt x="227830" y="404480"/>
                      </a:lnTo>
                      <a:close/>
                      <a:moveTo>
                        <a:pt x="278476" y="278097"/>
                      </a:moveTo>
                      <a:lnTo>
                        <a:pt x="278476" y="353909"/>
                      </a:lnTo>
                      <a:lnTo>
                        <a:pt x="354400" y="353909"/>
                      </a:lnTo>
                      <a:lnTo>
                        <a:pt x="354400" y="278097"/>
                      </a:lnTo>
                      <a:close/>
                      <a:moveTo>
                        <a:pt x="151906" y="278097"/>
                      </a:moveTo>
                      <a:lnTo>
                        <a:pt x="151906" y="353909"/>
                      </a:lnTo>
                      <a:lnTo>
                        <a:pt x="227830" y="353909"/>
                      </a:lnTo>
                      <a:lnTo>
                        <a:pt x="227830" y="278097"/>
                      </a:lnTo>
                      <a:close/>
                      <a:moveTo>
                        <a:pt x="151906" y="176954"/>
                      </a:moveTo>
                      <a:lnTo>
                        <a:pt x="151906" y="227526"/>
                      </a:lnTo>
                      <a:lnTo>
                        <a:pt x="354400" y="227526"/>
                      </a:lnTo>
                      <a:lnTo>
                        <a:pt x="354400" y="176954"/>
                      </a:lnTo>
                      <a:close/>
                      <a:moveTo>
                        <a:pt x="101261" y="126383"/>
                      </a:moveTo>
                      <a:lnTo>
                        <a:pt x="405045" y="126383"/>
                      </a:lnTo>
                      <a:lnTo>
                        <a:pt x="405045" y="227526"/>
                      </a:lnTo>
                      <a:lnTo>
                        <a:pt x="405045" y="278097"/>
                      </a:lnTo>
                      <a:lnTo>
                        <a:pt x="405045" y="530864"/>
                      </a:lnTo>
                      <a:lnTo>
                        <a:pt x="101261" y="530864"/>
                      </a:lnTo>
                      <a:lnTo>
                        <a:pt x="101261" y="278097"/>
                      </a:lnTo>
                      <a:lnTo>
                        <a:pt x="101261" y="227526"/>
                      </a:lnTo>
                      <a:close/>
                      <a:moveTo>
                        <a:pt x="50640" y="50567"/>
                      </a:moveTo>
                      <a:lnTo>
                        <a:pt x="50640" y="556155"/>
                      </a:lnTo>
                      <a:lnTo>
                        <a:pt x="455667" y="556155"/>
                      </a:lnTo>
                      <a:lnTo>
                        <a:pt x="455667" y="138550"/>
                      </a:lnTo>
                      <a:lnTo>
                        <a:pt x="345488" y="50567"/>
                      </a:lnTo>
                      <a:close/>
                      <a:moveTo>
                        <a:pt x="0" y="0"/>
                      </a:moveTo>
                      <a:lnTo>
                        <a:pt x="363288" y="0"/>
                      </a:lnTo>
                      <a:lnTo>
                        <a:pt x="506307" y="114288"/>
                      </a:lnTo>
                      <a:lnTo>
                        <a:pt x="506307" y="606722"/>
                      </a:lnTo>
                      <a:lnTo>
                        <a:pt x="0" y="606722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73" name="文本框 72"/>
                <p:cNvSpPr txBox="1"/>
                <p:nvPr/>
              </p:nvSpPr>
              <p:spPr>
                <a:xfrm>
                  <a:off x="22855" y="8414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认证单元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94" name="组合 93"/>
              <p:cNvGrpSpPr/>
              <p:nvPr/>
            </p:nvGrpSpPr>
            <p:grpSpPr>
              <a:xfrm rot="0">
                <a:off x="29394" y="4854"/>
                <a:ext cx="1728" cy="1360"/>
                <a:chOff x="29700" y="7475"/>
                <a:chExt cx="1728" cy="1360"/>
              </a:xfrm>
            </p:grpSpPr>
            <p:sp>
              <p:nvSpPr>
                <p:cNvPr id="74" name="certificate-award_27477"/>
                <p:cNvSpPr>
                  <a:spLocks noChangeAspect="1"/>
                </p:cNvSpPr>
                <p:nvPr/>
              </p:nvSpPr>
              <p:spPr bwMode="auto">
                <a:xfrm>
                  <a:off x="30079" y="7475"/>
                  <a:ext cx="960" cy="704"/>
                </a:xfrm>
                <a:custGeom>
                  <a:avLst/>
                  <a:gdLst>
                    <a:gd name="connsiteX0" fmla="*/ 463882 w 608415"/>
                    <a:gd name="connsiteY0" fmla="*/ 331728 h 445872"/>
                    <a:gd name="connsiteX1" fmla="*/ 482957 w 608415"/>
                    <a:gd name="connsiteY1" fmla="*/ 435849 h 445872"/>
                    <a:gd name="connsiteX2" fmla="*/ 478451 w 608415"/>
                    <a:gd name="connsiteY2" fmla="*/ 437797 h 445872"/>
                    <a:gd name="connsiteX3" fmla="*/ 462380 w 608415"/>
                    <a:gd name="connsiteY3" fmla="*/ 417572 h 445872"/>
                    <a:gd name="connsiteX4" fmla="*/ 453067 w 608415"/>
                    <a:gd name="connsiteY4" fmla="*/ 419220 h 445872"/>
                    <a:gd name="connsiteX5" fmla="*/ 445708 w 608415"/>
                    <a:gd name="connsiteY5" fmla="*/ 441992 h 445872"/>
                    <a:gd name="connsiteX6" fmla="*/ 441502 w 608415"/>
                    <a:gd name="connsiteY6" fmla="*/ 441542 h 445872"/>
                    <a:gd name="connsiteX7" fmla="*/ 430237 w 608415"/>
                    <a:gd name="connsiteY7" fmla="*/ 345211 h 445872"/>
                    <a:gd name="connsiteX8" fmla="*/ 463882 w 608415"/>
                    <a:gd name="connsiteY8" fmla="*/ 331728 h 445872"/>
                    <a:gd name="connsiteX9" fmla="*/ 389003 w 608415"/>
                    <a:gd name="connsiteY9" fmla="*/ 328271 h 445872"/>
                    <a:gd name="connsiteX10" fmla="*/ 426081 w 608415"/>
                    <a:gd name="connsiteY10" fmla="*/ 344598 h 445872"/>
                    <a:gd name="connsiteX11" fmla="*/ 427132 w 608415"/>
                    <a:gd name="connsiteY11" fmla="*/ 344598 h 445872"/>
                    <a:gd name="connsiteX12" fmla="*/ 412721 w 608415"/>
                    <a:gd name="connsiteY12" fmla="*/ 419192 h 445872"/>
                    <a:gd name="connsiteX13" fmla="*/ 408518 w 608415"/>
                    <a:gd name="connsiteY13" fmla="*/ 419342 h 445872"/>
                    <a:gd name="connsiteX14" fmla="*/ 401913 w 608415"/>
                    <a:gd name="connsiteY14" fmla="*/ 391032 h 445872"/>
                    <a:gd name="connsiteX15" fmla="*/ 392756 w 608415"/>
                    <a:gd name="connsiteY15" fmla="*/ 388785 h 445872"/>
                    <a:gd name="connsiteX16" fmla="*/ 376243 w 608415"/>
                    <a:gd name="connsiteY16" fmla="*/ 407209 h 445872"/>
                    <a:gd name="connsiteX17" fmla="*/ 371740 w 608415"/>
                    <a:gd name="connsiteY17" fmla="*/ 404962 h 445872"/>
                    <a:gd name="connsiteX18" fmla="*/ 428014 w 608415"/>
                    <a:gd name="connsiteY18" fmla="*/ 236606 h 445872"/>
                    <a:gd name="connsiteX19" fmla="*/ 478574 w 608415"/>
                    <a:gd name="connsiteY19" fmla="*/ 287096 h 445872"/>
                    <a:gd name="connsiteX20" fmla="*/ 428014 w 608415"/>
                    <a:gd name="connsiteY20" fmla="*/ 337586 h 445872"/>
                    <a:gd name="connsiteX21" fmla="*/ 377454 w 608415"/>
                    <a:gd name="connsiteY21" fmla="*/ 287096 h 445872"/>
                    <a:gd name="connsiteX22" fmla="*/ 428014 w 608415"/>
                    <a:gd name="connsiteY22" fmla="*/ 236606 h 445872"/>
                    <a:gd name="connsiteX23" fmla="*/ 96924 w 608415"/>
                    <a:gd name="connsiteY23" fmla="*/ 171248 h 445872"/>
                    <a:gd name="connsiteX24" fmla="*/ 91671 w 608415"/>
                    <a:gd name="connsiteY24" fmla="*/ 176642 h 445872"/>
                    <a:gd name="connsiteX25" fmla="*/ 96924 w 608415"/>
                    <a:gd name="connsiteY25" fmla="*/ 181886 h 445872"/>
                    <a:gd name="connsiteX26" fmla="*/ 496585 w 608415"/>
                    <a:gd name="connsiteY26" fmla="*/ 181886 h 445872"/>
                    <a:gd name="connsiteX27" fmla="*/ 501838 w 608415"/>
                    <a:gd name="connsiteY27" fmla="*/ 176642 h 445872"/>
                    <a:gd name="connsiteX28" fmla="*/ 496585 w 608415"/>
                    <a:gd name="connsiteY28" fmla="*/ 171248 h 445872"/>
                    <a:gd name="connsiteX29" fmla="*/ 96924 w 608415"/>
                    <a:gd name="connsiteY29" fmla="*/ 103823 h 445872"/>
                    <a:gd name="connsiteX30" fmla="*/ 91671 w 608415"/>
                    <a:gd name="connsiteY30" fmla="*/ 109067 h 445872"/>
                    <a:gd name="connsiteX31" fmla="*/ 96924 w 608415"/>
                    <a:gd name="connsiteY31" fmla="*/ 114311 h 445872"/>
                    <a:gd name="connsiteX32" fmla="*/ 496585 w 608415"/>
                    <a:gd name="connsiteY32" fmla="*/ 114311 h 445872"/>
                    <a:gd name="connsiteX33" fmla="*/ 501838 w 608415"/>
                    <a:gd name="connsiteY33" fmla="*/ 109067 h 445872"/>
                    <a:gd name="connsiteX34" fmla="*/ 496585 w 608415"/>
                    <a:gd name="connsiteY34" fmla="*/ 103823 h 445872"/>
                    <a:gd name="connsiteX35" fmla="*/ 64206 w 608415"/>
                    <a:gd name="connsiteY35" fmla="*/ 52430 h 445872"/>
                    <a:gd name="connsiteX36" fmla="*/ 539058 w 608415"/>
                    <a:gd name="connsiteY36" fmla="*/ 52430 h 445872"/>
                    <a:gd name="connsiteX37" fmla="*/ 560219 w 608415"/>
                    <a:gd name="connsiteY37" fmla="*/ 73706 h 445872"/>
                    <a:gd name="connsiteX38" fmla="*/ 560219 w 608415"/>
                    <a:gd name="connsiteY38" fmla="*/ 343406 h 445872"/>
                    <a:gd name="connsiteX39" fmla="*/ 539058 w 608415"/>
                    <a:gd name="connsiteY39" fmla="*/ 364682 h 445872"/>
                    <a:gd name="connsiteX40" fmla="*/ 486830 w 608415"/>
                    <a:gd name="connsiteY40" fmla="*/ 364682 h 445872"/>
                    <a:gd name="connsiteX41" fmla="*/ 480227 w 608415"/>
                    <a:gd name="connsiteY41" fmla="*/ 327973 h 445872"/>
                    <a:gd name="connsiteX42" fmla="*/ 495085 w 608415"/>
                    <a:gd name="connsiteY42" fmla="*/ 286170 h 445872"/>
                    <a:gd name="connsiteX43" fmla="*/ 428599 w 608415"/>
                    <a:gd name="connsiteY43" fmla="*/ 219793 h 445872"/>
                    <a:gd name="connsiteX44" fmla="*/ 362114 w 608415"/>
                    <a:gd name="connsiteY44" fmla="*/ 286170 h 445872"/>
                    <a:gd name="connsiteX45" fmla="*/ 373970 w 608415"/>
                    <a:gd name="connsiteY45" fmla="*/ 323778 h 445872"/>
                    <a:gd name="connsiteX46" fmla="*/ 364966 w 608415"/>
                    <a:gd name="connsiteY46" fmla="*/ 364682 h 445872"/>
                    <a:gd name="connsiteX47" fmla="*/ 64206 w 608415"/>
                    <a:gd name="connsiteY47" fmla="*/ 364682 h 445872"/>
                    <a:gd name="connsiteX48" fmla="*/ 43045 w 608415"/>
                    <a:gd name="connsiteY48" fmla="*/ 343406 h 445872"/>
                    <a:gd name="connsiteX49" fmla="*/ 43045 w 608415"/>
                    <a:gd name="connsiteY49" fmla="*/ 73706 h 445872"/>
                    <a:gd name="connsiteX50" fmla="*/ 64206 w 608415"/>
                    <a:gd name="connsiteY50" fmla="*/ 52430 h 445872"/>
                    <a:gd name="connsiteX51" fmla="*/ 37069 w 608415"/>
                    <a:gd name="connsiteY51" fmla="*/ 0 h 445872"/>
                    <a:gd name="connsiteX52" fmla="*/ 571346 w 608415"/>
                    <a:gd name="connsiteY52" fmla="*/ 0 h 445872"/>
                    <a:gd name="connsiteX53" fmla="*/ 608415 w 608415"/>
                    <a:gd name="connsiteY53" fmla="*/ 36260 h 445872"/>
                    <a:gd name="connsiteX54" fmla="*/ 608415 w 608415"/>
                    <a:gd name="connsiteY54" fmla="*/ 384178 h 445872"/>
                    <a:gd name="connsiteX55" fmla="*/ 571346 w 608415"/>
                    <a:gd name="connsiteY55" fmla="*/ 420288 h 445872"/>
                    <a:gd name="connsiteX56" fmla="*/ 497508 w 608415"/>
                    <a:gd name="connsiteY56" fmla="*/ 420288 h 445872"/>
                    <a:gd name="connsiteX57" fmla="*/ 491655 w 608415"/>
                    <a:gd name="connsiteY57" fmla="*/ 388523 h 445872"/>
                    <a:gd name="connsiteX58" fmla="*/ 571346 w 608415"/>
                    <a:gd name="connsiteY58" fmla="*/ 388523 h 445872"/>
                    <a:gd name="connsiteX59" fmla="*/ 576599 w 608415"/>
                    <a:gd name="connsiteY59" fmla="*/ 384178 h 445872"/>
                    <a:gd name="connsiteX60" fmla="*/ 576599 w 608415"/>
                    <a:gd name="connsiteY60" fmla="*/ 36260 h 445872"/>
                    <a:gd name="connsiteX61" fmla="*/ 571346 w 608415"/>
                    <a:gd name="connsiteY61" fmla="*/ 31915 h 445872"/>
                    <a:gd name="connsiteX62" fmla="*/ 37069 w 608415"/>
                    <a:gd name="connsiteY62" fmla="*/ 31915 h 445872"/>
                    <a:gd name="connsiteX63" fmla="*/ 31816 w 608415"/>
                    <a:gd name="connsiteY63" fmla="*/ 36260 h 445872"/>
                    <a:gd name="connsiteX64" fmla="*/ 31816 w 608415"/>
                    <a:gd name="connsiteY64" fmla="*/ 384178 h 445872"/>
                    <a:gd name="connsiteX65" fmla="*/ 37069 w 608415"/>
                    <a:gd name="connsiteY65" fmla="*/ 388523 h 445872"/>
                    <a:gd name="connsiteX66" fmla="*/ 359736 w 608415"/>
                    <a:gd name="connsiteY66" fmla="*/ 388523 h 445872"/>
                    <a:gd name="connsiteX67" fmla="*/ 357185 w 608415"/>
                    <a:gd name="connsiteY67" fmla="*/ 399910 h 445872"/>
                    <a:gd name="connsiteX68" fmla="*/ 360337 w 608415"/>
                    <a:gd name="connsiteY68" fmla="*/ 417741 h 445872"/>
                    <a:gd name="connsiteX69" fmla="*/ 362588 w 608415"/>
                    <a:gd name="connsiteY69" fmla="*/ 420288 h 445872"/>
                    <a:gd name="connsiteX70" fmla="*/ 37069 w 608415"/>
                    <a:gd name="connsiteY70" fmla="*/ 420288 h 445872"/>
                    <a:gd name="connsiteX71" fmla="*/ 0 w 608415"/>
                    <a:gd name="connsiteY71" fmla="*/ 384178 h 445872"/>
                    <a:gd name="connsiteX72" fmla="*/ 0 w 608415"/>
                    <a:gd name="connsiteY72" fmla="*/ 36260 h 445872"/>
                    <a:gd name="connsiteX73" fmla="*/ 37069 w 608415"/>
                    <a:gd name="connsiteY73" fmla="*/ 0 h 44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608415" h="445872">
                      <a:moveTo>
                        <a:pt x="463882" y="331728"/>
                      </a:moveTo>
                      <a:lnTo>
                        <a:pt x="482957" y="435849"/>
                      </a:lnTo>
                      <a:cubicBezTo>
                        <a:pt x="484008" y="441243"/>
                        <a:pt x="481905" y="442142"/>
                        <a:pt x="478451" y="437797"/>
                      </a:cubicBezTo>
                      <a:lnTo>
                        <a:pt x="462380" y="417572"/>
                      </a:lnTo>
                      <a:cubicBezTo>
                        <a:pt x="458925" y="413077"/>
                        <a:pt x="454719" y="413827"/>
                        <a:pt x="453067" y="419220"/>
                      </a:cubicBezTo>
                      <a:lnTo>
                        <a:pt x="445708" y="441992"/>
                      </a:lnTo>
                      <a:cubicBezTo>
                        <a:pt x="444055" y="447385"/>
                        <a:pt x="442103" y="447085"/>
                        <a:pt x="441502" y="441542"/>
                      </a:cubicBezTo>
                      <a:lnTo>
                        <a:pt x="430237" y="345211"/>
                      </a:lnTo>
                      <a:cubicBezTo>
                        <a:pt x="443304" y="345062"/>
                        <a:pt x="455020" y="339818"/>
                        <a:pt x="463882" y="331728"/>
                      </a:cubicBezTo>
                      <a:close/>
                      <a:moveTo>
                        <a:pt x="389003" y="328271"/>
                      </a:moveTo>
                      <a:cubicBezTo>
                        <a:pt x="398160" y="338307"/>
                        <a:pt x="411370" y="344598"/>
                        <a:pt x="426081" y="344598"/>
                      </a:cubicBezTo>
                      <a:cubicBezTo>
                        <a:pt x="426382" y="344598"/>
                        <a:pt x="426832" y="344598"/>
                        <a:pt x="427132" y="344598"/>
                      </a:cubicBezTo>
                      <a:lnTo>
                        <a:pt x="412721" y="419192"/>
                      </a:lnTo>
                      <a:cubicBezTo>
                        <a:pt x="411670" y="424584"/>
                        <a:pt x="409869" y="424734"/>
                        <a:pt x="408518" y="419342"/>
                      </a:cubicBezTo>
                      <a:lnTo>
                        <a:pt x="401913" y="391032"/>
                      </a:lnTo>
                      <a:cubicBezTo>
                        <a:pt x="400562" y="385490"/>
                        <a:pt x="396509" y="384591"/>
                        <a:pt x="392756" y="388785"/>
                      </a:cubicBezTo>
                      <a:lnTo>
                        <a:pt x="376243" y="407209"/>
                      </a:lnTo>
                      <a:cubicBezTo>
                        <a:pt x="372641" y="411403"/>
                        <a:pt x="370539" y="410354"/>
                        <a:pt x="371740" y="404962"/>
                      </a:cubicBezTo>
                      <a:close/>
                      <a:moveTo>
                        <a:pt x="428014" y="236606"/>
                      </a:moveTo>
                      <a:cubicBezTo>
                        <a:pt x="455938" y="236606"/>
                        <a:pt x="478574" y="259211"/>
                        <a:pt x="478574" y="287096"/>
                      </a:cubicBezTo>
                      <a:cubicBezTo>
                        <a:pt x="478574" y="314981"/>
                        <a:pt x="455938" y="337586"/>
                        <a:pt x="428014" y="337586"/>
                      </a:cubicBezTo>
                      <a:cubicBezTo>
                        <a:pt x="400090" y="337586"/>
                        <a:pt x="377454" y="314981"/>
                        <a:pt x="377454" y="287096"/>
                      </a:cubicBezTo>
                      <a:cubicBezTo>
                        <a:pt x="377454" y="259211"/>
                        <a:pt x="400090" y="236606"/>
                        <a:pt x="428014" y="236606"/>
                      </a:cubicBezTo>
                      <a:close/>
                      <a:moveTo>
                        <a:pt x="96924" y="171248"/>
                      </a:moveTo>
                      <a:cubicBezTo>
                        <a:pt x="93922" y="171248"/>
                        <a:pt x="91671" y="173645"/>
                        <a:pt x="91671" y="176642"/>
                      </a:cubicBezTo>
                      <a:cubicBezTo>
                        <a:pt x="91671" y="179488"/>
                        <a:pt x="93922" y="181886"/>
                        <a:pt x="96924" y="181886"/>
                      </a:cubicBezTo>
                      <a:lnTo>
                        <a:pt x="496585" y="181886"/>
                      </a:lnTo>
                      <a:cubicBezTo>
                        <a:pt x="499437" y="181886"/>
                        <a:pt x="501838" y="179488"/>
                        <a:pt x="501838" y="176642"/>
                      </a:cubicBezTo>
                      <a:cubicBezTo>
                        <a:pt x="501838" y="173645"/>
                        <a:pt x="499437" y="171248"/>
                        <a:pt x="496585" y="171248"/>
                      </a:cubicBezTo>
                      <a:close/>
                      <a:moveTo>
                        <a:pt x="96924" y="103823"/>
                      </a:moveTo>
                      <a:cubicBezTo>
                        <a:pt x="93922" y="103823"/>
                        <a:pt x="91671" y="106220"/>
                        <a:pt x="91671" y="109067"/>
                      </a:cubicBezTo>
                      <a:cubicBezTo>
                        <a:pt x="91671" y="112064"/>
                        <a:pt x="93922" y="114311"/>
                        <a:pt x="96924" y="114311"/>
                      </a:cubicBezTo>
                      <a:lnTo>
                        <a:pt x="496585" y="114311"/>
                      </a:lnTo>
                      <a:cubicBezTo>
                        <a:pt x="499437" y="114311"/>
                        <a:pt x="501838" y="112064"/>
                        <a:pt x="501838" y="109067"/>
                      </a:cubicBezTo>
                      <a:cubicBezTo>
                        <a:pt x="501838" y="106220"/>
                        <a:pt x="499437" y="103823"/>
                        <a:pt x="496585" y="103823"/>
                      </a:cubicBezTo>
                      <a:close/>
                      <a:moveTo>
                        <a:pt x="64206" y="52430"/>
                      </a:moveTo>
                      <a:lnTo>
                        <a:pt x="539058" y="52430"/>
                      </a:lnTo>
                      <a:cubicBezTo>
                        <a:pt x="550764" y="52430"/>
                        <a:pt x="560219" y="62019"/>
                        <a:pt x="560219" y="73706"/>
                      </a:cubicBezTo>
                      <a:lnTo>
                        <a:pt x="560219" y="343406"/>
                      </a:lnTo>
                      <a:cubicBezTo>
                        <a:pt x="560219" y="355093"/>
                        <a:pt x="550764" y="364682"/>
                        <a:pt x="539058" y="364682"/>
                      </a:cubicBezTo>
                      <a:lnTo>
                        <a:pt x="486830" y="364682"/>
                      </a:lnTo>
                      <a:lnTo>
                        <a:pt x="480227" y="327973"/>
                      </a:lnTo>
                      <a:cubicBezTo>
                        <a:pt x="489532" y="316436"/>
                        <a:pt x="495085" y="301902"/>
                        <a:pt x="495085" y="286170"/>
                      </a:cubicBezTo>
                      <a:cubicBezTo>
                        <a:pt x="495085" y="249460"/>
                        <a:pt x="465219" y="219793"/>
                        <a:pt x="428599" y="219793"/>
                      </a:cubicBezTo>
                      <a:cubicBezTo>
                        <a:pt x="391980" y="219793"/>
                        <a:pt x="362114" y="249460"/>
                        <a:pt x="362114" y="286170"/>
                      </a:cubicBezTo>
                      <a:cubicBezTo>
                        <a:pt x="362114" y="300104"/>
                        <a:pt x="366617" y="313139"/>
                        <a:pt x="373970" y="323778"/>
                      </a:cubicBezTo>
                      <a:lnTo>
                        <a:pt x="364966" y="364682"/>
                      </a:lnTo>
                      <a:lnTo>
                        <a:pt x="64206" y="364682"/>
                      </a:lnTo>
                      <a:cubicBezTo>
                        <a:pt x="52500" y="364682"/>
                        <a:pt x="43045" y="355093"/>
                        <a:pt x="43045" y="343406"/>
                      </a:cubicBezTo>
                      <a:lnTo>
                        <a:pt x="43045" y="73706"/>
                      </a:lnTo>
                      <a:cubicBezTo>
                        <a:pt x="43045" y="62019"/>
                        <a:pt x="52500" y="52430"/>
                        <a:pt x="64206" y="52430"/>
                      </a:cubicBezTo>
                      <a:close/>
                      <a:moveTo>
                        <a:pt x="37069" y="0"/>
                      </a:moveTo>
                      <a:lnTo>
                        <a:pt x="571346" y="0"/>
                      </a:lnTo>
                      <a:cubicBezTo>
                        <a:pt x="591757" y="0"/>
                        <a:pt x="608415" y="16332"/>
                        <a:pt x="608415" y="36260"/>
                      </a:cubicBezTo>
                      <a:lnTo>
                        <a:pt x="608415" y="384178"/>
                      </a:lnTo>
                      <a:cubicBezTo>
                        <a:pt x="608415" y="404106"/>
                        <a:pt x="591757" y="420288"/>
                        <a:pt x="571346" y="420288"/>
                      </a:cubicBezTo>
                      <a:lnTo>
                        <a:pt x="497508" y="420288"/>
                      </a:lnTo>
                      <a:lnTo>
                        <a:pt x="491655" y="388523"/>
                      </a:lnTo>
                      <a:lnTo>
                        <a:pt x="571346" y="388523"/>
                      </a:lnTo>
                      <a:cubicBezTo>
                        <a:pt x="574197" y="388523"/>
                        <a:pt x="576599" y="386425"/>
                        <a:pt x="576599" y="384178"/>
                      </a:cubicBezTo>
                      <a:lnTo>
                        <a:pt x="576599" y="36260"/>
                      </a:lnTo>
                      <a:cubicBezTo>
                        <a:pt x="576599" y="33863"/>
                        <a:pt x="574197" y="31915"/>
                        <a:pt x="571346" y="31915"/>
                      </a:cubicBezTo>
                      <a:lnTo>
                        <a:pt x="37069" y="31915"/>
                      </a:lnTo>
                      <a:cubicBezTo>
                        <a:pt x="34218" y="31915"/>
                        <a:pt x="31816" y="33863"/>
                        <a:pt x="31816" y="36260"/>
                      </a:cubicBezTo>
                      <a:lnTo>
                        <a:pt x="31816" y="384178"/>
                      </a:lnTo>
                      <a:cubicBezTo>
                        <a:pt x="31816" y="386425"/>
                        <a:pt x="34218" y="388523"/>
                        <a:pt x="37069" y="388523"/>
                      </a:cubicBezTo>
                      <a:lnTo>
                        <a:pt x="359736" y="388523"/>
                      </a:lnTo>
                      <a:lnTo>
                        <a:pt x="357185" y="399910"/>
                      </a:lnTo>
                      <a:cubicBezTo>
                        <a:pt x="355534" y="407103"/>
                        <a:pt x="356585" y="413096"/>
                        <a:pt x="360337" y="417741"/>
                      </a:cubicBezTo>
                      <a:lnTo>
                        <a:pt x="362588" y="420288"/>
                      </a:lnTo>
                      <a:lnTo>
                        <a:pt x="37069" y="420288"/>
                      </a:lnTo>
                      <a:cubicBezTo>
                        <a:pt x="16658" y="420288"/>
                        <a:pt x="0" y="404106"/>
                        <a:pt x="0" y="384178"/>
                      </a:cubicBezTo>
                      <a:lnTo>
                        <a:pt x="0" y="36260"/>
                      </a:lnTo>
                      <a:cubicBezTo>
                        <a:pt x="0" y="16332"/>
                        <a:pt x="16658" y="0"/>
                        <a:pt x="37069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91" name="文本框 90"/>
                <p:cNvSpPr txBox="1"/>
                <p:nvPr/>
              </p:nvSpPr>
              <p:spPr>
                <a:xfrm>
                  <a:off x="29700" y="8255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转换规则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97" name="组合 96"/>
              <p:cNvGrpSpPr/>
              <p:nvPr/>
            </p:nvGrpSpPr>
            <p:grpSpPr>
              <a:xfrm rot="0">
                <a:off x="32173" y="4826"/>
                <a:ext cx="1728" cy="1360"/>
                <a:chOff x="29700" y="7475"/>
                <a:chExt cx="1728" cy="1360"/>
              </a:xfrm>
            </p:grpSpPr>
            <p:sp>
              <p:nvSpPr>
                <p:cNvPr id="102" name="certificate-award_27477"/>
                <p:cNvSpPr>
                  <a:spLocks noChangeAspect="1"/>
                </p:cNvSpPr>
                <p:nvPr/>
              </p:nvSpPr>
              <p:spPr bwMode="auto">
                <a:xfrm>
                  <a:off x="30079" y="7475"/>
                  <a:ext cx="960" cy="704"/>
                </a:xfrm>
                <a:custGeom>
                  <a:avLst/>
                  <a:gdLst>
                    <a:gd name="connsiteX0" fmla="*/ 463882 w 608415"/>
                    <a:gd name="connsiteY0" fmla="*/ 331728 h 445872"/>
                    <a:gd name="connsiteX1" fmla="*/ 482957 w 608415"/>
                    <a:gd name="connsiteY1" fmla="*/ 435849 h 445872"/>
                    <a:gd name="connsiteX2" fmla="*/ 478451 w 608415"/>
                    <a:gd name="connsiteY2" fmla="*/ 437797 h 445872"/>
                    <a:gd name="connsiteX3" fmla="*/ 462380 w 608415"/>
                    <a:gd name="connsiteY3" fmla="*/ 417572 h 445872"/>
                    <a:gd name="connsiteX4" fmla="*/ 453067 w 608415"/>
                    <a:gd name="connsiteY4" fmla="*/ 419220 h 445872"/>
                    <a:gd name="connsiteX5" fmla="*/ 445708 w 608415"/>
                    <a:gd name="connsiteY5" fmla="*/ 441992 h 445872"/>
                    <a:gd name="connsiteX6" fmla="*/ 441502 w 608415"/>
                    <a:gd name="connsiteY6" fmla="*/ 441542 h 445872"/>
                    <a:gd name="connsiteX7" fmla="*/ 430237 w 608415"/>
                    <a:gd name="connsiteY7" fmla="*/ 345211 h 445872"/>
                    <a:gd name="connsiteX8" fmla="*/ 463882 w 608415"/>
                    <a:gd name="connsiteY8" fmla="*/ 331728 h 445872"/>
                    <a:gd name="connsiteX9" fmla="*/ 389003 w 608415"/>
                    <a:gd name="connsiteY9" fmla="*/ 328271 h 445872"/>
                    <a:gd name="connsiteX10" fmla="*/ 426081 w 608415"/>
                    <a:gd name="connsiteY10" fmla="*/ 344598 h 445872"/>
                    <a:gd name="connsiteX11" fmla="*/ 427132 w 608415"/>
                    <a:gd name="connsiteY11" fmla="*/ 344598 h 445872"/>
                    <a:gd name="connsiteX12" fmla="*/ 412721 w 608415"/>
                    <a:gd name="connsiteY12" fmla="*/ 419192 h 445872"/>
                    <a:gd name="connsiteX13" fmla="*/ 408518 w 608415"/>
                    <a:gd name="connsiteY13" fmla="*/ 419342 h 445872"/>
                    <a:gd name="connsiteX14" fmla="*/ 401913 w 608415"/>
                    <a:gd name="connsiteY14" fmla="*/ 391032 h 445872"/>
                    <a:gd name="connsiteX15" fmla="*/ 392756 w 608415"/>
                    <a:gd name="connsiteY15" fmla="*/ 388785 h 445872"/>
                    <a:gd name="connsiteX16" fmla="*/ 376243 w 608415"/>
                    <a:gd name="connsiteY16" fmla="*/ 407209 h 445872"/>
                    <a:gd name="connsiteX17" fmla="*/ 371740 w 608415"/>
                    <a:gd name="connsiteY17" fmla="*/ 404962 h 445872"/>
                    <a:gd name="connsiteX18" fmla="*/ 428014 w 608415"/>
                    <a:gd name="connsiteY18" fmla="*/ 236606 h 445872"/>
                    <a:gd name="connsiteX19" fmla="*/ 478574 w 608415"/>
                    <a:gd name="connsiteY19" fmla="*/ 287096 h 445872"/>
                    <a:gd name="connsiteX20" fmla="*/ 428014 w 608415"/>
                    <a:gd name="connsiteY20" fmla="*/ 337586 h 445872"/>
                    <a:gd name="connsiteX21" fmla="*/ 377454 w 608415"/>
                    <a:gd name="connsiteY21" fmla="*/ 287096 h 445872"/>
                    <a:gd name="connsiteX22" fmla="*/ 428014 w 608415"/>
                    <a:gd name="connsiteY22" fmla="*/ 236606 h 445872"/>
                    <a:gd name="connsiteX23" fmla="*/ 96924 w 608415"/>
                    <a:gd name="connsiteY23" fmla="*/ 171248 h 445872"/>
                    <a:gd name="connsiteX24" fmla="*/ 91671 w 608415"/>
                    <a:gd name="connsiteY24" fmla="*/ 176642 h 445872"/>
                    <a:gd name="connsiteX25" fmla="*/ 96924 w 608415"/>
                    <a:gd name="connsiteY25" fmla="*/ 181886 h 445872"/>
                    <a:gd name="connsiteX26" fmla="*/ 496585 w 608415"/>
                    <a:gd name="connsiteY26" fmla="*/ 181886 h 445872"/>
                    <a:gd name="connsiteX27" fmla="*/ 501838 w 608415"/>
                    <a:gd name="connsiteY27" fmla="*/ 176642 h 445872"/>
                    <a:gd name="connsiteX28" fmla="*/ 496585 w 608415"/>
                    <a:gd name="connsiteY28" fmla="*/ 171248 h 445872"/>
                    <a:gd name="connsiteX29" fmla="*/ 96924 w 608415"/>
                    <a:gd name="connsiteY29" fmla="*/ 103823 h 445872"/>
                    <a:gd name="connsiteX30" fmla="*/ 91671 w 608415"/>
                    <a:gd name="connsiteY30" fmla="*/ 109067 h 445872"/>
                    <a:gd name="connsiteX31" fmla="*/ 96924 w 608415"/>
                    <a:gd name="connsiteY31" fmla="*/ 114311 h 445872"/>
                    <a:gd name="connsiteX32" fmla="*/ 496585 w 608415"/>
                    <a:gd name="connsiteY32" fmla="*/ 114311 h 445872"/>
                    <a:gd name="connsiteX33" fmla="*/ 501838 w 608415"/>
                    <a:gd name="connsiteY33" fmla="*/ 109067 h 445872"/>
                    <a:gd name="connsiteX34" fmla="*/ 496585 w 608415"/>
                    <a:gd name="connsiteY34" fmla="*/ 103823 h 445872"/>
                    <a:gd name="connsiteX35" fmla="*/ 64206 w 608415"/>
                    <a:gd name="connsiteY35" fmla="*/ 52430 h 445872"/>
                    <a:gd name="connsiteX36" fmla="*/ 539058 w 608415"/>
                    <a:gd name="connsiteY36" fmla="*/ 52430 h 445872"/>
                    <a:gd name="connsiteX37" fmla="*/ 560219 w 608415"/>
                    <a:gd name="connsiteY37" fmla="*/ 73706 h 445872"/>
                    <a:gd name="connsiteX38" fmla="*/ 560219 w 608415"/>
                    <a:gd name="connsiteY38" fmla="*/ 343406 h 445872"/>
                    <a:gd name="connsiteX39" fmla="*/ 539058 w 608415"/>
                    <a:gd name="connsiteY39" fmla="*/ 364682 h 445872"/>
                    <a:gd name="connsiteX40" fmla="*/ 486830 w 608415"/>
                    <a:gd name="connsiteY40" fmla="*/ 364682 h 445872"/>
                    <a:gd name="connsiteX41" fmla="*/ 480227 w 608415"/>
                    <a:gd name="connsiteY41" fmla="*/ 327973 h 445872"/>
                    <a:gd name="connsiteX42" fmla="*/ 495085 w 608415"/>
                    <a:gd name="connsiteY42" fmla="*/ 286170 h 445872"/>
                    <a:gd name="connsiteX43" fmla="*/ 428599 w 608415"/>
                    <a:gd name="connsiteY43" fmla="*/ 219793 h 445872"/>
                    <a:gd name="connsiteX44" fmla="*/ 362114 w 608415"/>
                    <a:gd name="connsiteY44" fmla="*/ 286170 h 445872"/>
                    <a:gd name="connsiteX45" fmla="*/ 373970 w 608415"/>
                    <a:gd name="connsiteY45" fmla="*/ 323778 h 445872"/>
                    <a:gd name="connsiteX46" fmla="*/ 364966 w 608415"/>
                    <a:gd name="connsiteY46" fmla="*/ 364682 h 445872"/>
                    <a:gd name="connsiteX47" fmla="*/ 64206 w 608415"/>
                    <a:gd name="connsiteY47" fmla="*/ 364682 h 445872"/>
                    <a:gd name="connsiteX48" fmla="*/ 43045 w 608415"/>
                    <a:gd name="connsiteY48" fmla="*/ 343406 h 445872"/>
                    <a:gd name="connsiteX49" fmla="*/ 43045 w 608415"/>
                    <a:gd name="connsiteY49" fmla="*/ 73706 h 445872"/>
                    <a:gd name="connsiteX50" fmla="*/ 64206 w 608415"/>
                    <a:gd name="connsiteY50" fmla="*/ 52430 h 445872"/>
                    <a:gd name="connsiteX51" fmla="*/ 37069 w 608415"/>
                    <a:gd name="connsiteY51" fmla="*/ 0 h 445872"/>
                    <a:gd name="connsiteX52" fmla="*/ 571346 w 608415"/>
                    <a:gd name="connsiteY52" fmla="*/ 0 h 445872"/>
                    <a:gd name="connsiteX53" fmla="*/ 608415 w 608415"/>
                    <a:gd name="connsiteY53" fmla="*/ 36260 h 445872"/>
                    <a:gd name="connsiteX54" fmla="*/ 608415 w 608415"/>
                    <a:gd name="connsiteY54" fmla="*/ 384178 h 445872"/>
                    <a:gd name="connsiteX55" fmla="*/ 571346 w 608415"/>
                    <a:gd name="connsiteY55" fmla="*/ 420288 h 445872"/>
                    <a:gd name="connsiteX56" fmla="*/ 497508 w 608415"/>
                    <a:gd name="connsiteY56" fmla="*/ 420288 h 445872"/>
                    <a:gd name="connsiteX57" fmla="*/ 491655 w 608415"/>
                    <a:gd name="connsiteY57" fmla="*/ 388523 h 445872"/>
                    <a:gd name="connsiteX58" fmla="*/ 571346 w 608415"/>
                    <a:gd name="connsiteY58" fmla="*/ 388523 h 445872"/>
                    <a:gd name="connsiteX59" fmla="*/ 576599 w 608415"/>
                    <a:gd name="connsiteY59" fmla="*/ 384178 h 445872"/>
                    <a:gd name="connsiteX60" fmla="*/ 576599 w 608415"/>
                    <a:gd name="connsiteY60" fmla="*/ 36260 h 445872"/>
                    <a:gd name="connsiteX61" fmla="*/ 571346 w 608415"/>
                    <a:gd name="connsiteY61" fmla="*/ 31915 h 445872"/>
                    <a:gd name="connsiteX62" fmla="*/ 37069 w 608415"/>
                    <a:gd name="connsiteY62" fmla="*/ 31915 h 445872"/>
                    <a:gd name="connsiteX63" fmla="*/ 31816 w 608415"/>
                    <a:gd name="connsiteY63" fmla="*/ 36260 h 445872"/>
                    <a:gd name="connsiteX64" fmla="*/ 31816 w 608415"/>
                    <a:gd name="connsiteY64" fmla="*/ 384178 h 445872"/>
                    <a:gd name="connsiteX65" fmla="*/ 37069 w 608415"/>
                    <a:gd name="connsiteY65" fmla="*/ 388523 h 445872"/>
                    <a:gd name="connsiteX66" fmla="*/ 359736 w 608415"/>
                    <a:gd name="connsiteY66" fmla="*/ 388523 h 445872"/>
                    <a:gd name="connsiteX67" fmla="*/ 357185 w 608415"/>
                    <a:gd name="connsiteY67" fmla="*/ 399910 h 445872"/>
                    <a:gd name="connsiteX68" fmla="*/ 360337 w 608415"/>
                    <a:gd name="connsiteY68" fmla="*/ 417741 h 445872"/>
                    <a:gd name="connsiteX69" fmla="*/ 362588 w 608415"/>
                    <a:gd name="connsiteY69" fmla="*/ 420288 h 445872"/>
                    <a:gd name="connsiteX70" fmla="*/ 37069 w 608415"/>
                    <a:gd name="connsiteY70" fmla="*/ 420288 h 445872"/>
                    <a:gd name="connsiteX71" fmla="*/ 0 w 608415"/>
                    <a:gd name="connsiteY71" fmla="*/ 384178 h 445872"/>
                    <a:gd name="connsiteX72" fmla="*/ 0 w 608415"/>
                    <a:gd name="connsiteY72" fmla="*/ 36260 h 445872"/>
                    <a:gd name="connsiteX73" fmla="*/ 37069 w 608415"/>
                    <a:gd name="connsiteY73" fmla="*/ 0 h 44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608415" h="445872">
                      <a:moveTo>
                        <a:pt x="463882" y="331728"/>
                      </a:moveTo>
                      <a:lnTo>
                        <a:pt x="482957" y="435849"/>
                      </a:lnTo>
                      <a:cubicBezTo>
                        <a:pt x="484008" y="441243"/>
                        <a:pt x="481905" y="442142"/>
                        <a:pt x="478451" y="437797"/>
                      </a:cubicBezTo>
                      <a:lnTo>
                        <a:pt x="462380" y="417572"/>
                      </a:lnTo>
                      <a:cubicBezTo>
                        <a:pt x="458925" y="413077"/>
                        <a:pt x="454719" y="413827"/>
                        <a:pt x="453067" y="419220"/>
                      </a:cubicBezTo>
                      <a:lnTo>
                        <a:pt x="445708" y="441992"/>
                      </a:lnTo>
                      <a:cubicBezTo>
                        <a:pt x="444055" y="447385"/>
                        <a:pt x="442103" y="447085"/>
                        <a:pt x="441502" y="441542"/>
                      </a:cubicBezTo>
                      <a:lnTo>
                        <a:pt x="430237" y="345211"/>
                      </a:lnTo>
                      <a:cubicBezTo>
                        <a:pt x="443304" y="345062"/>
                        <a:pt x="455020" y="339818"/>
                        <a:pt x="463882" y="331728"/>
                      </a:cubicBezTo>
                      <a:close/>
                      <a:moveTo>
                        <a:pt x="389003" y="328271"/>
                      </a:moveTo>
                      <a:cubicBezTo>
                        <a:pt x="398160" y="338307"/>
                        <a:pt x="411370" y="344598"/>
                        <a:pt x="426081" y="344598"/>
                      </a:cubicBezTo>
                      <a:cubicBezTo>
                        <a:pt x="426382" y="344598"/>
                        <a:pt x="426832" y="344598"/>
                        <a:pt x="427132" y="344598"/>
                      </a:cubicBezTo>
                      <a:lnTo>
                        <a:pt x="412721" y="419192"/>
                      </a:lnTo>
                      <a:cubicBezTo>
                        <a:pt x="411670" y="424584"/>
                        <a:pt x="409869" y="424734"/>
                        <a:pt x="408518" y="419342"/>
                      </a:cubicBezTo>
                      <a:lnTo>
                        <a:pt x="401913" y="391032"/>
                      </a:lnTo>
                      <a:cubicBezTo>
                        <a:pt x="400562" y="385490"/>
                        <a:pt x="396509" y="384591"/>
                        <a:pt x="392756" y="388785"/>
                      </a:cubicBezTo>
                      <a:lnTo>
                        <a:pt x="376243" y="407209"/>
                      </a:lnTo>
                      <a:cubicBezTo>
                        <a:pt x="372641" y="411403"/>
                        <a:pt x="370539" y="410354"/>
                        <a:pt x="371740" y="404962"/>
                      </a:cubicBezTo>
                      <a:close/>
                      <a:moveTo>
                        <a:pt x="428014" y="236606"/>
                      </a:moveTo>
                      <a:cubicBezTo>
                        <a:pt x="455938" y="236606"/>
                        <a:pt x="478574" y="259211"/>
                        <a:pt x="478574" y="287096"/>
                      </a:cubicBezTo>
                      <a:cubicBezTo>
                        <a:pt x="478574" y="314981"/>
                        <a:pt x="455938" y="337586"/>
                        <a:pt x="428014" y="337586"/>
                      </a:cubicBezTo>
                      <a:cubicBezTo>
                        <a:pt x="400090" y="337586"/>
                        <a:pt x="377454" y="314981"/>
                        <a:pt x="377454" y="287096"/>
                      </a:cubicBezTo>
                      <a:cubicBezTo>
                        <a:pt x="377454" y="259211"/>
                        <a:pt x="400090" y="236606"/>
                        <a:pt x="428014" y="236606"/>
                      </a:cubicBezTo>
                      <a:close/>
                      <a:moveTo>
                        <a:pt x="96924" y="171248"/>
                      </a:moveTo>
                      <a:cubicBezTo>
                        <a:pt x="93922" y="171248"/>
                        <a:pt x="91671" y="173645"/>
                        <a:pt x="91671" y="176642"/>
                      </a:cubicBezTo>
                      <a:cubicBezTo>
                        <a:pt x="91671" y="179488"/>
                        <a:pt x="93922" y="181886"/>
                        <a:pt x="96924" y="181886"/>
                      </a:cubicBezTo>
                      <a:lnTo>
                        <a:pt x="496585" y="181886"/>
                      </a:lnTo>
                      <a:cubicBezTo>
                        <a:pt x="499437" y="181886"/>
                        <a:pt x="501838" y="179488"/>
                        <a:pt x="501838" y="176642"/>
                      </a:cubicBezTo>
                      <a:cubicBezTo>
                        <a:pt x="501838" y="173645"/>
                        <a:pt x="499437" y="171248"/>
                        <a:pt x="496585" y="171248"/>
                      </a:cubicBezTo>
                      <a:close/>
                      <a:moveTo>
                        <a:pt x="96924" y="103823"/>
                      </a:moveTo>
                      <a:cubicBezTo>
                        <a:pt x="93922" y="103823"/>
                        <a:pt x="91671" y="106220"/>
                        <a:pt x="91671" y="109067"/>
                      </a:cubicBezTo>
                      <a:cubicBezTo>
                        <a:pt x="91671" y="112064"/>
                        <a:pt x="93922" y="114311"/>
                        <a:pt x="96924" y="114311"/>
                      </a:cubicBezTo>
                      <a:lnTo>
                        <a:pt x="496585" y="114311"/>
                      </a:lnTo>
                      <a:cubicBezTo>
                        <a:pt x="499437" y="114311"/>
                        <a:pt x="501838" y="112064"/>
                        <a:pt x="501838" y="109067"/>
                      </a:cubicBezTo>
                      <a:cubicBezTo>
                        <a:pt x="501838" y="106220"/>
                        <a:pt x="499437" y="103823"/>
                        <a:pt x="496585" y="103823"/>
                      </a:cubicBezTo>
                      <a:close/>
                      <a:moveTo>
                        <a:pt x="64206" y="52430"/>
                      </a:moveTo>
                      <a:lnTo>
                        <a:pt x="539058" y="52430"/>
                      </a:lnTo>
                      <a:cubicBezTo>
                        <a:pt x="550764" y="52430"/>
                        <a:pt x="560219" y="62019"/>
                        <a:pt x="560219" y="73706"/>
                      </a:cubicBezTo>
                      <a:lnTo>
                        <a:pt x="560219" y="343406"/>
                      </a:lnTo>
                      <a:cubicBezTo>
                        <a:pt x="560219" y="355093"/>
                        <a:pt x="550764" y="364682"/>
                        <a:pt x="539058" y="364682"/>
                      </a:cubicBezTo>
                      <a:lnTo>
                        <a:pt x="486830" y="364682"/>
                      </a:lnTo>
                      <a:lnTo>
                        <a:pt x="480227" y="327973"/>
                      </a:lnTo>
                      <a:cubicBezTo>
                        <a:pt x="489532" y="316436"/>
                        <a:pt x="495085" y="301902"/>
                        <a:pt x="495085" y="286170"/>
                      </a:cubicBezTo>
                      <a:cubicBezTo>
                        <a:pt x="495085" y="249460"/>
                        <a:pt x="465219" y="219793"/>
                        <a:pt x="428599" y="219793"/>
                      </a:cubicBezTo>
                      <a:cubicBezTo>
                        <a:pt x="391980" y="219793"/>
                        <a:pt x="362114" y="249460"/>
                        <a:pt x="362114" y="286170"/>
                      </a:cubicBezTo>
                      <a:cubicBezTo>
                        <a:pt x="362114" y="300104"/>
                        <a:pt x="366617" y="313139"/>
                        <a:pt x="373970" y="323778"/>
                      </a:cubicBezTo>
                      <a:lnTo>
                        <a:pt x="364966" y="364682"/>
                      </a:lnTo>
                      <a:lnTo>
                        <a:pt x="64206" y="364682"/>
                      </a:lnTo>
                      <a:cubicBezTo>
                        <a:pt x="52500" y="364682"/>
                        <a:pt x="43045" y="355093"/>
                        <a:pt x="43045" y="343406"/>
                      </a:cubicBezTo>
                      <a:lnTo>
                        <a:pt x="43045" y="73706"/>
                      </a:lnTo>
                      <a:cubicBezTo>
                        <a:pt x="43045" y="62019"/>
                        <a:pt x="52500" y="52430"/>
                        <a:pt x="64206" y="52430"/>
                      </a:cubicBezTo>
                      <a:close/>
                      <a:moveTo>
                        <a:pt x="37069" y="0"/>
                      </a:moveTo>
                      <a:lnTo>
                        <a:pt x="571346" y="0"/>
                      </a:lnTo>
                      <a:cubicBezTo>
                        <a:pt x="591757" y="0"/>
                        <a:pt x="608415" y="16332"/>
                        <a:pt x="608415" y="36260"/>
                      </a:cubicBezTo>
                      <a:lnTo>
                        <a:pt x="608415" y="384178"/>
                      </a:lnTo>
                      <a:cubicBezTo>
                        <a:pt x="608415" y="404106"/>
                        <a:pt x="591757" y="420288"/>
                        <a:pt x="571346" y="420288"/>
                      </a:cubicBezTo>
                      <a:lnTo>
                        <a:pt x="497508" y="420288"/>
                      </a:lnTo>
                      <a:lnTo>
                        <a:pt x="491655" y="388523"/>
                      </a:lnTo>
                      <a:lnTo>
                        <a:pt x="571346" y="388523"/>
                      </a:lnTo>
                      <a:cubicBezTo>
                        <a:pt x="574197" y="388523"/>
                        <a:pt x="576599" y="386425"/>
                        <a:pt x="576599" y="384178"/>
                      </a:cubicBezTo>
                      <a:lnTo>
                        <a:pt x="576599" y="36260"/>
                      </a:lnTo>
                      <a:cubicBezTo>
                        <a:pt x="576599" y="33863"/>
                        <a:pt x="574197" y="31915"/>
                        <a:pt x="571346" y="31915"/>
                      </a:cubicBezTo>
                      <a:lnTo>
                        <a:pt x="37069" y="31915"/>
                      </a:lnTo>
                      <a:cubicBezTo>
                        <a:pt x="34218" y="31915"/>
                        <a:pt x="31816" y="33863"/>
                        <a:pt x="31816" y="36260"/>
                      </a:cubicBezTo>
                      <a:lnTo>
                        <a:pt x="31816" y="384178"/>
                      </a:lnTo>
                      <a:cubicBezTo>
                        <a:pt x="31816" y="386425"/>
                        <a:pt x="34218" y="388523"/>
                        <a:pt x="37069" y="388523"/>
                      </a:cubicBezTo>
                      <a:lnTo>
                        <a:pt x="359736" y="388523"/>
                      </a:lnTo>
                      <a:lnTo>
                        <a:pt x="357185" y="399910"/>
                      </a:lnTo>
                      <a:cubicBezTo>
                        <a:pt x="355534" y="407103"/>
                        <a:pt x="356585" y="413096"/>
                        <a:pt x="360337" y="417741"/>
                      </a:cubicBezTo>
                      <a:lnTo>
                        <a:pt x="362588" y="420288"/>
                      </a:lnTo>
                      <a:lnTo>
                        <a:pt x="37069" y="420288"/>
                      </a:lnTo>
                      <a:cubicBezTo>
                        <a:pt x="16658" y="420288"/>
                        <a:pt x="0" y="404106"/>
                        <a:pt x="0" y="384178"/>
                      </a:cubicBezTo>
                      <a:lnTo>
                        <a:pt x="0" y="36260"/>
                      </a:lnTo>
                      <a:cubicBezTo>
                        <a:pt x="0" y="16332"/>
                        <a:pt x="16658" y="0"/>
                        <a:pt x="37069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03" name="文本框 102"/>
                <p:cNvSpPr txBox="1"/>
                <p:nvPr/>
              </p:nvSpPr>
              <p:spPr>
                <a:xfrm>
                  <a:off x="29700" y="8255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转换规则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104" name="组合 103"/>
              <p:cNvGrpSpPr/>
              <p:nvPr/>
            </p:nvGrpSpPr>
            <p:grpSpPr>
              <a:xfrm rot="0">
                <a:off x="29366" y="7051"/>
                <a:ext cx="1728" cy="1360"/>
                <a:chOff x="29700" y="7475"/>
                <a:chExt cx="1728" cy="1360"/>
              </a:xfrm>
            </p:grpSpPr>
            <p:sp>
              <p:nvSpPr>
                <p:cNvPr id="105" name="certificate-award_27477"/>
                <p:cNvSpPr>
                  <a:spLocks noChangeAspect="1"/>
                </p:cNvSpPr>
                <p:nvPr/>
              </p:nvSpPr>
              <p:spPr bwMode="auto">
                <a:xfrm>
                  <a:off x="30079" y="7475"/>
                  <a:ext cx="960" cy="704"/>
                </a:xfrm>
                <a:custGeom>
                  <a:avLst/>
                  <a:gdLst>
                    <a:gd name="connsiteX0" fmla="*/ 463882 w 608415"/>
                    <a:gd name="connsiteY0" fmla="*/ 331728 h 445872"/>
                    <a:gd name="connsiteX1" fmla="*/ 482957 w 608415"/>
                    <a:gd name="connsiteY1" fmla="*/ 435849 h 445872"/>
                    <a:gd name="connsiteX2" fmla="*/ 478451 w 608415"/>
                    <a:gd name="connsiteY2" fmla="*/ 437797 h 445872"/>
                    <a:gd name="connsiteX3" fmla="*/ 462380 w 608415"/>
                    <a:gd name="connsiteY3" fmla="*/ 417572 h 445872"/>
                    <a:gd name="connsiteX4" fmla="*/ 453067 w 608415"/>
                    <a:gd name="connsiteY4" fmla="*/ 419220 h 445872"/>
                    <a:gd name="connsiteX5" fmla="*/ 445708 w 608415"/>
                    <a:gd name="connsiteY5" fmla="*/ 441992 h 445872"/>
                    <a:gd name="connsiteX6" fmla="*/ 441502 w 608415"/>
                    <a:gd name="connsiteY6" fmla="*/ 441542 h 445872"/>
                    <a:gd name="connsiteX7" fmla="*/ 430237 w 608415"/>
                    <a:gd name="connsiteY7" fmla="*/ 345211 h 445872"/>
                    <a:gd name="connsiteX8" fmla="*/ 463882 w 608415"/>
                    <a:gd name="connsiteY8" fmla="*/ 331728 h 445872"/>
                    <a:gd name="connsiteX9" fmla="*/ 389003 w 608415"/>
                    <a:gd name="connsiteY9" fmla="*/ 328271 h 445872"/>
                    <a:gd name="connsiteX10" fmla="*/ 426081 w 608415"/>
                    <a:gd name="connsiteY10" fmla="*/ 344598 h 445872"/>
                    <a:gd name="connsiteX11" fmla="*/ 427132 w 608415"/>
                    <a:gd name="connsiteY11" fmla="*/ 344598 h 445872"/>
                    <a:gd name="connsiteX12" fmla="*/ 412721 w 608415"/>
                    <a:gd name="connsiteY12" fmla="*/ 419192 h 445872"/>
                    <a:gd name="connsiteX13" fmla="*/ 408518 w 608415"/>
                    <a:gd name="connsiteY13" fmla="*/ 419342 h 445872"/>
                    <a:gd name="connsiteX14" fmla="*/ 401913 w 608415"/>
                    <a:gd name="connsiteY14" fmla="*/ 391032 h 445872"/>
                    <a:gd name="connsiteX15" fmla="*/ 392756 w 608415"/>
                    <a:gd name="connsiteY15" fmla="*/ 388785 h 445872"/>
                    <a:gd name="connsiteX16" fmla="*/ 376243 w 608415"/>
                    <a:gd name="connsiteY16" fmla="*/ 407209 h 445872"/>
                    <a:gd name="connsiteX17" fmla="*/ 371740 w 608415"/>
                    <a:gd name="connsiteY17" fmla="*/ 404962 h 445872"/>
                    <a:gd name="connsiteX18" fmla="*/ 428014 w 608415"/>
                    <a:gd name="connsiteY18" fmla="*/ 236606 h 445872"/>
                    <a:gd name="connsiteX19" fmla="*/ 478574 w 608415"/>
                    <a:gd name="connsiteY19" fmla="*/ 287096 h 445872"/>
                    <a:gd name="connsiteX20" fmla="*/ 428014 w 608415"/>
                    <a:gd name="connsiteY20" fmla="*/ 337586 h 445872"/>
                    <a:gd name="connsiteX21" fmla="*/ 377454 w 608415"/>
                    <a:gd name="connsiteY21" fmla="*/ 287096 h 445872"/>
                    <a:gd name="connsiteX22" fmla="*/ 428014 w 608415"/>
                    <a:gd name="connsiteY22" fmla="*/ 236606 h 445872"/>
                    <a:gd name="connsiteX23" fmla="*/ 96924 w 608415"/>
                    <a:gd name="connsiteY23" fmla="*/ 171248 h 445872"/>
                    <a:gd name="connsiteX24" fmla="*/ 91671 w 608415"/>
                    <a:gd name="connsiteY24" fmla="*/ 176642 h 445872"/>
                    <a:gd name="connsiteX25" fmla="*/ 96924 w 608415"/>
                    <a:gd name="connsiteY25" fmla="*/ 181886 h 445872"/>
                    <a:gd name="connsiteX26" fmla="*/ 496585 w 608415"/>
                    <a:gd name="connsiteY26" fmla="*/ 181886 h 445872"/>
                    <a:gd name="connsiteX27" fmla="*/ 501838 w 608415"/>
                    <a:gd name="connsiteY27" fmla="*/ 176642 h 445872"/>
                    <a:gd name="connsiteX28" fmla="*/ 496585 w 608415"/>
                    <a:gd name="connsiteY28" fmla="*/ 171248 h 445872"/>
                    <a:gd name="connsiteX29" fmla="*/ 96924 w 608415"/>
                    <a:gd name="connsiteY29" fmla="*/ 103823 h 445872"/>
                    <a:gd name="connsiteX30" fmla="*/ 91671 w 608415"/>
                    <a:gd name="connsiteY30" fmla="*/ 109067 h 445872"/>
                    <a:gd name="connsiteX31" fmla="*/ 96924 w 608415"/>
                    <a:gd name="connsiteY31" fmla="*/ 114311 h 445872"/>
                    <a:gd name="connsiteX32" fmla="*/ 496585 w 608415"/>
                    <a:gd name="connsiteY32" fmla="*/ 114311 h 445872"/>
                    <a:gd name="connsiteX33" fmla="*/ 501838 w 608415"/>
                    <a:gd name="connsiteY33" fmla="*/ 109067 h 445872"/>
                    <a:gd name="connsiteX34" fmla="*/ 496585 w 608415"/>
                    <a:gd name="connsiteY34" fmla="*/ 103823 h 445872"/>
                    <a:gd name="connsiteX35" fmla="*/ 64206 w 608415"/>
                    <a:gd name="connsiteY35" fmla="*/ 52430 h 445872"/>
                    <a:gd name="connsiteX36" fmla="*/ 539058 w 608415"/>
                    <a:gd name="connsiteY36" fmla="*/ 52430 h 445872"/>
                    <a:gd name="connsiteX37" fmla="*/ 560219 w 608415"/>
                    <a:gd name="connsiteY37" fmla="*/ 73706 h 445872"/>
                    <a:gd name="connsiteX38" fmla="*/ 560219 w 608415"/>
                    <a:gd name="connsiteY38" fmla="*/ 343406 h 445872"/>
                    <a:gd name="connsiteX39" fmla="*/ 539058 w 608415"/>
                    <a:gd name="connsiteY39" fmla="*/ 364682 h 445872"/>
                    <a:gd name="connsiteX40" fmla="*/ 486830 w 608415"/>
                    <a:gd name="connsiteY40" fmla="*/ 364682 h 445872"/>
                    <a:gd name="connsiteX41" fmla="*/ 480227 w 608415"/>
                    <a:gd name="connsiteY41" fmla="*/ 327973 h 445872"/>
                    <a:gd name="connsiteX42" fmla="*/ 495085 w 608415"/>
                    <a:gd name="connsiteY42" fmla="*/ 286170 h 445872"/>
                    <a:gd name="connsiteX43" fmla="*/ 428599 w 608415"/>
                    <a:gd name="connsiteY43" fmla="*/ 219793 h 445872"/>
                    <a:gd name="connsiteX44" fmla="*/ 362114 w 608415"/>
                    <a:gd name="connsiteY44" fmla="*/ 286170 h 445872"/>
                    <a:gd name="connsiteX45" fmla="*/ 373970 w 608415"/>
                    <a:gd name="connsiteY45" fmla="*/ 323778 h 445872"/>
                    <a:gd name="connsiteX46" fmla="*/ 364966 w 608415"/>
                    <a:gd name="connsiteY46" fmla="*/ 364682 h 445872"/>
                    <a:gd name="connsiteX47" fmla="*/ 64206 w 608415"/>
                    <a:gd name="connsiteY47" fmla="*/ 364682 h 445872"/>
                    <a:gd name="connsiteX48" fmla="*/ 43045 w 608415"/>
                    <a:gd name="connsiteY48" fmla="*/ 343406 h 445872"/>
                    <a:gd name="connsiteX49" fmla="*/ 43045 w 608415"/>
                    <a:gd name="connsiteY49" fmla="*/ 73706 h 445872"/>
                    <a:gd name="connsiteX50" fmla="*/ 64206 w 608415"/>
                    <a:gd name="connsiteY50" fmla="*/ 52430 h 445872"/>
                    <a:gd name="connsiteX51" fmla="*/ 37069 w 608415"/>
                    <a:gd name="connsiteY51" fmla="*/ 0 h 445872"/>
                    <a:gd name="connsiteX52" fmla="*/ 571346 w 608415"/>
                    <a:gd name="connsiteY52" fmla="*/ 0 h 445872"/>
                    <a:gd name="connsiteX53" fmla="*/ 608415 w 608415"/>
                    <a:gd name="connsiteY53" fmla="*/ 36260 h 445872"/>
                    <a:gd name="connsiteX54" fmla="*/ 608415 w 608415"/>
                    <a:gd name="connsiteY54" fmla="*/ 384178 h 445872"/>
                    <a:gd name="connsiteX55" fmla="*/ 571346 w 608415"/>
                    <a:gd name="connsiteY55" fmla="*/ 420288 h 445872"/>
                    <a:gd name="connsiteX56" fmla="*/ 497508 w 608415"/>
                    <a:gd name="connsiteY56" fmla="*/ 420288 h 445872"/>
                    <a:gd name="connsiteX57" fmla="*/ 491655 w 608415"/>
                    <a:gd name="connsiteY57" fmla="*/ 388523 h 445872"/>
                    <a:gd name="connsiteX58" fmla="*/ 571346 w 608415"/>
                    <a:gd name="connsiteY58" fmla="*/ 388523 h 445872"/>
                    <a:gd name="connsiteX59" fmla="*/ 576599 w 608415"/>
                    <a:gd name="connsiteY59" fmla="*/ 384178 h 445872"/>
                    <a:gd name="connsiteX60" fmla="*/ 576599 w 608415"/>
                    <a:gd name="connsiteY60" fmla="*/ 36260 h 445872"/>
                    <a:gd name="connsiteX61" fmla="*/ 571346 w 608415"/>
                    <a:gd name="connsiteY61" fmla="*/ 31915 h 445872"/>
                    <a:gd name="connsiteX62" fmla="*/ 37069 w 608415"/>
                    <a:gd name="connsiteY62" fmla="*/ 31915 h 445872"/>
                    <a:gd name="connsiteX63" fmla="*/ 31816 w 608415"/>
                    <a:gd name="connsiteY63" fmla="*/ 36260 h 445872"/>
                    <a:gd name="connsiteX64" fmla="*/ 31816 w 608415"/>
                    <a:gd name="connsiteY64" fmla="*/ 384178 h 445872"/>
                    <a:gd name="connsiteX65" fmla="*/ 37069 w 608415"/>
                    <a:gd name="connsiteY65" fmla="*/ 388523 h 445872"/>
                    <a:gd name="connsiteX66" fmla="*/ 359736 w 608415"/>
                    <a:gd name="connsiteY66" fmla="*/ 388523 h 445872"/>
                    <a:gd name="connsiteX67" fmla="*/ 357185 w 608415"/>
                    <a:gd name="connsiteY67" fmla="*/ 399910 h 445872"/>
                    <a:gd name="connsiteX68" fmla="*/ 360337 w 608415"/>
                    <a:gd name="connsiteY68" fmla="*/ 417741 h 445872"/>
                    <a:gd name="connsiteX69" fmla="*/ 362588 w 608415"/>
                    <a:gd name="connsiteY69" fmla="*/ 420288 h 445872"/>
                    <a:gd name="connsiteX70" fmla="*/ 37069 w 608415"/>
                    <a:gd name="connsiteY70" fmla="*/ 420288 h 445872"/>
                    <a:gd name="connsiteX71" fmla="*/ 0 w 608415"/>
                    <a:gd name="connsiteY71" fmla="*/ 384178 h 445872"/>
                    <a:gd name="connsiteX72" fmla="*/ 0 w 608415"/>
                    <a:gd name="connsiteY72" fmla="*/ 36260 h 445872"/>
                    <a:gd name="connsiteX73" fmla="*/ 37069 w 608415"/>
                    <a:gd name="connsiteY73" fmla="*/ 0 h 44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608415" h="445872">
                      <a:moveTo>
                        <a:pt x="463882" y="331728"/>
                      </a:moveTo>
                      <a:lnTo>
                        <a:pt x="482957" y="435849"/>
                      </a:lnTo>
                      <a:cubicBezTo>
                        <a:pt x="484008" y="441243"/>
                        <a:pt x="481905" y="442142"/>
                        <a:pt x="478451" y="437797"/>
                      </a:cubicBezTo>
                      <a:lnTo>
                        <a:pt x="462380" y="417572"/>
                      </a:lnTo>
                      <a:cubicBezTo>
                        <a:pt x="458925" y="413077"/>
                        <a:pt x="454719" y="413827"/>
                        <a:pt x="453067" y="419220"/>
                      </a:cubicBezTo>
                      <a:lnTo>
                        <a:pt x="445708" y="441992"/>
                      </a:lnTo>
                      <a:cubicBezTo>
                        <a:pt x="444055" y="447385"/>
                        <a:pt x="442103" y="447085"/>
                        <a:pt x="441502" y="441542"/>
                      </a:cubicBezTo>
                      <a:lnTo>
                        <a:pt x="430237" y="345211"/>
                      </a:lnTo>
                      <a:cubicBezTo>
                        <a:pt x="443304" y="345062"/>
                        <a:pt x="455020" y="339818"/>
                        <a:pt x="463882" y="331728"/>
                      </a:cubicBezTo>
                      <a:close/>
                      <a:moveTo>
                        <a:pt x="389003" y="328271"/>
                      </a:moveTo>
                      <a:cubicBezTo>
                        <a:pt x="398160" y="338307"/>
                        <a:pt x="411370" y="344598"/>
                        <a:pt x="426081" y="344598"/>
                      </a:cubicBezTo>
                      <a:cubicBezTo>
                        <a:pt x="426382" y="344598"/>
                        <a:pt x="426832" y="344598"/>
                        <a:pt x="427132" y="344598"/>
                      </a:cubicBezTo>
                      <a:lnTo>
                        <a:pt x="412721" y="419192"/>
                      </a:lnTo>
                      <a:cubicBezTo>
                        <a:pt x="411670" y="424584"/>
                        <a:pt x="409869" y="424734"/>
                        <a:pt x="408518" y="419342"/>
                      </a:cubicBezTo>
                      <a:lnTo>
                        <a:pt x="401913" y="391032"/>
                      </a:lnTo>
                      <a:cubicBezTo>
                        <a:pt x="400562" y="385490"/>
                        <a:pt x="396509" y="384591"/>
                        <a:pt x="392756" y="388785"/>
                      </a:cubicBezTo>
                      <a:lnTo>
                        <a:pt x="376243" y="407209"/>
                      </a:lnTo>
                      <a:cubicBezTo>
                        <a:pt x="372641" y="411403"/>
                        <a:pt x="370539" y="410354"/>
                        <a:pt x="371740" y="404962"/>
                      </a:cubicBezTo>
                      <a:close/>
                      <a:moveTo>
                        <a:pt x="428014" y="236606"/>
                      </a:moveTo>
                      <a:cubicBezTo>
                        <a:pt x="455938" y="236606"/>
                        <a:pt x="478574" y="259211"/>
                        <a:pt x="478574" y="287096"/>
                      </a:cubicBezTo>
                      <a:cubicBezTo>
                        <a:pt x="478574" y="314981"/>
                        <a:pt x="455938" y="337586"/>
                        <a:pt x="428014" y="337586"/>
                      </a:cubicBezTo>
                      <a:cubicBezTo>
                        <a:pt x="400090" y="337586"/>
                        <a:pt x="377454" y="314981"/>
                        <a:pt x="377454" y="287096"/>
                      </a:cubicBezTo>
                      <a:cubicBezTo>
                        <a:pt x="377454" y="259211"/>
                        <a:pt x="400090" y="236606"/>
                        <a:pt x="428014" y="236606"/>
                      </a:cubicBezTo>
                      <a:close/>
                      <a:moveTo>
                        <a:pt x="96924" y="171248"/>
                      </a:moveTo>
                      <a:cubicBezTo>
                        <a:pt x="93922" y="171248"/>
                        <a:pt x="91671" y="173645"/>
                        <a:pt x="91671" y="176642"/>
                      </a:cubicBezTo>
                      <a:cubicBezTo>
                        <a:pt x="91671" y="179488"/>
                        <a:pt x="93922" y="181886"/>
                        <a:pt x="96924" y="181886"/>
                      </a:cubicBezTo>
                      <a:lnTo>
                        <a:pt x="496585" y="181886"/>
                      </a:lnTo>
                      <a:cubicBezTo>
                        <a:pt x="499437" y="181886"/>
                        <a:pt x="501838" y="179488"/>
                        <a:pt x="501838" y="176642"/>
                      </a:cubicBezTo>
                      <a:cubicBezTo>
                        <a:pt x="501838" y="173645"/>
                        <a:pt x="499437" y="171248"/>
                        <a:pt x="496585" y="171248"/>
                      </a:cubicBezTo>
                      <a:close/>
                      <a:moveTo>
                        <a:pt x="96924" y="103823"/>
                      </a:moveTo>
                      <a:cubicBezTo>
                        <a:pt x="93922" y="103823"/>
                        <a:pt x="91671" y="106220"/>
                        <a:pt x="91671" y="109067"/>
                      </a:cubicBezTo>
                      <a:cubicBezTo>
                        <a:pt x="91671" y="112064"/>
                        <a:pt x="93922" y="114311"/>
                        <a:pt x="96924" y="114311"/>
                      </a:cubicBezTo>
                      <a:lnTo>
                        <a:pt x="496585" y="114311"/>
                      </a:lnTo>
                      <a:cubicBezTo>
                        <a:pt x="499437" y="114311"/>
                        <a:pt x="501838" y="112064"/>
                        <a:pt x="501838" y="109067"/>
                      </a:cubicBezTo>
                      <a:cubicBezTo>
                        <a:pt x="501838" y="106220"/>
                        <a:pt x="499437" y="103823"/>
                        <a:pt x="496585" y="103823"/>
                      </a:cubicBezTo>
                      <a:close/>
                      <a:moveTo>
                        <a:pt x="64206" y="52430"/>
                      </a:moveTo>
                      <a:lnTo>
                        <a:pt x="539058" y="52430"/>
                      </a:lnTo>
                      <a:cubicBezTo>
                        <a:pt x="550764" y="52430"/>
                        <a:pt x="560219" y="62019"/>
                        <a:pt x="560219" y="73706"/>
                      </a:cubicBezTo>
                      <a:lnTo>
                        <a:pt x="560219" y="343406"/>
                      </a:lnTo>
                      <a:cubicBezTo>
                        <a:pt x="560219" y="355093"/>
                        <a:pt x="550764" y="364682"/>
                        <a:pt x="539058" y="364682"/>
                      </a:cubicBezTo>
                      <a:lnTo>
                        <a:pt x="486830" y="364682"/>
                      </a:lnTo>
                      <a:lnTo>
                        <a:pt x="480227" y="327973"/>
                      </a:lnTo>
                      <a:cubicBezTo>
                        <a:pt x="489532" y="316436"/>
                        <a:pt x="495085" y="301902"/>
                        <a:pt x="495085" y="286170"/>
                      </a:cubicBezTo>
                      <a:cubicBezTo>
                        <a:pt x="495085" y="249460"/>
                        <a:pt x="465219" y="219793"/>
                        <a:pt x="428599" y="219793"/>
                      </a:cubicBezTo>
                      <a:cubicBezTo>
                        <a:pt x="391980" y="219793"/>
                        <a:pt x="362114" y="249460"/>
                        <a:pt x="362114" y="286170"/>
                      </a:cubicBezTo>
                      <a:cubicBezTo>
                        <a:pt x="362114" y="300104"/>
                        <a:pt x="366617" y="313139"/>
                        <a:pt x="373970" y="323778"/>
                      </a:cubicBezTo>
                      <a:lnTo>
                        <a:pt x="364966" y="364682"/>
                      </a:lnTo>
                      <a:lnTo>
                        <a:pt x="64206" y="364682"/>
                      </a:lnTo>
                      <a:cubicBezTo>
                        <a:pt x="52500" y="364682"/>
                        <a:pt x="43045" y="355093"/>
                        <a:pt x="43045" y="343406"/>
                      </a:cubicBezTo>
                      <a:lnTo>
                        <a:pt x="43045" y="73706"/>
                      </a:lnTo>
                      <a:cubicBezTo>
                        <a:pt x="43045" y="62019"/>
                        <a:pt x="52500" y="52430"/>
                        <a:pt x="64206" y="52430"/>
                      </a:cubicBezTo>
                      <a:close/>
                      <a:moveTo>
                        <a:pt x="37069" y="0"/>
                      </a:moveTo>
                      <a:lnTo>
                        <a:pt x="571346" y="0"/>
                      </a:lnTo>
                      <a:cubicBezTo>
                        <a:pt x="591757" y="0"/>
                        <a:pt x="608415" y="16332"/>
                        <a:pt x="608415" y="36260"/>
                      </a:cubicBezTo>
                      <a:lnTo>
                        <a:pt x="608415" y="384178"/>
                      </a:lnTo>
                      <a:cubicBezTo>
                        <a:pt x="608415" y="404106"/>
                        <a:pt x="591757" y="420288"/>
                        <a:pt x="571346" y="420288"/>
                      </a:cubicBezTo>
                      <a:lnTo>
                        <a:pt x="497508" y="420288"/>
                      </a:lnTo>
                      <a:lnTo>
                        <a:pt x="491655" y="388523"/>
                      </a:lnTo>
                      <a:lnTo>
                        <a:pt x="571346" y="388523"/>
                      </a:lnTo>
                      <a:cubicBezTo>
                        <a:pt x="574197" y="388523"/>
                        <a:pt x="576599" y="386425"/>
                        <a:pt x="576599" y="384178"/>
                      </a:cubicBezTo>
                      <a:lnTo>
                        <a:pt x="576599" y="36260"/>
                      </a:lnTo>
                      <a:cubicBezTo>
                        <a:pt x="576599" y="33863"/>
                        <a:pt x="574197" y="31915"/>
                        <a:pt x="571346" y="31915"/>
                      </a:cubicBezTo>
                      <a:lnTo>
                        <a:pt x="37069" y="31915"/>
                      </a:lnTo>
                      <a:cubicBezTo>
                        <a:pt x="34218" y="31915"/>
                        <a:pt x="31816" y="33863"/>
                        <a:pt x="31816" y="36260"/>
                      </a:cubicBezTo>
                      <a:lnTo>
                        <a:pt x="31816" y="384178"/>
                      </a:lnTo>
                      <a:cubicBezTo>
                        <a:pt x="31816" y="386425"/>
                        <a:pt x="34218" y="388523"/>
                        <a:pt x="37069" y="388523"/>
                      </a:cubicBezTo>
                      <a:lnTo>
                        <a:pt x="359736" y="388523"/>
                      </a:lnTo>
                      <a:lnTo>
                        <a:pt x="357185" y="399910"/>
                      </a:lnTo>
                      <a:cubicBezTo>
                        <a:pt x="355534" y="407103"/>
                        <a:pt x="356585" y="413096"/>
                        <a:pt x="360337" y="417741"/>
                      </a:cubicBezTo>
                      <a:lnTo>
                        <a:pt x="362588" y="420288"/>
                      </a:lnTo>
                      <a:lnTo>
                        <a:pt x="37069" y="420288"/>
                      </a:lnTo>
                      <a:cubicBezTo>
                        <a:pt x="16658" y="420288"/>
                        <a:pt x="0" y="404106"/>
                        <a:pt x="0" y="384178"/>
                      </a:cubicBezTo>
                      <a:lnTo>
                        <a:pt x="0" y="36260"/>
                      </a:lnTo>
                      <a:cubicBezTo>
                        <a:pt x="0" y="16332"/>
                        <a:pt x="16658" y="0"/>
                        <a:pt x="37069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06" name="文本框 105"/>
                <p:cNvSpPr txBox="1"/>
                <p:nvPr/>
              </p:nvSpPr>
              <p:spPr>
                <a:xfrm>
                  <a:off x="29700" y="8255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转换规则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" name="组合 106"/>
              <p:cNvGrpSpPr/>
              <p:nvPr/>
            </p:nvGrpSpPr>
            <p:grpSpPr>
              <a:xfrm rot="0">
                <a:off x="32178" y="7058"/>
                <a:ext cx="1728" cy="1360"/>
                <a:chOff x="29700" y="7475"/>
                <a:chExt cx="1728" cy="1360"/>
              </a:xfrm>
            </p:grpSpPr>
            <p:sp>
              <p:nvSpPr>
                <p:cNvPr id="108" name="certificate-award_27477"/>
                <p:cNvSpPr>
                  <a:spLocks noChangeAspect="1"/>
                </p:cNvSpPr>
                <p:nvPr/>
              </p:nvSpPr>
              <p:spPr bwMode="auto">
                <a:xfrm>
                  <a:off x="30079" y="7475"/>
                  <a:ext cx="960" cy="704"/>
                </a:xfrm>
                <a:custGeom>
                  <a:avLst/>
                  <a:gdLst>
                    <a:gd name="connsiteX0" fmla="*/ 463882 w 608415"/>
                    <a:gd name="connsiteY0" fmla="*/ 331728 h 445872"/>
                    <a:gd name="connsiteX1" fmla="*/ 482957 w 608415"/>
                    <a:gd name="connsiteY1" fmla="*/ 435849 h 445872"/>
                    <a:gd name="connsiteX2" fmla="*/ 478451 w 608415"/>
                    <a:gd name="connsiteY2" fmla="*/ 437797 h 445872"/>
                    <a:gd name="connsiteX3" fmla="*/ 462380 w 608415"/>
                    <a:gd name="connsiteY3" fmla="*/ 417572 h 445872"/>
                    <a:gd name="connsiteX4" fmla="*/ 453067 w 608415"/>
                    <a:gd name="connsiteY4" fmla="*/ 419220 h 445872"/>
                    <a:gd name="connsiteX5" fmla="*/ 445708 w 608415"/>
                    <a:gd name="connsiteY5" fmla="*/ 441992 h 445872"/>
                    <a:gd name="connsiteX6" fmla="*/ 441502 w 608415"/>
                    <a:gd name="connsiteY6" fmla="*/ 441542 h 445872"/>
                    <a:gd name="connsiteX7" fmla="*/ 430237 w 608415"/>
                    <a:gd name="connsiteY7" fmla="*/ 345211 h 445872"/>
                    <a:gd name="connsiteX8" fmla="*/ 463882 w 608415"/>
                    <a:gd name="connsiteY8" fmla="*/ 331728 h 445872"/>
                    <a:gd name="connsiteX9" fmla="*/ 389003 w 608415"/>
                    <a:gd name="connsiteY9" fmla="*/ 328271 h 445872"/>
                    <a:gd name="connsiteX10" fmla="*/ 426081 w 608415"/>
                    <a:gd name="connsiteY10" fmla="*/ 344598 h 445872"/>
                    <a:gd name="connsiteX11" fmla="*/ 427132 w 608415"/>
                    <a:gd name="connsiteY11" fmla="*/ 344598 h 445872"/>
                    <a:gd name="connsiteX12" fmla="*/ 412721 w 608415"/>
                    <a:gd name="connsiteY12" fmla="*/ 419192 h 445872"/>
                    <a:gd name="connsiteX13" fmla="*/ 408518 w 608415"/>
                    <a:gd name="connsiteY13" fmla="*/ 419342 h 445872"/>
                    <a:gd name="connsiteX14" fmla="*/ 401913 w 608415"/>
                    <a:gd name="connsiteY14" fmla="*/ 391032 h 445872"/>
                    <a:gd name="connsiteX15" fmla="*/ 392756 w 608415"/>
                    <a:gd name="connsiteY15" fmla="*/ 388785 h 445872"/>
                    <a:gd name="connsiteX16" fmla="*/ 376243 w 608415"/>
                    <a:gd name="connsiteY16" fmla="*/ 407209 h 445872"/>
                    <a:gd name="connsiteX17" fmla="*/ 371740 w 608415"/>
                    <a:gd name="connsiteY17" fmla="*/ 404962 h 445872"/>
                    <a:gd name="connsiteX18" fmla="*/ 428014 w 608415"/>
                    <a:gd name="connsiteY18" fmla="*/ 236606 h 445872"/>
                    <a:gd name="connsiteX19" fmla="*/ 478574 w 608415"/>
                    <a:gd name="connsiteY19" fmla="*/ 287096 h 445872"/>
                    <a:gd name="connsiteX20" fmla="*/ 428014 w 608415"/>
                    <a:gd name="connsiteY20" fmla="*/ 337586 h 445872"/>
                    <a:gd name="connsiteX21" fmla="*/ 377454 w 608415"/>
                    <a:gd name="connsiteY21" fmla="*/ 287096 h 445872"/>
                    <a:gd name="connsiteX22" fmla="*/ 428014 w 608415"/>
                    <a:gd name="connsiteY22" fmla="*/ 236606 h 445872"/>
                    <a:gd name="connsiteX23" fmla="*/ 96924 w 608415"/>
                    <a:gd name="connsiteY23" fmla="*/ 171248 h 445872"/>
                    <a:gd name="connsiteX24" fmla="*/ 91671 w 608415"/>
                    <a:gd name="connsiteY24" fmla="*/ 176642 h 445872"/>
                    <a:gd name="connsiteX25" fmla="*/ 96924 w 608415"/>
                    <a:gd name="connsiteY25" fmla="*/ 181886 h 445872"/>
                    <a:gd name="connsiteX26" fmla="*/ 496585 w 608415"/>
                    <a:gd name="connsiteY26" fmla="*/ 181886 h 445872"/>
                    <a:gd name="connsiteX27" fmla="*/ 501838 w 608415"/>
                    <a:gd name="connsiteY27" fmla="*/ 176642 h 445872"/>
                    <a:gd name="connsiteX28" fmla="*/ 496585 w 608415"/>
                    <a:gd name="connsiteY28" fmla="*/ 171248 h 445872"/>
                    <a:gd name="connsiteX29" fmla="*/ 96924 w 608415"/>
                    <a:gd name="connsiteY29" fmla="*/ 103823 h 445872"/>
                    <a:gd name="connsiteX30" fmla="*/ 91671 w 608415"/>
                    <a:gd name="connsiteY30" fmla="*/ 109067 h 445872"/>
                    <a:gd name="connsiteX31" fmla="*/ 96924 w 608415"/>
                    <a:gd name="connsiteY31" fmla="*/ 114311 h 445872"/>
                    <a:gd name="connsiteX32" fmla="*/ 496585 w 608415"/>
                    <a:gd name="connsiteY32" fmla="*/ 114311 h 445872"/>
                    <a:gd name="connsiteX33" fmla="*/ 501838 w 608415"/>
                    <a:gd name="connsiteY33" fmla="*/ 109067 h 445872"/>
                    <a:gd name="connsiteX34" fmla="*/ 496585 w 608415"/>
                    <a:gd name="connsiteY34" fmla="*/ 103823 h 445872"/>
                    <a:gd name="connsiteX35" fmla="*/ 64206 w 608415"/>
                    <a:gd name="connsiteY35" fmla="*/ 52430 h 445872"/>
                    <a:gd name="connsiteX36" fmla="*/ 539058 w 608415"/>
                    <a:gd name="connsiteY36" fmla="*/ 52430 h 445872"/>
                    <a:gd name="connsiteX37" fmla="*/ 560219 w 608415"/>
                    <a:gd name="connsiteY37" fmla="*/ 73706 h 445872"/>
                    <a:gd name="connsiteX38" fmla="*/ 560219 w 608415"/>
                    <a:gd name="connsiteY38" fmla="*/ 343406 h 445872"/>
                    <a:gd name="connsiteX39" fmla="*/ 539058 w 608415"/>
                    <a:gd name="connsiteY39" fmla="*/ 364682 h 445872"/>
                    <a:gd name="connsiteX40" fmla="*/ 486830 w 608415"/>
                    <a:gd name="connsiteY40" fmla="*/ 364682 h 445872"/>
                    <a:gd name="connsiteX41" fmla="*/ 480227 w 608415"/>
                    <a:gd name="connsiteY41" fmla="*/ 327973 h 445872"/>
                    <a:gd name="connsiteX42" fmla="*/ 495085 w 608415"/>
                    <a:gd name="connsiteY42" fmla="*/ 286170 h 445872"/>
                    <a:gd name="connsiteX43" fmla="*/ 428599 w 608415"/>
                    <a:gd name="connsiteY43" fmla="*/ 219793 h 445872"/>
                    <a:gd name="connsiteX44" fmla="*/ 362114 w 608415"/>
                    <a:gd name="connsiteY44" fmla="*/ 286170 h 445872"/>
                    <a:gd name="connsiteX45" fmla="*/ 373970 w 608415"/>
                    <a:gd name="connsiteY45" fmla="*/ 323778 h 445872"/>
                    <a:gd name="connsiteX46" fmla="*/ 364966 w 608415"/>
                    <a:gd name="connsiteY46" fmla="*/ 364682 h 445872"/>
                    <a:gd name="connsiteX47" fmla="*/ 64206 w 608415"/>
                    <a:gd name="connsiteY47" fmla="*/ 364682 h 445872"/>
                    <a:gd name="connsiteX48" fmla="*/ 43045 w 608415"/>
                    <a:gd name="connsiteY48" fmla="*/ 343406 h 445872"/>
                    <a:gd name="connsiteX49" fmla="*/ 43045 w 608415"/>
                    <a:gd name="connsiteY49" fmla="*/ 73706 h 445872"/>
                    <a:gd name="connsiteX50" fmla="*/ 64206 w 608415"/>
                    <a:gd name="connsiteY50" fmla="*/ 52430 h 445872"/>
                    <a:gd name="connsiteX51" fmla="*/ 37069 w 608415"/>
                    <a:gd name="connsiteY51" fmla="*/ 0 h 445872"/>
                    <a:gd name="connsiteX52" fmla="*/ 571346 w 608415"/>
                    <a:gd name="connsiteY52" fmla="*/ 0 h 445872"/>
                    <a:gd name="connsiteX53" fmla="*/ 608415 w 608415"/>
                    <a:gd name="connsiteY53" fmla="*/ 36260 h 445872"/>
                    <a:gd name="connsiteX54" fmla="*/ 608415 w 608415"/>
                    <a:gd name="connsiteY54" fmla="*/ 384178 h 445872"/>
                    <a:gd name="connsiteX55" fmla="*/ 571346 w 608415"/>
                    <a:gd name="connsiteY55" fmla="*/ 420288 h 445872"/>
                    <a:gd name="connsiteX56" fmla="*/ 497508 w 608415"/>
                    <a:gd name="connsiteY56" fmla="*/ 420288 h 445872"/>
                    <a:gd name="connsiteX57" fmla="*/ 491655 w 608415"/>
                    <a:gd name="connsiteY57" fmla="*/ 388523 h 445872"/>
                    <a:gd name="connsiteX58" fmla="*/ 571346 w 608415"/>
                    <a:gd name="connsiteY58" fmla="*/ 388523 h 445872"/>
                    <a:gd name="connsiteX59" fmla="*/ 576599 w 608415"/>
                    <a:gd name="connsiteY59" fmla="*/ 384178 h 445872"/>
                    <a:gd name="connsiteX60" fmla="*/ 576599 w 608415"/>
                    <a:gd name="connsiteY60" fmla="*/ 36260 h 445872"/>
                    <a:gd name="connsiteX61" fmla="*/ 571346 w 608415"/>
                    <a:gd name="connsiteY61" fmla="*/ 31915 h 445872"/>
                    <a:gd name="connsiteX62" fmla="*/ 37069 w 608415"/>
                    <a:gd name="connsiteY62" fmla="*/ 31915 h 445872"/>
                    <a:gd name="connsiteX63" fmla="*/ 31816 w 608415"/>
                    <a:gd name="connsiteY63" fmla="*/ 36260 h 445872"/>
                    <a:gd name="connsiteX64" fmla="*/ 31816 w 608415"/>
                    <a:gd name="connsiteY64" fmla="*/ 384178 h 445872"/>
                    <a:gd name="connsiteX65" fmla="*/ 37069 w 608415"/>
                    <a:gd name="connsiteY65" fmla="*/ 388523 h 445872"/>
                    <a:gd name="connsiteX66" fmla="*/ 359736 w 608415"/>
                    <a:gd name="connsiteY66" fmla="*/ 388523 h 445872"/>
                    <a:gd name="connsiteX67" fmla="*/ 357185 w 608415"/>
                    <a:gd name="connsiteY67" fmla="*/ 399910 h 445872"/>
                    <a:gd name="connsiteX68" fmla="*/ 360337 w 608415"/>
                    <a:gd name="connsiteY68" fmla="*/ 417741 h 445872"/>
                    <a:gd name="connsiteX69" fmla="*/ 362588 w 608415"/>
                    <a:gd name="connsiteY69" fmla="*/ 420288 h 445872"/>
                    <a:gd name="connsiteX70" fmla="*/ 37069 w 608415"/>
                    <a:gd name="connsiteY70" fmla="*/ 420288 h 445872"/>
                    <a:gd name="connsiteX71" fmla="*/ 0 w 608415"/>
                    <a:gd name="connsiteY71" fmla="*/ 384178 h 445872"/>
                    <a:gd name="connsiteX72" fmla="*/ 0 w 608415"/>
                    <a:gd name="connsiteY72" fmla="*/ 36260 h 445872"/>
                    <a:gd name="connsiteX73" fmla="*/ 37069 w 608415"/>
                    <a:gd name="connsiteY73" fmla="*/ 0 h 44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608415" h="445872">
                      <a:moveTo>
                        <a:pt x="463882" y="331728"/>
                      </a:moveTo>
                      <a:lnTo>
                        <a:pt x="482957" y="435849"/>
                      </a:lnTo>
                      <a:cubicBezTo>
                        <a:pt x="484008" y="441243"/>
                        <a:pt x="481905" y="442142"/>
                        <a:pt x="478451" y="437797"/>
                      </a:cubicBezTo>
                      <a:lnTo>
                        <a:pt x="462380" y="417572"/>
                      </a:lnTo>
                      <a:cubicBezTo>
                        <a:pt x="458925" y="413077"/>
                        <a:pt x="454719" y="413827"/>
                        <a:pt x="453067" y="419220"/>
                      </a:cubicBezTo>
                      <a:lnTo>
                        <a:pt x="445708" y="441992"/>
                      </a:lnTo>
                      <a:cubicBezTo>
                        <a:pt x="444055" y="447385"/>
                        <a:pt x="442103" y="447085"/>
                        <a:pt x="441502" y="441542"/>
                      </a:cubicBezTo>
                      <a:lnTo>
                        <a:pt x="430237" y="345211"/>
                      </a:lnTo>
                      <a:cubicBezTo>
                        <a:pt x="443304" y="345062"/>
                        <a:pt x="455020" y="339818"/>
                        <a:pt x="463882" y="331728"/>
                      </a:cubicBezTo>
                      <a:close/>
                      <a:moveTo>
                        <a:pt x="389003" y="328271"/>
                      </a:moveTo>
                      <a:cubicBezTo>
                        <a:pt x="398160" y="338307"/>
                        <a:pt x="411370" y="344598"/>
                        <a:pt x="426081" y="344598"/>
                      </a:cubicBezTo>
                      <a:cubicBezTo>
                        <a:pt x="426382" y="344598"/>
                        <a:pt x="426832" y="344598"/>
                        <a:pt x="427132" y="344598"/>
                      </a:cubicBezTo>
                      <a:lnTo>
                        <a:pt x="412721" y="419192"/>
                      </a:lnTo>
                      <a:cubicBezTo>
                        <a:pt x="411670" y="424584"/>
                        <a:pt x="409869" y="424734"/>
                        <a:pt x="408518" y="419342"/>
                      </a:cubicBezTo>
                      <a:lnTo>
                        <a:pt x="401913" y="391032"/>
                      </a:lnTo>
                      <a:cubicBezTo>
                        <a:pt x="400562" y="385490"/>
                        <a:pt x="396509" y="384591"/>
                        <a:pt x="392756" y="388785"/>
                      </a:cubicBezTo>
                      <a:lnTo>
                        <a:pt x="376243" y="407209"/>
                      </a:lnTo>
                      <a:cubicBezTo>
                        <a:pt x="372641" y="411403"/>
                        <a:pt x="370539" y="410354"/>
                        <a:pt x="371740" y="404962"/>
                      </a:cubicBezTo>
                      <a:close/>
                      <a:moveTo>
                        <a:pt x="428014" y="236606"/>
                      </a:moveTo>
                      <a:cubicBezTo>
                        <a:pt x="455938" y="236606"/>
                        <a:pt x="478574" y="259211"/>
                        <a:pt x="478574" y="287096"/>
                      </a:cubicBezTo>
                      <a:cubicBezTo>
                        <a:pt x="478574" y="314981"/>
                        <a:pt x="455938" y="337586"/>
                        <a:pt x="428014" y="337586"/>
                      </a:cubicBezTo>
                      <a:cubicBezTo>
                        <a:pt x="400090" y="337586"/>
                        <a:pt x="377454" y="314981"/>
                        <a:pt x="377454" y="287096"/>
                      </a:cubicBezTo>
                      <a:cubicBezTo>
                        <a:pt x="377454" y="259211"/>
                        <a:pt x="400090" y="236606"/>
                        <a:pt x="428014" y="236606"/>
                      </a:cubicBezTo>
                      <a:close/>
                      <a:moveTo>
                        <a:pt x="96924" y="171248"/>
                      </a:moveTo>
                      <a:cubicBezTo>
                        <a:pt x="93922" y="171248"/>
                        <a:pt x="91671" y="173645"/>
                        <a:pt x="91671" y="176642"/>
                      </a:cubicBezTo>
                      <a:cubicBezTo>
                        <a:pt x="91671" y="179488"/>
                        <a:pt x="93922" y="181886"/>
                        <a:pt x="96924" y="181886"/>
                      </a:cubicBezTo>
                      <a:lnTo>
                        <a:pt x="496585" y="181886"/>
                      </a:lnTo>
                      <a:cubicBezTo>
                        <a:pt x="499437" y="181886"/>
                        <a:pt x="501838" y="179488"/>
                        <a:pt x="501838" y="176642"/>
                      </a:cubicBezTo>
                      <a:cubicBezTo>
                        <a:pt x="501838" y="173645"/>
                        <a:pt x="499437" y="171248"/>
                        <a:pt x="496585" y="171248"/>
                      </a:cubicBezTo>
                      <a:close/>
                      <a:moveTo>
                        <a:pt x="96924" y="103823"/>
                      </a:moveTo>
                      <a:cubicBezTo>
                        <a:pt x="93922" y="103823"/>
                        <a:pt x="91671" y="106220"/>
                        <a:pt x="91671" y="109067"/>
                      </a:cubicBezTo>
                      <a:cubicBezTo>
                        <a:pt x="91671" y="112064"/>
                        <a:pt x="93922" y="114311"/>
                        <a:pt x="96924" y="114311"/>
                      </a:cubicBezTo>
                      <a:lnTo>
                        <a:pt x="496585" y="114311"/>
                      </a:lnTo>
                      <a:cubicBezTo>
                        <a:pt x="499437" y="114311"/>
                        <a:pt x="501838" y="112064"/>
                        <a:pt x="501838" y="109067"/>
                      </a:cubicBezTo>
                      <a:cubicBezTo>
                        <a:pt x="501838" y="106220"/>
                        <a:pt x="499437" y="103823"/>
                        <a:pt x="496585" y="103823"/>
                      </a:cubicBezTo>
                      <a:close/>
                      <a:moveTo>
                        <a:pt x="64206" y="52430"/>
                      </a:moveTo>
                      <a:lnTo>
                        <a:pt x="539058" y="52430"/>
                      </a:lnTo>
                      <a:cubicBezTo>
                        <a:pt x="550764" y="52430"/>
                        <a:pt x="560219" y="62019"/>
                        <a:pt x="560219" y="73706"/>
                      </a:cubicBezTo>
                      <a:lnTo>
                        <a:pt x="560219" y="343406"/>
                      </a:lnTo>
                      <a:cubicBezTo>
                        <a:pt x="560219" y="355093"/>
                        <a:pt x="550764" y="364682"/>
                        <a:pt x="539058" y="364682"/>
                      </a:cubicBezTo>
                      <a:lnTo>
                        <a:pt x="486830" y="364682"/>
                      </a:lnTo>
                      <a:lnTo>
                        <a:pt x="480227" y="327973"/>
                      </a:lnTo>
                      <a:cubicBezTo>
                        <a:pt x="489532" y="316436"/>
                        <a:pt x="495085" y="301902"/>
                        <a:pt x="495085" y="286170"/>
                      </a:cubicBezTo>
                      <a:cubicBezTo>
                        <a:pt x="495085" y="249460"/>
                        <a:pt x="465219" y="219793"/>
                        <a:pt x="428599" y="219793"/>
                      </a:cubicBezTo>
                      <a:cubicBezTo>
                        <a:pt x="391980" y="219793"/>
                        <a:pt x="362114" y="249460"/>
                        <a:pt x="362114" y="286170"/>
                      </a:cubicBezTo>
                      <a:cubicBezTo>
                        <a:pt x="362114" y="300104"/>
                        <a:pt x="366617" y="313139"/>
                        <a:pt x="373970" y="323778"/>
                      </a:cubicBezTo>
                      <a:lnTo>
                        <a:pt x="364966" y="364682"/>
                      </a:lnTo>
                      <a:lnTo>
                        <a:pt x="64206" y="364682"/>
                      </a:lnTo>
                      <a:cubicBezTo>
                        <a:pt x="52500" y="364682"/>
                        <a:pt x="43045" y="355093"/>
                        <a:pt x="43045" y="343406"/>
                      </a:cubicBezTo>
                      <a:lnTo>
                        <a:pt x="43045" y="73706"/>
                      </a:lnTo>
                      <a:cubicBezTo>
                        <a:pt x="43045" y="62019"/>
                        <a:pt x="52500" y="52430"/>
                        <a:pt x="64206" y="52430"/>
                      </a:cubicBezTo>
                      <a:close/>
                      <a:moveTo>
                        <a:pt x="37069" y="0"/>
                      </a:moveTo>
                      <a:lnTo>
                        <a:pt x="571346" y="0"/>
                      </a:lnTo>
                      <a:cubicBezTo>
                        <a:pt x="591757" y="0"/>
                        <a:pt x="608415" y="16332"/>
                        <a:pt x="608415" y="36260"/>
                      </a:cubicBezTo>
                      <a:lnTo>
                        <a:pt x="608415" y="384178"/>
                      </a:lnTo>
                      <a:cubicBezTo>
                        <a:pt x="608415" y="404106"/>
                        <a:pt x="591757" y="420288"/>
                        <a:pt x="571346" y="420288"/>
                      </a:cubicBezTo>
                      <a:lnTo>
                        <a:pt x="497508" y="420288"/>
                      </a:lnTo>
                      <a:lnTo>
                        <a:pt x="491655" y="388523"/>
                      </a:lnTo>
                      <a:lnTo>
                        <a:pt x="571346" y="388523"/>
                      </a:lnTo>
                      <a:cubicBezTo>
                        <a:pt x="574197" y="388523"/>
                        <a:pt x="576599" y="386425"/>
                        <a:pt x="576599" y="384178"/>
                      </a:cubicBezTo>
                      <a:lnTo>
                        <a:pt x="576599" y="36260"/>
                      </a:lnTo>
                      <a:cubicBezTo>
                        <a:pt x="576599" y="33863"/>
                        <a:pt x="574197" y="31915"/>
                        <a:pt x="571346" y="31915"/>
                      </a:cubicBezTo>
                      <a:lnTo>
                        <a:pt x="37069" y="31915"/>
                      </a:lnTo>
                      <a:cubicBezTo>
                        <a:pt x="34218" y="31915"/>
                        <a:pt x="31816" y="33863"/>
                        <a:pt x="31816" y="36260"/>
                      </a:cubicBezTo>
                      <a:lnTo>
                        <a:pt x="31816" y="384178"/>
                      </a:lnTo>
                      <a:cubicBezTo>
                        <a:pt x="31816" y="386425"/>
                        <a:pt x="34218" y="388523"/>
                        <a:pt x="37069" y="388523"/>
                      </a:cubicBezTo>
                      <a:lnTo>
                        <a:pt x="359736" y="388523"/>
                      </a:lnTo>
                      <a:lnTo>
                        <a:pt x="357185" y="399910"/>
                      </a:lnTo>
                      <a:cubicBezTo>
                        <a:pt x="355534" y="407103"/>
                        <a:pt x="356585" y="413096"/>
                        <a:pt x="360337" y="417741"/>
                      </a:cubicBezTo>
                      <a:lnTo>
                        <a:pt x="362588" y="420288"/>
                      </a:lnTo>
                      <a:lnTo>
                        <a:pt x="37069" y="420288"/>
                      </a:lnTo>
                      <a:cubicBezTo>
                        <a:pt x="16658" y="420288"/>
                        <a:pt x="0" y="404106"/>
                        <a:pt x="0" y="384178"/>
                      </a:cubicBezTo>
                      <a:lnTo>
                        <a:pt x="0" y="36260"/>
                      </a:lnTo>
                      <a:cubicBezTo>
                        <a:pt x="0" y="16332"/>
                        <a:pt x="16658" y="0"/>
                        <a:pt x="37069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109" name="文本框 108"/>
                <p:cNvSpPr txBox="1"/>
                <p:nvPr/>
              </p:nvSpPr>
              <p:spPr>
                <a:xfrm>
                  <a:off x="29700" y="8255"/>
                  <a:ext cx="1728" cy="580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p>
                  <a:r>
                    <a:rPr lang="zh-CN" altLang="en-US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</a:rPr>
                    <a:t>转换规则</a:t>
                  </a:r>
                  <a:endPara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21" name="组合 20"/>
            <p:cNvGrpSpPr/>
            <p:nvPr/>
          </p:nvGrpSpPr>
          <p:grpSpPr>
            <a:xfrm>
              <a:off x="9922" y="16434"/>
              <a:ext cx="2904" cy="2246"/>
              <a:chOff x="9798" y="16465"/>
              <a:chExt cx="2904" cy="2246"/>
            </a:xfrm>
          </p:grpSpPr>
          <p:sp>
            <p:nvSpPr>
              <p:cNvPr id="128" name="school-with-a-flag_70987"/>
              <p:cNvSpPr>
                <a:spLocks noChangeAspect="1"/>
              </p:cNvSpPr>
              <p:nvPr/>
            </p:nvSpPr>
            <p:spPr bwMode="auto">
              <a:xfrm>
                <a:off x="10121" y="16465"/>
                <a:ext cx="1940" cy="1623"/>
              </a:xfrm>
              <a:custGeom>
                <a:avLst/>
                <a:gdLst>
                  <a:gd name="T0" fmla="*/ 1074 w 3867"/>
                  <a:gd name="T1" fmla="*/ 135 h 3239"/>
                  <a:gd name="T2" fmla="*/ 1163 w 3867"/>
                  <a:gd name="T3" fmla="*/ 698 h 3239"/>
                  <a:gd name="T4" fmla="*/ 1242 w 3867"/>
                  <a:gd name="T5" fmla="*/ 1110 h 3239"/>
                  <a:gd name="T6" fmla="*/ 0 w 3867"/>
                  <a:gd name="T7" fmla="*/ 1839 h 3239"/>
                  <a:gd name="T8" fmla="*/ 3867 w 3867"/>
                  <a:gd name="T9" fmla="*/ 3172 h 3239"/>
                  <a:gd name="T10" fmla="*/ 2667 w 3867"/>
                  <a:gd name="T11" fmla="*/ 1172 h 3239"/>
                  <a:gd name="T12" fmla="*/ 1933 w 3867"/>
                  <a:gd name="T13" fmla="*/ 39 h 3239"/>
                  <a:gd name="T14" fmla="*/ 1314 w 3867"/>
                  <a:gd name="T15" fmla="*/ 0 h 3239"/>
                  <a:gd name="T16" fmla="*/ 1867 w 3867"/>
                  <a:gd name="T17" fmla="*/ 198 h 3239"/>
                  <a:gd name="T18" fmla="*/ 1326 w 3867"/>
                  <a:gd name="T19" fmla="*/ 402 h 3239"/>
                  <a:gd name="T20" fmla="*/ 1305 w 3867"/>
                  <a:gd name="T21" fmla="*/ 133 h 3239"/>
                  <a:gd name="T22" fmla="*/ 2552 w 3867"/>
                  <a:gd name="T23" fmla="*/ 1885 h 3239"/>
                  <a:gd name="T24" fmla="*/ 3733 w 3867"/>
                  <a:gd name="T25" fmla="*/ 3105 h 3239"/>
                  <a:gd name="T26" fmla="*/ 1600 w 3867"/>
                  <a:gd name="T27" fmla="*/ 2639 h 3239"/>
                  <a:gd name="T28" fmla="*/ 1267 w 3867"/>
                  <a:gd name="T29" fmla="*/ 1905 h 3239"/>
                  <a:gd name="T30" fmla="*/ 1533 w 3867"/>
                  <a:gd name="T31" fmla="*/ 1372 h 3239"/>
                  <a:gd name="T32" fmla="*/ 1800 w 3867"/>
                  <a:gd name="T33" fmla="*/ 1772 h 3239"/>
                  <a:gd name="T34" fmla="*/ 1533 w 3867"/>
                  <a:gd name="T35" fmla="*/ 1372 h 3239"/>
                  <a:gd name="T36" fmla="*/ 2067 w 3867"/>
                  <a:gd name="T37" fmla="*/ 1772 h 3239"/>
                  <a:gd name="T38" fmla="*/ 2333 w 3867"/>
                  <a:gd name="T39" fmla="*/ 1372 h 3239"/>
                  <a:gd name="T40" fmla="*/ 1733 w 3867"/>
                  <a:gd name="T41" fmla="*/ 1639 h 3239"/>
                  <a:gd name="T42" fmla="*/ 2267 w 3867"/>
                  <a:gd name="T43" fmla="*/ 1505 h 3239"/>
                  <a:gd name="T44" fmla="*/ 1533 w 3867"/>
                  <a:gd name="T45" fmla="*/ 1905 h 3239"/>
                  <a:gd name="T46" fmla="*/ 1800 w 3867"/>
                  <a:gd name="T47" fmla="*/ 2305 h 3239"/>
                  <a:gd name="T48" fmla="*/ 1533 w 3867"/>
                  <a:gd name="T49" fmla="*/ 1905 h 3239"/>
                  <a:gd name="T50" fmla="*/ 2067 w 3867"/>
                  <a:gd name="T51" fmla="*/ 2305 h 3239"/>
                  <a:gd name="T52" fmla="*/ 2333 w 3867"/>
                  <a:gd name="T53" fmla="*/ 1905 h 3239"/>
                  <a:gd name="T54" fmla="*/ 267 w 3867"/>
                  <a:gd name="T55" fmla="*/ 2372 h 3239"/>
                  <a:gd name="T56" fmla="*/ 667 w 3867"/>
                  <a:gd name="T57" fmla="*/ 2105 h 3239"/>
                  <a:gd name="T58" fmla="*/ 800 w 3867"/>
                  <a:gd name="T59" fmla="*/ 2105 h 3239"/>
                  <a:gd name="T60" fmla="*/ 1200 w 3867"/>
                  <a:gd name="T61" fmla="*/ 2372 h 3239"/>
                  <a:gd name="T62" fmla="*/ 1600 w 3867"/>
                  <a:gd name="T63" fmla="*/ 2039 h 3239"/>
                  <a:gd name="T64" fmla="*/ 1600 w 3867"/>
                  <a:gd name="T65" fmla="*/ 2039 h 3239"/>
                  <a:gd name="T66" fmla="*/ 2133 w 3867"/>
                  <a:gd name="T67" fmla="*/ 2172 h 3239"/>
                  <a:gd name="T68" fmla="*/ 2667 w 3867"/>
                  <a:gd name="T69" fmla="*/ 2372 h 3239"/>
                  <a:gd name="T70" fmla="*/ 3067 w 3867"/>
                  <a:gd name="T71" fmla="*/ 2105 h 3239"/>
                  <a:gd name="T72" fmla="*/ 3200 w 3867"/>
                  <a:gd name="T73" fmla="*/ 2105 h 3239"/>
                  <a:gd name="T74" fmla="*/ 3600 w 3867"/>
                  <a:gd name="T75" fmla="*/ 2372 h 3239"/>
                  <a:gd name="T76" fmla="*/ 400 w 3867"/>
                  <a:gd name="T77" fmla="*/ 2172 h 3239"/>
                  <a:gd name="T78" fmla="*/ 400 w 3867"/>
                  <a:gd name="T79" fmla="*/ 2172 h 3239"/>
                  <a:gd name="T80" fmla="*/ 933 w 3867"/>
                  <a:gd name="T81" fmla="*/ 2305 h 3239"/>
                  <a:gd name="T82" fmla="*/ 2933 w 3867"/>
                  <a:gd name="T83" fmla="*/ 2305 h 3239"/>
                  <a:gd name="T84" fmla="*/ 3467 w 3867"/>
                  <a:gd name="T85" fmla="*/ 2172 h 3239"/>
                  <a:gd name="T86" fmla="*/ 1933 w 3867"/>
                  <a:gd name="T87" fmla="*/ 2505 h 3239"/>
                  <a:gd name="T88" fmla="*/ 1733 w 3867"/>
                  <a:gd name="T89" fmla="*/ 2639 h 3239"/>
                  <a:gd name="T90" fmla="*/ 267 w 3867"/>
                  <a:gd name="T91" fmla="*/ 2905 h 3239"/>
                  <a:gd name="T92" fmla="*/ 667 w 3867"/>
                  <a:gd name="T93" fmla="*/ 2639 h 3239"/>
                  <a:gd name="T94" fmla="*/ 800 w 3867"/>
                  <a:gd name="T95" fmla="*/ 2639 h 3239"/>
                  <a:gd name="T96" fmla="*/ 1200 w 3867"/>
                  <a:gd name="T97" fmla="*/ 2905 h 3239"/>
                  <a:gd name="T98" fmla="*/ 2733 w 3867"/>
                  <a:gd name="T99" fmla="*/ 2572 h 3239"/>
                  <a:gd name="T100" fmla="*/ 3000 w 3867"/>
                  <a:gd name="T101" fmla="*/ 2972 h 3239"/>
                  <a:gd name="T102" fmla="*/ 2733 w 3867"/>
                  <a:gd name="T103" fmla="*/ 2572 h 3239"/>
                  <a:gd name="T104" fmla="*/ 3267 w 3867"/>
                  <a:gd name="T105" fmla="*/ 2972 h 3239"/>
                  <a:gd name="T106" fmla="*/ 3533 w 3867"/>
                  <a:gd name="T107" fmla="*/ 2572 h 3239"/>
                  <a:gd name="T108" fmla="*/ 533 w 3867"/>
                  <a:gd name="T109" fmla="*/ 2839 h 3239"/>
                  <a:gd name="T110" fmla="*/ 1067 w 3867"/>
                  <a:gd name="T111" fmla="*/ 2705 h 3239"/>
                  <a:gd name="T112" fmla="*/ 2800 w 3867"/>
                  <a:gd name="T113" fmla="*/ 2705 h 3239"/>
                  <a:gd name="T114" fmla="*/ 2800 w 3867"/>
                  <a:gd name="T115" fmla="*/ 2705 h 3239"/>
                  <a:gd name="T116" fmla="*/ 3333 w 3867"/>
                  <a:gd name="T117" fmla="*/ 2839 h 3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67" h="3239">
                    <a:moveTo>
                      <a:pt x="1314" y="0"/>
                    </a:moveTo>
                    <a:cubicBezTo>
                      <a:pt x="1302" y="0"/>
                      <a:pt x="1290" y="0"/>
                      <a:pt x="1279" y="1"/>
                    </a:cubicBezTo>
                    <a:cubicBezTo>
                      <a:pt x="1221" y="3"/>
                      <a:pt x="1162" y="16"/>
                      <a:pt x="1104" y="46"/>
                    </a:cubicBezTo>
                    <a:cubicBezTo>
                      <a:pt x="1071" y="62"/>
                      <a:pt x="1057" y="102"/>
                      <a:pt x="1074" y="135"/>
                    </a:cubicBezTo>
                    <a:lnTo>
                      <a:pt x="1192" y="372"/>
                    </a:lnTo>
                    <a:lnTo>
                      <a:pt x="1074" y="609"/>
                    </a:lnTo>
                    <a:cubicBezTo>
                      <a:pt x="1057" y="642"/>
                      <a:pt x="1071" y="682"/>
                      <a:pt x="1104" y="698"/>
                    </a:cubicBezTo>
                    <a:cubicBezTo>
                      <a:pt x="1122" y="708"/>
                      <a:pt x="1144" y="708"/>
                      <a:pt x="1163" y="698"/>
                    </a:cubicBezTo>
                    <a:cubicBezTo>
                      <a:pt x="1273" y="643"/>
                      <a:pt x="1384" y="670"/>
                      <a:pt x="1517" y="703"/>
                    </a:cubicBezTo>
                    <a:cubicBezTo>
                      <a:pt x="1623" y="730"/>
                      <a:pt x="1743" y="760"/>
                      <a:pt x="1867" y="732"/>
                    </a:cubicBezTo>
                    <a:lnTo>
                      <a:pt x="1867" y="860"/>
                    </a:lnTo>
                    <a:lnTo>
                      <a:pt x="1242" y="1110"/>
                    </a:lnTo>
                    <a:cubicBezTo>
                      <a:pt x="1217" y="1120"/>
                      <a:pt x="1200" y="1145"/>
                      <a:pt x="1200" y="1172"/>
                    </a:cubicBezTo>
                    <a:lnTo>
                      <a:pt x="1200" y="1772"/>
                    </a:lnTo>
                    <a:lnTo>
                      <a:pt x="67" y="1772"/>
                    </a:lnTo>
                    <a:cubicBezTo>
                      <a:pt x="30" y="1772"/>
                      <a:pt x="0" y="1802"/>
                      <a:pt x="0" y="1839"/>
                    </a:cubicBezTo>
                    <a:lnTo>
                      <a:pt x="0" y="3172"/>
                    </a:lnTo>
                    <a:cubicBezTo>
                      <a:pt x="0" y="3209"/>
                      <a:pt x="30" y="3239"/>
                      <a:pt x="67" y="3239"/>
                    </a:cubicBezTo>
                    <a:lnTo>
                      <a:pt x="3800" y="3239"/>
                    </a:lnTo>
                    <a:cubicBezTo>
                      <a:pt x="3837" y="3239"/>
                      <a:pt x="3867" y="3209"/>
                      <a:pt x="3867" y="3172"/>
                    </a:cubicBezTo>
                    <a:lnTo>
                      <a:pt x="3867" y="1839"/>
                    </a:lnTo>
                    <a:cubicBezTo>
                      <a:pt x="3867" y="1802"/>
                      <a:pt x="3837" y="1772"/>
                      <a:pt x="3800" y="1772"/>
                    </a:cubicBezTo>
                    <a:lnTo>
                      <a:pt x="2667" y="1772"/>
                    </a:lnTo>
                    <a:lnTo>
                      <a:pt x="2667" y="1172"/>
                    </a:lnTo>
                    <a:cubicBezTo>
                      <a:pt x="2667" y="1145"/>
                      <a:pt x="2650" y="1120"/>
                      <a:pt x="2625" y="1110"/>
                    </a:cubicBezTo>
                    <a:lnTo>
                      <a:pt x="2000" y="860"/>
                    </a:lnTo>
                    <a:lnTo>
                      <a:pt x="2000" y="105"/>
                    </a:lnTo>
                    <a:cubicBezTo>
                      <a:pt x="2000" y="68"/>
                      <a:pt x="1970" y="39"/>
                      <a:pt x="1933" y="39"/>
                    </a:cubicBezTo>
                    <a:cubicBezTo>
                      <a:pt x="1923" y="39"/>
                      <a:pt x="1913" y="41"/>
                      <a:pt x="1904" y="46"/>
                    </a:cubicBezTo>
                    <a:cubicBezTo>
                      <a:pt x="1794" y="100"/>
                      <a:pt x="1683" y="74"/>
                      <a:pt x="1549" y="41"/>
                    </a:cubicBezTo>
                    <a:cubicBezTo>
                      <a:pt x="1477" y="22"/>
                      <a:pt x="1397" y="2"/>
                      <a:pt x="1314" y="0"/>
                    </a:cubicBezTo>
                    <a:lnTo>
                      <a:pt x="1314" y="0"/>
                    </a:lnTo>
                    <a:close/>
                    <a:moveTo>
                      <a:pt x="1305" y="133"/>
                    </a:moveTo>
                    <a:cubicBezTo>
                      <a:pt x="1313" y="133"/>
                      <a:pt x="1322" y="134"/>
                      <a:pt x="1331" y="134"/>
                    </a:cubicBezTo>
                    <a:cubicBezTo>
                      <a:pt x="1389" y="138"/>
                      <a:pt x="1450" y="153"/>
                      <a:pt x="1517" y="170"/>
                    </a:cubicBezTo>
                    <a:cubicBezTo>
                      <a:pt x="1623" y="196"/>
                      <a:pt x="1743" y="226"/>
                      <a:pt x="1867" y="198"/>
                    </a:cubicBezTo>
                    <a:lnTo>
                      <a:pt x="1867" y="594"/>
                    </a:lnTo>
                    <a:cubicBezTo>
                      <a:pt x="1769" y="627"/>
                      <a:pt x="1668" y="603"/>
                      <a:pt x="1550" y="574"/>
                    </a:cubicBezTo>
                    <a:cubicBezTo>
                      <a:pt x="1461" y="552"/>
                      <a:pt x="1362" y="527"/>
                      <a:pt x="1259" y="536"/>
                    </a:cubicBezTo>
                    <a:lnTo>
                      <a:pt x="1326" y="402"/>
                    </a:lnTo>
                    <a:cubicBezTo>
                      <a:pt x="1336" y="383"/>
                      <a:pt x="1336" y="361"/>
                      <a:pt x="1326" y="342"/>
                    </a:cubicBezTo>
                    <a:lnTo>
                      <a:pt x="1227" y="143"/>
                    </a:lnTo>
                    <a:cubicBezTo>
                      <a:pt x="1252" y="136"/>
                      <a:pt x="1278" y="134"/>
                      <a:pt x="1305" y="133"/>
                    </a:cubicBezTo>
                    <a:lnTo>
                      <a:pt x="1305" y="133"/>
                    </a:lnTo>
                    <a:close/>
                    <a:moveTo>
                      <a:pt x="1933" y="977"/>
                    </a:moveTo>
                    <a:lnTo>
                      <a:pt x="2533" y="1217"/>
                    </a:lnTo>
                    <a:lnTo>
                      <a:pt x="2533" y="1828"/>
                    </a:lnTo>
                    <a:cubicBezTo>
                      <a:pt x="2530" y="1849"/>
                      <a:pt x="2537" y="1870"/>
                      <a:pt x="2552" y="1885"/>
                    </a:cubicBezTo>
                    <a:cubicBezTo>
                      <a:pt x="2552" y="1886"/>
                      <a:pt x="2553" y="1887"/>
                      <a:pt x="2553" y="1887"/>
                    </a:cubicBezTo>
                    <a:cubicBezTo>
                      <a:pt x="2569" y="1902"/>
                      <a:pt x="2590" y="1909"/>
                      <a:pt x="2611" y="1905"/>
                    </a:cubicBezTo>
                    <a:lnTo>
                      <a:pt x="3733" y="1905"/>
                    </a:lnTo>
                    <a:lnTo>
                      <a:pt x="3733" y="3105"/>
                    </a:lnTo>
                    <a:lnTo>
                      <a:pt x="2267" y="3105"/>
                    </a:lnTo>
                    <a:lnTo>
                      <a:pt x="2267" y="2639"/>
                    </a:lnTo>
                    <a:cubicBezTo>
                      <a:pt x="2267" y="2461"/>
                      <a:pt x="2100" y="2372"/>
                      <a:pt x="1933" y="2372"/>
                    </a:cubicBezTo>
                    <a:cubicBezTo>
                      <a:pt x="1767" y="2372"/>
                      <a:pt x="1600" y="2461"/>
                      <a:pt x="1600" y="2639"/>
                    </a:cubicBezTo>
                    <a:lnTo>
                      <a:pt x="1600" y="3105"/>
                    </a:lnTo>
                    <a:lnTo>
                      <a:pt x="133" y="3105"/>
                    </a:lnTo>
                    <a:lnTo>
                      <a:pt x="133" y="1905"/>
                    </a:lnTo>
                    <a:lnTo>
                      <a:pt x="1267" y="1905"/>
                    </a:lnTo>
                    <a:cubicBezTo>
                      <a:pt x="1304" y="1905"/>
                      <a:pt x="1333" y="1875"/>
                      <a:pt x="1333" y="1839"/>
                    </a:cubicBezTo>
                    <a:lnTo>
                      <a:pt x="1333" y="1217"/>
                    </a:lnTo>
                    <a:lnTo>
                      <a:pt x="1933" y="977"/>
                    </a:lnTo>
                    <a:close/>
                    <a:moveTo>
                      <a:pt x="1533" y="1372"/>
                    </a:moveTo>
                    <a:cubicBezTo>
                      <a:pt x="1497" y="1372"/>
                      <a:pt x="1467" y="1402"/>
                      <a:pt x="1467" y="1439"/>
                    </a:cubicBezTo>
                    <a:lnTo>
                      <a:pt x="1467" y="1705"/>
                    </a:lnTo>
                    <a:cubicBezTo>
                      <a:pt x="1467" y="1742"/>
                      <a:pt x="1497" y="1772"/>
                      <a:pt x="1533" y="1772"/>
                    </a:cubicBezTo>
                    <a:lnTo>
                      <a:pt x="1800" y="1772"/>
                    </a:lnTo>
                    <a:cubicBezTo>
                      <a:pt x="1837" y="1772"/>
                      <a:pt x="1867" y="1742"/>
                      <a:pt x="1867" y="1705"/>
                    </a:cubicBezTo>
                    <a:lnTo>
                      <a:pt x="1867" y="1439"/>
                    </a:lnTo>
                    <a:cubicBezTo>
                      <a:pt x="1867" y="1402"/>
                      <a:pt x="1837" y="1372"/>
                      <a:pt x="1800" y="1372"/>
                    </a:cubicBezTo>
                    <a:lnTo>
                      <a:pt x="1533" y="1372"/>
                    </a:lnTo>
                    <a:close/>
                    <a:moveTo>
                      <a:pt x="2067" y="1372"/>
                    </a:moveTo>
                    <a:cubicBezTo>
                      <a:pt x="2030" y="1372"/>
                      <a:pt x="2000" y="1402"/>
                      <a:pt x="2000" y="1439"/>
                    </a:cubicBezTo>
                    <a:lnTo>
                      <a:pt x="2000" y="1705"/>
                    </a:lnTo>
                    <a:cubicBezTo>
                      <a:pt x="2000" y="1742"/>
                      <a:pt x="2030" y="1772"/>
                      <a:pt x="2067" y="1772"/>
                    </a:cubicBezTo>
                    <a:lnTo>
                      <a:pt x="2333" y="1772"/>
                    </a:lnTo>
                    <a:cubicBezTo>
                      <a:pt x="2370" y="1772"/>
                      <a:pt x="2400" y="1742"/>
                      <a:pt x="2400" y="1705"/>
                    </a:cubicBezTo>
                    <a:lnTo>
                      <a:pt x="2400" y="1439"/>
                    </a:lnTo>
                    <a:cubicBezTo>
                      <a:pt x="2400" y="1402"/>
                      <a:pt x="2370" y="1372"/>
                      <a:pt x="2333" y="1372"/>
                    </a:cubicBezTo>
                    <a:lnTo>
                      <a:pt x="2067" y="1372"/>
                    </a:lnTo>
                    <a:close/>
                    <a:moveTo>
                      <a:pt x="1600" y="1505"/>
                    </a:moveTo>
                    <a:lnTo>
                      <a:pt x="1733" y="1505"/>
                    </a:lnTo>
                    <a:lnTo>
                      <a:pt x="1733" y="1639"/>
                    </a:lnTo>
                    <a:lnTo>
                      <a:pt x="1600" y="1639"/>
                    </a:lnTo>
                    <a:lnTo>
                      <a:pt x="1600" y="1505"/>
                    </a:lnTo>
                    <a:close/>
                    <a:moveTo>
                      <a:pt x="2133" y="1505"/>
                    </a:moveTo>
                    <a:lnTo>
                      <a:pt x="2267" y="1505"/>
                    </a:lnTo>
                    <a:lnTo>
                      <a:pt x="2267" y="1639"/>
                    </a:lnTo>
                    <a:lnTo>
                      <a:pt x="2133" y="1639"/>
                    </a:lnTo>
                    <a:lnTo>
                      <a:pt x="2133" y="1505"/>
                    </a:lnTo>
                    <a:close/>
                    <a:moveTo>
                      <a:pt x="1533" y="1905"/>
                    </a:moveTo>
                    <a:cubicBezTo>
                      <a:pt x="1497" y="1905"/>
                      <a:pt x="1467" y="1935"/>
                      <a:pt x="1467" y="1972"/>
                    </a:cubicBezTo>
                    <a:lnTo>
                      <a:pt x="1467" y="2239"/>
                    </a:lnTo>
                    <a:cubicBezTo>
                      <a:pt x="1467" y="2275"/>
                      <a:pt x="1497" y="2305"/>
                      <a:pt x="1533" y="2305"/>
                    </a:cubicBezTo>
                    <a:lnTo>
                      <a:pt x="1800" y="2305"/>
                    </a:lnTo>
                    <a:cubicBezTo>
                      <a:pt x="1837" y="2305"/>
                      <a:pt x="1867" y="2275"/>
                      <a:pt x="1867" y="2239"/>
                    </a:cubicBezTo>
                    <a:lnTo>
                      <a:pt x="1867" y="1972"/>
                    </a:lnTo>
                    <a:cubicBezTo>
                      <a:pt x="1867" y="1935"/>
                      <a:pt x="1837" y="1905"/>
                      <a:pt x="1800" y="1905"/>
                    </a:cubicBezTo>
                    <a:lnTo>
                      <a:pt x="1533" y="1905"/>
                    </a:lnTo>
                    <a:close/>
                    <a:moveTo>
                      <a:pt x="2067" y="1905"/>
                    </a:moveTo>
                    <a:cubicBezTo>
                      <a:pt x="2030" y="1905"/>
                      <a:pt x="2000" y="1935"/>
                      <a:pt x="2000" y="1972"/>
                    </a:cubicBezTo>
                    <a:lnTo>
                      <a:pt x="2000" y="2239"/>
                    </a:lnTo>
                    <a:cubicBezTo>
                      <a:pt x="2000" y="2275"/>
                      <a:pt x="2030" y="2305"/>
                      <a:pt x="2067" y="2305"/>
                    </a:cubicBezTo>
                    <a:lnTo>
                      <a:pt x="2333" y="2305"/>
                    </a:lnTo>
                    <a:cubicBezTo>
                      <a:pt x="2370" y="2305"/>
                      <a:pt x="2400" y="2275"/>
                      <a:pt x="2400" y="2239"/>
                    </a:cubicBezTo>
                    <a:lnTo>
                      <a:pt x="2400" y="1972"/>
                    </a:lnTo>
                    <a:cubicBezTo>
                      <a:pt x="2400" y="1935"/>
                      <a:pt x="2370" y="1905"/>
                      <a:pt x="2333" y="1905"/>
                    </a:cubicBezTo>
                    <a:lnTo>
                      <a:pt x="2067" y="1905"/>
                    </a:lnTo>
                    <a:close/>
                    <a:moveTo>
                      <a:pt x="333" y="2039"/>
                    </a:moveTo>
                    <a:cubicBezTo>
                      <a:pt x="297" y="2039"/>
                      <a:pt x="267" y="2068"/>
                      <a:pt x="267" y="2105"/>
                    </a:cubicBezTo>
                    <a:lnTo>
                      <a:pt x="267" y="2372"/>
                    </a:lnTo>
                    <a:cubicBezTo>
                      <a:pt x="267" y="2409"/>
                      <a:pt x="297" y="2439"/>
                      <a:pt x="333" y="2439"/>
                    </a:cubicBezTo>
                    <a:lnTo>
                      <a:pt x="600" y="2439"/>
                    </a:lnTo>
                    <a:cubicBezTo>
                      <a:pt x="637" y="2439"/>
                      <a:pt x="667" y="2409"/>
                      <a:pt x="667" y="2372"/>
                    </a:cubicBezTo>
                    <a:lnTo>
                      <a:pt x="667" y="2105"/>
                    </a:lnTo>
                    <a:cubicBezTo>
                      <a:pt x="667" y="2068"/>
                      <a:pt x="637" y="2039"/>
                      <a:pt x="600" y="2039"/>
                    </a:cubicBezTo>
                    <a:lnTo>
                      <a:pt x="333" y="2039"/>
                    </a:lnTo>
                    <a:close/>
                    <a:moveTo>
                      <a:pt x="867" y="2039"/>
                    </a:moveTo>
                    <a:cubicBezTo>
                      <a:pt x="830" y="2039"/>
                      <a:pt x="800" y="2068"/>
                      <a:pt x="800" y="2105"/>
                    </a:cubicBezTo>
                    <a:lnTo>
                      <a:pt x="800" y="2372"/>
                    </a:lnTo>
                    <a:cubicBezTo>
                      <a:pt x="800" y="2409"/>
                      <a:pt x="830" y="2439"/>
                      <a:pt x="867" y="2439"/>
                    </a:cubicBezTo>
                    <a:lnTo>
                      <a:pt x="1133" y="2439"/>
                    </a:lnTo>
                    <a:cubicBezTo>
                      <a:pt x="1170" y="2439"/>
                      <a:pt x="1200" y="2409"/>
                      <a:pt x="1200" y="2372"/>
                    </a:cubicBezTo>
                    <a:lnTo>
                      <a:pt x="1200" y="2105"/>
                    </a:lnTo>
                    <a:cubicBezTo>
                      <a:pt x="1200" y="2068"/>
                      <a:pt x="1170" y="2039"/>
                      <a:pt x="1133" y="2039"/>
                    </a:cubicBezTo>
                    <a:lnTo>
                      <a:pt x="867" y="2039"/>
                    </a:lnTo>
                    <a:close/>
                    <a:moveTo>
                      <a:pt x="1600" y="2039"/>
                    </a:moveTo>
                    <a:lnTo>
                      <a:pt x="1733" y="2039"/>
                    </a:lnTo>
                    <a:lnTo>
                      <a:pt x="1733" y="2172"/>
                    </a:lnTo>
                    <a:lnTo>
                      <a:pt x="1600" y="2172"/>
                    </a:lnTo>
                    <a:lnTo>
                      <a:pt x="1600" y="2039"/>
                    </a:lnTo>
                    <a:close/>
                    <a:moveTo>
                      <a:pt x="2133" y="2039"/>
                    </a:moveTo>
                    <a:lnTo>
                      <a:pt x="2267" y="2039"/>
                    </a:lnTo>
                    <a:lnTo>
                      <a:pt x="2267" y="2172"/>
                    </a:lnTo>
                    <a:lnTo>
                      <a:pt x="2133" y="2172"/>
                    </a:lnTo>
                    <a:lnTo>
                      <a:pt x="2133" y="2039"/>
                    </a:lnTo>
                    <a:close/>
                    <a:moveTo>
                      <a:pt x="2733" y="2039"/>
                    </a:moveTo>
                    <a:cubicBezTo>
                      <a:pt x="2697" y="2039"/>
                      <a:pt x="2667" y="2068"/>
                      <a:pt x="2667" y="2105"/>
                    </a:cubicBezTo>
                    <a:lnTo>
                      <a:pt x="2667" y="2372"/>
                    </a:lnTo>
                    <a:cubicBezTo>
                      <a:pt x="2667" y="2409"/>
                      <a:pt x="2697" y="2439"/>
                      <a:pt x="2733" y="2439"/>
                    </a:cubicBezTo>
                    <a:lnTo>
                      <a:pt x="3000" y="2439"/>
                    </a:lnTo>
                    <a:cubicBezTo>
                      <a:pt x="3037" y="2439"/>
                      <a:pt x="3067" y="2409"/>
                      <a:pt x="3067" y="2372"/>
                    </a:cubicBezTo>
                    <a:lnTo>
                      <a:pt x="3067" y="2105"/>
                    </a:lnTo>
                    <a:cubicBezTo>
                      <a:pt x="3067" y="2068"/>
                      <a:pt x="3037" y="2039"/>
                      <a:pt x="3000" y="2039"/>
                    </a:cubicBezTo>
                    <a:lnTo>
                      <a:pt x="2733" y="2039"/>
                    </a:lnTo>
                    <a:close/>
                    <a:moveTo>
                      <a:pt x="3267" y="2039"/>
                    </a:moveTo>
                    <a:cubicBezTo>
                      <a:pt x="3230" y="2039"/>
                      <a:pt x="3200" y="2068"/>
                      <a:pt x="3200" y="2105"/>
                    </a:cubicBezTo>
                    <a:lnTo>
                      <a:pt x="3200" y="2372"/>
                    </a:lnTo>
                    <a:cubicBezTo>
                      <a:pt x="3200" y="2409"/>
                      <a:pt x="3230" y="2439"/>
                      <a:pt x="3267" y="2439"/>
                    </a:cubicBezTo>
                    <a:lnTo>
                      <a:pt x="3533" y="2439"/>
                    </a:lnTo>
                    <a:cubicBezTo>
                      <a:pt x="3570" y="2439"/>
                      <a:pt x="3600" y="2409"/>
                      <a:pt x="3600" y="2372"/>
                    </a:cubicBezTo>
                    <a:lnTo>
                      <a:pt x="3600" y="2105"/>
                    </a:lnTo>
                    <a:cubicBezTo>
                      <a:pt x="3600" y="2068"/>
                      <a:pt x="3570" y="2039"/>
                      <a:pt x="3533" y="2039"/>
                    </a:cubicBezTo>
                    <a:lnTo>
                      <a:pt x="3267" y="2039"/>
                    </a:lnTo>
                    <a:close/>
                    <a:moveTo>
                      <a:pt x="400" y="2172"/>
                    </a:moveTo>
                    <a:lnTo>
                      <a:pt x="533" y="2172"/>
                    </a:lnTo>
                    <a:lnTo>
                      <a:pt x="533" y="2305"/>
                    </a:lnTo>
                    <a:lnTo>
                      <a:pt x="400" y="2305"/>
                    </a:lnTo>
                    <a:lnTo>
                      <a:pt x="400" y="2172"/>
                    </a:lnTo>
                    <a:close/>
                    <a:moveTo>
                      <a:pt x="933" y="2172"/>
                    </a:moveTo>
                    <a:lnTo>
                      <a:pt x="1067" y="2172"/>
                    </a:lnTo>
                    <a:lnTo>
                      <a:pt x="1067" y="2305"/>
                    </a:lnTo>
                    <a:lnTo>
                      <a:pt x="933" y="2305"/>
                    </a:lnTo>
                    <a:lnTo>
                      <a:pt x="933" y="2172"/>
                    </a:lnTo>
                    <a:close/>
                    <a:moveTo>
                      <a:pt x="2800" y="2172"/>
                    </a:moveTo>
                    <a:lnTo>
                      <a:pt x="2933" y="2172"/>
                    </a:lnTo>
                    <a:lnTo>
                      <a:pt x="2933" y="2305"/>
                    </a:lnTo>
                    <a:lnTo>
                      <a:pt x="2800" y="2305"/>
                    </a:lnTo>
                    <a:lnTo>
                      <a:pt x="2800" y="2172"/>
                    </a:lnTo>
                    <a:close/>
                    <a:moveTo>
                      <a:pt x="3333" y="2172"/>
                    </a:moveTo>
                    <a:lnTo>
                      <a:pt x="3467" y="2172"/>
                    </a:lnTo>
                    <a:lnTo>
                      <a:pt x="3467" y="2305"/>
                    </a:lnTo>
                    <a:lnTo>
                      <a:pt x="3333" y="2305"/>
                    </a:lnTo>
                    <a:lnTo>
                      <a:pt x="3333" y="2172"/>
                    </a:lnTo>
                    <a:close/>
                    <a:moveTo>
                      <a:pt x="1933" y="2505"/>
                    </a:moveTo>
                    <a:cubicBezTo>
                      <a:pt x="2033" y="2505"/>
                      <a:pt x="2133" y="2550"/>
                      <a:pt x="2133" y="2639"/>
                    </a:cubicBezTo>
                    <a:lnTo>
                      <a:pt x="2133" y="3105"/>
                    </a:lnTo>
                    <a:lnTo>
                      <a:pt x="1733" y="3105"/>
                    </a:lnTo>
                    <a:lnTo>
                      <a:pt x="1733" y="2639"/>
                    </a:lnTo>
                    <a:cubicBezTo>
                      <a:pt x="1733" y="2550"/>
                      <a:pt x="1833" y="2505"/>
                      <a:pt x="1933" y="2505"/>
                    </a:cubicBezTo>
                    <a:close/>
                    <a:moveTo>
                      <a:pt x="333" y="2572"/>
                    </a:moveTo>
                    <a:cubicBezTo>
                      <a:pt x="297" y="2572"/>
                      <a:pt x="267" y="2602"/>
                      <a:pt x="267" y="2639"/>
                    </a:cubicBezTo>
                    <a:lnTo>
                      <a:pt x="267" y="2905"/>
                    </a:lnTo>
                    <a:cubicBezTo>
                      <a:pt x="267" y="2942"/>
                      <a:pt x="297" y="2972"/>
                      <a:pt x="333" y="2972"/>
                    </a:cubicBezTo>
                    <a:lnTo>
                      <a:pt x="600" y="2972"/>
                    </a:lnTo>
                    <a:cubicBezTo>
                      <a:pt x="637" y="2972"/>
                      <a:pt x="667" y="2942"/>
                      <a:pt x="667" y="2905"/>
                    </a:cubicBezTo>
                    <a:lnTo>
                      <a:pt x="667" y="2639"/>
                    </a:lnTo>
                    <a:cubicBezTo>
                      <a:pt x="667" y="2602"/>
                      <a:pt x="637" y="2572"/>
                      <a:pt x="600" y="2572"/>
                    </a:cubicBezTo>
                    <a:lnTo>
                      <a:pt x="333" y="2572"/>
                    </a:lnTo>
                    <a:close/>
                    <a:moveTo>
                      <a:pt x="867" y="2572"/>
                    </a:moveTo>
                    <a:cubicBezTo>
                      <a:pt x="830" y="2572"/>
                      <a:pt x="800" y="2602"/>
                      <a:pt x="800" y="2639"/>
                    </a:cubicBezTo>
                    <a:lnTo>
                      <a:pt x="800" y="2905"/>
                    </a:lnTo>
                    <a:cubicBezTo>
                      <a:pt x="800" y="2942"/>
                      <a:pt x="830" y="2972"/>
                      <a:pt x="867" y="2972"/>
                    </a:cubicBezTo>
                    <a:lnTo>
                      <a:pt x="1133" y="2972"/>
                    </a:lnTo>
                    <a:cubicBezTo>
                      <a:pt x="1170" y="2972"/>
                      <a:pt x="1200" y="2942"/>
                      <a:pt x="1200" y="2905"/>
                    </a:cubicBezTo>
                    <a:lnTo>
                      <a:pt x="1200" y="2639"/>
                    </a:lnTo>
                    <a:cubicBezTo>
                      <a:pt x="1200" y="2602"/>
                      <a:pt x="1170" y="2572"/>
                      <a:pt x="1133" y="2572"/>
                    </a:cubicBezTo>
                    <a:lnTo>
                      <a:pt x="867" y="2572"/>
                    </a:lnTo>
                    <a:close/>
                    <a:moveTo>
                      <a:pt x="2733" y="2572"/>
                    </a:moveTo>
                    <a:cubicBezTo>
                      <a:pt x="2697" y="2572"/>
                      <a:pt x="2667" y="2602"/>
                      <a:pt x="2667" y="2639"/>
                    </a:cubicBezTo>
                    <a:lnTo>
                      <a:pt x="2667" y="2905"/>
                    </a:lnTo>
                    <a:cubicBezTo>
                      <a:pt x="2667" y="2942"/>
                      <a:pt x="2697" y="2972"/>
                      <a:pt x="2733" y="2972"/>
                    </a:cubicBezTo>
                    <a:lnTo>
                      <a:pt x="3000" y="2972"/>
                    </a:lnTo>
                    <a:cubicBezTo>
                      <a:pt x="3037" y="2972"/>
                      <a:pt x="3067" y="2942"/>
                      <a:pt x="3067" y="2905"/>
                    </a:cubicBezTo>
                    <a:lnTo>
                      <a:pt x="3067" y="2639"/>
                    </a:lnTo>
                    <a:cubicBezTo>
                      <a:pt x="3067" y="2602"/>
                      <a:pt x="3037" y="2572"/>
                      <a:pt x="3000" y="2572"/>
                    </a:cubicBezTo>
                    <a:lnTo>
                      <a:pt x="2733" y="2572"/>
                    </a:lnTo>
                    <a:close/>
                    <a:moveTo>
                      <a:pt x="3267" y="2572"/>
                    </a:moveTo>
                    <a:cubicBezTo>
                      <a:pt x="3230" y="2572"/>
                      <a:pt x="3200" y="2602"/>
                      <a:pt x="3200" y="2639"/>
                    </a:cubicBezTo>
                    <a:lnTo>
                      <a:pt x="3200" y="2905"/>
                    </a:lnTo>
                    <a:cubicBezTo>
                      <a:pt x="3200" y="2942"/>
                      <a:pt x="3230" y="2972"/>
                      <a:pt x="3267" y="2972"/>
                    </a:cubicBezTo>
                    <a:lnTo>
                      <a:pt x="3533" y="2972"/>
                    </a:lnTo>
                    <a:cubicBezTo>
                      <a:pt x="3570" y="2972"/>
                      <a:pt x="3600" y="2942"/>
                      <a:pt x="3600" y="2905"/>
                    </a:cubicBezTo>
                    <a:lnTo>
                      <a:pt x="3600" y="2639"/>
                    </a:lnTo>
                    <a:cubicBezTo>
                      <a:pt x="3600" y="2602"/>
                      <a:pt x="3570" y="2572"/>
                      <a:pt x="3533" y="2572"/>
                    </a:cubicBezTo>
                    <a:lnTo>
                      <a:pt x="3267" y="2572"/>
                    </a:lnTo>
                    <a:close/>
                    <a:moveTo>
                      <a:pt x="400" y="2705"/>
                    </a:moveTo>
                    <a:lnTo>
                      <a:pt x="533" y="2705"/>
                    </a:lnTo>
                    <a:lnTo>
                      <a:pt x="533" y="2839"/>
                    </a:lnTo>
                    <a:lnTo>
                      <a:pt x="400" y="2839"/>
                    </a:lnTo>
                    <a:lnTo>
                      <a:pt x="400" y="2705"/>
                    </a:lnTo>
                    <a:close/>
                    <a:moveTo>
                      <a:pt x="933" y="2705"/>
                    </a:moveTo>
                    <a:lnTo>
                      <a:pt x="1067" y="2705"/>
                    </a:lnTo>
                    <a:lnTo>
                      <a:pt x="1067" y="2839"/>
                    </a:lnTo>
                    <a:lnTo>
                      <a:pt x="933" y="2839"/>
                    </a:lnTo>
                    <a:lnTo>
                      <a:pt x="933" y="2705"/>
                    </a:lnTo>
                    <a:close/>
                    <a:moveTo>
                      <a:pt x="2800" y="2705"/>
                    </a:moveTo>
                    <a:lnTo>
                      <a:pt x="2933" y="2705"/>
                    </a:lnTo>
                    <a:lnTo>
                      <a:pt x="2933" y="2839"/>
                    </a:lnTo>
                    <a:lnTo>
                      <a:pt x="2800" y="2839"/>
                    </a:lnTo>
                    <a:lnTo>
                      <a:pt x="2800" y="2705"/>
                    </a:lnTo>
                    <a:close/>
                    <a:moveTo>
                      <a:pt x="3333" y="2705"/>
                    </a:moveTo>
                    <a:lnTo>
                      <a:pt x="3467" y="2705"/>
                    </a:lnTo>
                    <a:lnTo>
                      <a:pt x="3467" y="2839"/>
                    </a:lnTo>
                    <a:lnTo>
                      <a:pt x="3333" y="2839"/>
                    </a:lnTo>
                    <a:lnTo>
                      <a:pt x="3333" y="2705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</p:sp>
          <p:sp>
            <p:nvSpPr>
              <p:cNvPr id="129" name="文本框 128"/>
              <p:cNvSpPr txBox="1"/>
              <p:nvPr/>
            </p:nvSpPr>
            <p:spPr>
              <a:xfrm>
                <a:off x="9798" y="18083"/>
                <a:ext cx="2905" cy="6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000">
                    <a:solidFill>
                      <a:schemeClr val="accent1">
                        <a:lumMod val="40000"/>
                        <a:lumOff val="60000"/>
                      </a:schemeClr>
                    </a:solidFill>
                  </a:rPr>
                  <a:t>国家开放大学</a:t>
                </a:r>
                <a:endPara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sp>
        <p:nvSpPr>
          <p:cNvPr id="22" name="矩形 21"/>
          <p:cNvSpPr/>
          <p:nvPr/>
        </p:nvSpPr>
        <p:spPr>
          <a:xfrm>
            <a:off x="20193635" y="4668520"/>
            <a:ext cx="501015" cy="61150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互认联盟</a:t>
            </a:r>
            <a:endParaRPr lang="zh-CN" altLang="en-US"/>
          </a:p>
        </p:txBody>
      </p:sp>
      <p:cxnSp>
        <p:nvCxnSpPr>
          <p:cNvPr id="31" name="直接连接符 30"/>
          <p:cNvCxnSpPr/>
          <p:nvPr/>
        </p:nvCxnSpPr>
        <p:spPr>
          <a:xfrm flipV="1">
            <a:off x="18250535" y="4876800"/>
            <a:ext cx="1637030" cy="2730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V="1">
            <a:off x="18194655" y="6349365"/>
            <a:ext cx="1795145" cy="76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 flipV="1">
            <a:off x="18230215" y="7665085"/>
            <a:ext cx="1795145" cy="76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 flipV="1">
            <a:off x="18235295" y="9102725"/>
            <a:ext cx="1795145" cy="76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 flipV="1">
            <a:off x="18209895" y="10418445"/>
            <a:ext cx="1795145" cy="76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4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753"/>
            <a:ext cx="1004252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商业模式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en-US" altLang="zh-CN" sz="2800">
                <a:latin typeface="仿宋" panose="02010609060101010101" charset="-122"/>
                <a:ea typeface="仿宋" panose="02010609060101010101" charset="-122"/>
              </a:rPr>
              <a:t>--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</a:rPr>
              <a:t>供需</a:t>
            </a:r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3811905" y="2241550"/>
            <a:ext cx="16657955" cy="7683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4400"/>
              <a:t>“</a:t>
            </a:r>
            <a:r>
              <a:rPr lang="zh-CN" altLang="en-US" sz="4400"/>
              <a:t>学分银行</a:t>
            </a:r>
            <a:r>
              <a:rPr lang="en-US" altLang="zh-CN" sz="4400"/>
              <a:t>”</a:t>
            </a:r>
            <a:r>
              <a:rPr lang="zh-CN" altLang="en-US" sz="4400"/>
              <a:t>存在两条供需线：           </a:t>
            </a:r>
            <a:endParaRPr lang="zh-CN" altLang="en-US" sz="4400"/>
          </a:p>
        </p:txBody>
      </p:sp>
      <p:grpSp>
        <p:nvGrpSpPr>
          <p:cNvPr id="34" name="组合 33"/>
          <p:cNvGrpSpPr/>
          <p:nvPr/>
        </p:nvGrpSpPr>
        <p:grpSpPr>
          <a:xfrm>
            <a:off x="4135120" y="4416425"/>
            <a:ext cx="5838190" cy="1868947"/>
            <a:chOff x="6992" y="10734"/>
            <a:chExt cx="9194" cy="2943"/>
          </a:xfrm>
        </p:grpSpPr>
        <p:grpSp>
          <p:nvGrpSpPr>
            <p:cNvPr id="12" name="组合 11"/>
            <p:cNvGrpSpPr/>
            <p:nvPr/>
          </p:nvGrpSpPr>
          <p:grpSpPr>
            <a:xfrm>
              <a:off x="6992" y="10734"/>
              <a:ext cx="2538" cy="2943"/>
              <a:chOff x="11730" y="13681"/>
              <a:chExt cx="1952" cy="2596"/>
            </a:xfrm>
          </p:grpSpPr>
          <p:sp>
            <p:nvSpPr>
              <p:cNvPr id="5" name="Freeform 28"/>
              <p:cNvSpPr/>
              <p:nvPr/>
            </p:nvSpPr>
            <p:spPr bwMode="auto">
              <a:xfrm>
                <a:off x="12092" y="14398"/>
                <a:ext cx="1137" cy="936"/>
              </a:xfrm>
              <a:custGeom>
                <a:avLst/>
                <a:gdLst>
                  <a:gd name="T0" fmla="*/ 393 w 661"/>
                  <a:gd name="T1" fmla="*/ 0 h 547"/>
                  <a:gd name="T2" fmla="*/ 393 w 661"/>
                  <a:gd name="T3" fmla="*/ 14 h 547"/>
                  <a:gd name="T4" fmla="*/ 387 w 661"/>
                  <a:gd name="T5" fmla="*/ 46 h 547"/>
                  <a:gd name="T6" fmla="*/ 377 w 661"/>
                  <a:gd name="T7" fmla="*/ 66 h 547"/>
                  <a:gd name="T8" fmla="*/ 369 w 661"/>
                  <a:gd name="T9" fmla="*/ 74 h 547"/>
                  <a:gd name="T10" fmla="*/ 387 w 661"/>
                  <a:gd name="T11" fmla="*/ 198 h 547"/>
                  <a:gd name="T12" fmla="*/ 395 w 661"/>
                  <a:gd name="T13" fmla="*/ 297 h 547"/>
                  <a:gd name="T14" fmla="*/ 395 w 661"/>
                  <a:gd name="T15" fmla="*/ 361 h 547"/>
                  <a:gd name="T16" fmla="*/ 393 w 661"/>
                  <a:gd name="T17" fmla="*/ 377 h 547"/>
                  <a:gd name="T18" fmla="*/ 377 w 661"/>
                  <a:gd name="T19" fmla="*/ 425 h 547"/>
                  <a:gd name="T20" fmla="*/ 359 w 661"/>
                  <a:gd name="T21" fmla="*/ 459 h 547"/>
                  <a:gd name="T22" fmla="*/ 339 w 661"/>
                  <a:gd name="T23" fmla="*/ 481 h 547"/>
                  <a:gd name="T24" fmla="*/ 327 w 661"/>
                  <a:gd name="T25" fmla="*/ 485 h 547"/>
                  <a:gd name="T26" fmla="*/ 323 w 661"/>
                  <a:gd name="T27" fmla="*/ 483 h 547"/>
                  <a:gd name="T28" fmla="*/ 307 w 661"/>
                  <a:gd name="T29" fmla="*/ 471 h 547"/>
                  <a:gd name="T30" fmla="*/ 289 w 661"/>
                  <a:gd name="T31" fmla="*/ 441 h 547"/>
                  <a:gd name="T32" fmla="*/ 275 w 661"/>
                  <a:gd name="T33" fmla="*/ 407 h 547"/>
                  <a:gd name="T34" fmla="*/ 269 w 661"/>
                  <a:gd name="T35" fmla="*/ 377 h 547"/>
                  <a:gd name="T36" fmla="*/ 265 w 661"/>
                  <a:gd name="T37" fmla="*/ 341 h 547"/>
                  <a:gd name="T38" fmla="*/ 273 w 661"/>
                  <a:gd name="T39" fmla="*/ 247 h 547"/>
                  <a:gd name="T40" fmla="*/ 295 w 661"/>
                  <a:gd name="T41" fmla="*/ 112 h 547"/>
                  <a:gd name="T42" fmla="*/ 303 w 661"/>
                  <a:gd name="T43" fmla="*/ 74 h 547"/>
                  <a:gd name="T44" fmla="*/ 293 w 661"/>
                  <a:gd name="T45" fmla="*/ 66 h 547"/>
                  <a:gd name="T46" fmla="*/ 285 w 661"/>
                  <a:gd name="T47" fmla="*/ 48 h 547"/>
                  <a:gd name="T48" fmla="*/ 279 w 661"/>
                  <a:gd name="T49" fmla="*/ 20 h 547"/>
                  <a:gd name="T50" fmla="*/ 174 w 661"/>
                  <a:gd name="T51" fmla="*/ 0 h 547"/>
                  <a:gd name="T52" fmla="*/ 174 w 661"/>
                  <a:gd name="T53" fmla="*/ 0 h 547"/>
                  <a:gd name="T54" fmla="*/ 138 w 661"/>
                  <a:gd name="T55" fmla="*/ 4 h 547"/>
                  <a:gd name="T56" fmla="*/ 106 w 661"/>
                  <a:gd name="T57" fmla="*/ 16 h 547"/>
                  <a:gd name="T58" fmla="*/ 74 w 661"/>
                  <a:gd name="T59" fmla="*/ 32 h 547"/>
                  <a:gd name="T60" fmla="*/ 48 w 661"/>
                  <a:gd name="T61" fmla="*/ 54 h 547"/>
                  <a:gd name="T62" fmla="*/ 26 w 661"/>
                  <a:gd name="T63" fmla="*/ 80 h 547"/>
                  <a:gd name="T64" fmla="*/ 10 w 661"/>
                  <a:gd name="T65" fmla="*/ 112 h 547"/>
                  <a:gd name="T66" fmla="*/ 2 w 661"/>
                  <a:gd name="T67" fmla="*/ 146 h 547"/>
                  <a:gd name="T68" fmla="*/ 2 w 661"/>
                  <a:gd name="T69" fmla="*/ 182 h 547"/>
                  <a:gd name="T70" fmla="*/ 26 w 661"/>
                  <a:gd name="T71" fmla="*/ 367 h 547"/>
                  <a:gd name="T72" fmla="*/ 48 w 661"/>
                  <a:gd name="T73" fmla="*/ 437 h 547"/>
                  <a:gd name="T74" fmla="*/ 64 w 661"/>
                  <a:gd name="T75" fmla="*/ 467 h 547"/>
                  <a:gd name="T76" fmla="*/ 84 w 661"/>
                  <a:gd name="T77" fmla="*/ 495 h 547"/>
                  <a:gd name="T78" fmla="*/ 108 w 661"/>
                  <a:gd name="T79" fmla="*/ 515 h 547"/>
                  <a:gd name="T80" fmla="*/ 134 w 661"/>
                  <a:gd name="T81" fmla="*/ 533 h 547"/>
                  <a:gd name="T82" fmla="*/ 164 w 661"/>
                  <a:gd name="T83" fmla="*/ 543 h 547"/>
                  <a:gd name="T84" fmla="*/ 200 w 661"/>
                  <a:gd name="T85" fmla="*/ 547 h 547"/>
                  <a:gd name="T86" fmla="*/ 463 w 661"/>
                  <a:gd name="T87" fmla="*/ 547 h 547"/>
                  <a:gd name="T88" fmla="*/ 497 w 661"/>
                  <a:gd name="T89" fmla="*/ 543 h 547"/>
                  <a:gd name="T90" fmla="*/ 527 w 661"/>
                  <a:gd name="T91" fmla="*/ 531 h 547"/>
                  <a:gd name="T92" fmla="*/ 555 w 661"/>
                  <a:gd name="T93" fmla="*/ 515 h 547"/>
                  <a:gd name="T94" fmla="*/ 577 w 661"/>
                  <a:gd name="T95" fmla="*/ 493 h 547"/>
                  <a:gd name="T96" fmla="*/ 597 w 661"/>
                  <a:gd name="T97" fmla="*/ 465 h 547"/>
                  <a:gd name="T98" fmla="*/ 613 w 661"/>
                  <a:gd name="T99" fmla="*/ 435 h 547"/>
                  <a:gd name="T100" fmla="*/ 635 w 661"/>
                  <a:gd name="T101" fmla="*/ 365 h 547"/>
                  <a:gd name="T102" fmla="*/ 661 w 661"/>
                  <a:gd name="T103" fmla="*/ 180 h 547"/>
                  <a:gd name="T104" fmla="*/ 661 w 661"/>
                  <a:gd name="T105" fmla="*/ 144 h 547"/>
                  <a:gd name="T106" fmla="*/ 651 w 661"/>
                  <a:gd name="T107" fmla="*/ 110 h 547"/>
                  <a:gd name="T108" fmla="*/ 637 w 661"/>
                  <a:gd name="T109" fmla="*/ 80 h 547"/>
                  <a:gd name="T110" fmla="*/ 615 w 661"/>
                  <a:gd name="T111" fmla="*/ 54 h 547"/>
                  <a:gd name="T112" fmla="*/ 587 w 661"/>
                  <a:gd name="T113" fmla="*/ 32 h 547"/>
                  <a:gd name="T114" fmla="*/ 557 w 661"/>
                  <a:gd name="T115" fmla="*/ 14 h 547"/>
                  <a:gd name="T116" fmla="*/ 523 w 661"/>
                  <a:gd name="T117" fmla="*/ 4 h 547"/>
                  <a:gd name="T118" fmla="*/ 487 w 661"/>
                  <a:gd name="T119" fmla="*/ 0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61" h="547">
                    <a:moveTo>
                      <a:pt x="487" y="0"/>
                    </a:moveTo>
                    <a:lnTo>
                      <a:pt x="393" y="0"/>
                    </a:lnTo>
                    <a:lnTo>
                      <a:pt x="393" y="0"/>
                    </a:lnTo>
                    <a:lnTo>
                      <a:pt x="393" y="14"/>
                    </a:lnTo>
                    <a:lnTo>
                      <a:pt x="391" y="34"/>
                    </a:lnTo>
                    <a:lnTo>
                      <a:pt x="387" y="46"/>
                    </a:lnTo>
                    <a:lnTo>
                      <a:pt x="383" y="56"/>
                    </a:lnTo>
                    <a:lnTo>
                      <a:pt x="377" y="66"/>
                    </a:lnTo>
                    <a:lnTo>
                      <a:pt x="369" y="74"/>
                    </a:lnTo>
                    <a:lnTo>
                      <a:pt x="369" y="74"/>
                    </a:lnTo>
                    <a:lnTo>
                      <a:pt x="375" y="112"/>
                    </a:lnTo>
                    <a:lnTo>
                      <a:pt x="387" y="198"/>
                    </a:lnTo>
                    <a:lnTo>
                      <a:pt x="393" y="249"/>
                    </a:lnTo>
                    <a:lnTo>
                      <a:pt x="395" y="297"/>
                    </a:lnTo>
                    <a:lnTo>
                      <a:pt x="397" y="343"/>
                    </a:lnTo>
                    <a:lnTo>
                      <a:pt x="395" y="361"/>
                    </a:lnTo>
                    <a:lnTo>
                      <a:pt x="393" y="377"/>
                    </a:lnTo>
                    <a:lnTo>
                      <a:pt x="393" y="377"/>
                    </a:lnTo>
                    <a:lnTo>
                      <a:pt x="383" y="407"/>
                    </a:lnTo>
                    <a:lnTo>
                      <a:pt x="377" y="425"/>
                    </a:lnTo>
                    <a:lnTo>
                      <a:pt x="369" y="443"/>
                    </a:lnTo>
                    <a:lnTo>
                      <a:pt x="359" y="459"/>
                    </a:lnTo>
                    <a:lnTo>
                      <a:pt x="349" y="473"/>
                    </a:lnTo>
                    <a:lnTo>
                      <a:pt x="339" y="481"/>
                    </a:lnTo>
                    <a:lnTo>
                      <a:pt x="333" y="483"/>
                    </a:lnTo>
                    <a:lnTo>
                      <a:pt x="327" y="485"/>
                    </a:lnTo>
                    <a:lnTo>
                      <a:pt x="327" y="485"/>
                    </a:lnTo>
                    <a:lnTo>
                      <a:pt x="323" y="483"/>
                    </a:lnTo>
                    <a:lnTo>
                      <a:pt x="317" y="481"/>
                    </a:lnTo>
                    <a:lnTo>
                      <a:pt x="307" y="471"/>
                    </a:lnTo>
                    <a:lnTo>
                      <a:pt x="297" y="459"/>
                    </a:lnTo>
                    <a:lnTo>
                      <a:pt x="289" y="441"/>
                    </a:lnTo>
                    <a:lnTo>
                      <a:pt x="281" y="423"/>
                    </a:lnTo>
                    <a:lnTo>
                      <a:pt x="275" y="407"/>
                    </a:lnTo>
                    <a:lnTo>
                      <a:pt x="269" y="377"/>
                    </a:lnTo>
                    <a:lnTo>
                      <a:pt x="269" y="377"/>
                    </a:lnTo>
                    <a:lnTo>
                      <a:pt x="265" y="361"/>
                    </a:lnTo>
                    <a:lnTo>
                      <a:pt x="265" y="341"/>
                    </a:lnTo>
                    <a:lnTo>
                      <a:pt x="267" y="297"/>
                    </a:lnTo>
                    <a:lnTo>
                      <a:pt x="273" y="247"/>
                    </a:lnTo>
                    <a:lnTo>
                      <a:pt x="279" y="198"/>
                    </a:lnTo>
                    <a:lnTo>
                      <a:pt x="295" y="112"/>
                    </a:lnTo>
                    <a:lnTo>
                      <a:pt x="303" y="74"/>
                    </a:lnTo>
                    <a:lnTo>
                      <a:pt x="303" y="74"/>
                    </a:lnTo>
                    <a:lnTo>
                      <a:pt x="297" y="70"/>
                    </a:lnTo>
                    <a:lnTo>
                      <a:pt x="293" y="66"/>
                    </a:lnTo>
                    <a:lnTo>
                      <a:pt x="289" y="58"/>
                    </a:lnTo>
                    <a:lnTo>
                      <a:pt x="285" y="48"/>
                    </a:lnTo>
                    <a:lnTo>
                      <a:pt x="283" y="36"/>
                    </a:lnTo>
                    <a:lnTo>
                      <a:pt x="279" y="20"/>
                    </a:lnTo>
                    <a:lnTo>
                      <a:pt x="277" y="0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56" y="2"/>
                    </a:lnTo>
                    <a:lnTo>
                      <a:pt x="138" y="4"/>
                    </a:lnTo>
                    <a:lnTo>
                      <a:pt x="122" y="8"/>
                    </a:lnTo>
                    <a:lnTo>
                      <a:pt x="106" y="16"/>
                    </a:lnTo>
                    <a:lnTo>
                      <a:pt x="90" y="22"/>
                    </a:lnTo>
                    <a:lnTo>
                      <a:pt x="74" y="32"/>
                    </a:lnTo>
                    <a:lnTo>
                      <a:pt x="60" y="42"/>
                    </a:lnTo>
                    <a:lnTo>
                      <a:pt x="48" y="54"/>
                    </a:lnTo>
                    <a:lnTo>
                      <a:pt x="36" y="68"/>
                    </a:lnTo>
                    <a:lnTo>
                      <a:pt x="26" y="80"/>
                    </a:lnTo>
                    <a:lnTo>
                      <a:pt x="16" y="96"/>
                    </a:lnTo>
                    <a:lnTo>
                      <a:pt x="10" y="112"/>
                    </a:lnTo>
                    <a:lnTo>
                      <a:pt x="4" y="128"/>
                    </a:lnTo>
                    <a:lnTo>
                      <a:pt x="2" y="146"/>
                    </a:lnTo>
                    <a:lnTo>
                      <a:pt x="0" y="164"/>
                    </a:lnTo>
                    <a:lnTo>
                      <a:pt x="2" y="182"/>
                    </a:lnTo>
                    <a:lnTo>
                      <a:pt x="26" y="367"/>
                    </a:lnTo>
                    <a:lnTo>
                      <a:pt x="26" y="367"/>
                    </a:lnTo>
                    <a:lnTo>
                      <a:pt x="34" y="403"/>
                    </a:lnTo>
                    <a:lnTo>
                      <a:pt x="48" y="437"/>
                    </a:lnTo>
                    <a:lnTo>
                      <a:pt x="56" y="453"/>
                    </a:lnTo>
                    <a:lnTo>
                      <a:pt x="64" y="467"/>
                    </a:lnTo>
                    <a:lnTo>
                      <a:pt x="74" y="481"/>
                    </a:lnTo>
                    <a:lnTo>
                      <a:pt x="84" y="495"/>
                    </a:lnTo>
                    <a:lnTo>
                      <a:pt x="96" y="505"/>
                    </a:lnTo>
                    <a:lnTo>
                      <a:pt x="108" y="515"/>
                    </a:lnTo>
                    <a:lnTo>
                      <a:pt x="120" y="525"/>
                    </a:lnTo>
                    <a:lnTo>
                      <a:pt x="134" y="533"/>
                    </a:lnTo>
                    <a:lnTo>
                      <a:pt x="150" y="539"/>
                    </a:lnTo>
                    <a:lnTo>
                      <a:pt x="164" y="543"/>
                    </a:lnTo>
                    <a:lnTo>
                      <a:pt x="182" y="545"/>
                    </a:lnTo>
                    <a:lnTo>
                      <a:pt x="200" y="547"/>
                    </a:lnTo>
                    <a:lnTo>
                      <a:pt x="463" y="547"/>
                    </a:lnTo>
                    <a:lnTo>
                      <a:pt x="463" y="547"/>
                    </a:lnTo>
                    <a:lnTo>
                      <a:pt x="479" y="545"/>
                    </a:lnTo>
                    <a:lnTo>
                      <a:pt x="497" y="543"/>
                    </a:lnTo>
                    <a:lnTo>
                      <a:pt x="513" y="537"/>
                    </a:lnTo>
                    <a:lnTo>
                      <a:pt x="527" y="531"/>
                    </a:lnTo>
                    <a:lnTo>
                      <a:pt x="541" y="525"/>
                    </a:lnTo>
                    <a:lnTo>
                      <a:pt x="555" y="515"/>
                    </a:lnTo>
                    <a:lnTo>
                      <a:pt x="567" y="505"/>
                    </a:lnTo>
                    <a:lnTo>
                      <a:pt x="577" y="493"/>
                    </a:lnTo>
                    <a:lnTo>
                      <a:pt x="589" y="479"/>
                    </a:lnTo>
                    <a:lnTo>
                      <a:pt x="597" y="465"/>
                    </a:lnTo>
                    <a:lnTo>
                      <a:pt x="607" y="451"/>
                    </a:lnTo>
                    <a:lnTo>
                      <a:pt x="613" y="435"/>
                    </a:lnTo>
                    <a:lnTo>
                      <a:pt x="627" y="401"/>
                    </a:lnTo>
                    <a:lnTo>
                      <a:pt x="635" y="365"/>
                    </a:lnTo>
                    <a:lnTo>
                      <a:pt x="661" y="180"/>
                    </a:lnTo>
                    <a:lnTo>
                      <a:pt x="661" y="180"/>
                    </a:lnTo>
                    <a:lnTo>
                      <a:pt x="661" y="162"/>
                    </a:lnTo>
                    <a:lnTo>
                      <a:pt x="661" y="144"/>
                    </a:lnTo>
                    <a:lnTo>
                      <a:pt x="657" y="126"/>
                    </a:lnTo>
                    <a:lnTo>
                      <a:pt x="651" y="110"/>
                    </a:lnTo>
                    <a:lnTo>
                      <a:pt x="645" y="94"/>
                    </a:lnTo>
                    <a:lnTo>
                      <a:pt x="637" y="80"/>
                    </a:lnTo>
                    <a:lnTo>
                      <a:pt x="625" y="66"/>
                    </a:lnTo>
                    <a:lnTo>
                      <a:pt x="615" y="54"/>
                    </a:lnTo>
                    <a:lnTo>
                      <a:pt x="601" y="42"/>
                    </a:lnTo>
                    <a:lnTo>
                      <a:pt x="587" y="32"/>
                    </a:lnTo>
                    <a:lnTo>
                      <a:pt x="573" y="22"/>
                    </a:lnTo>
                    <a:lnTo>
                      <a:pt x="557" y="14"/>
                    </a:lnTo>
                    <a:lnTo>
                      <a:pt x="539" y="8"/>
                    </a:lnTo>
                    <a:lnTo>
                      <a:pt x="523" y="4"/>
                    </a:lnTo>
                    <a:lnTo>
                      <a:pt x="505" y="2"/>
                    </a:lnTo>
                    <a:lnTo>
                      <a:pt x="487" y="0"/>
                    </a:lnTo>
                    <a:lnTo>
                      <a:pt x="487" y="0"/>
                    </a:lnTo>
                    <a:close/>
                  </a:path>
                </a:pathLst>
              </a:custGeom>
              <a:solidFill>
                <a:srgbClr val="1EB9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" name="Freeform 29"/>
              <p:cNvSpPr/>
              <p:nvPr/>
            </p:nvSpPr>
            <p:spPr bwMode="auto">
              <a:xfrm>
                <a:off x="12357" y="13681"/>
                <a:ext cx="607" cy="618"/>
              </a:xfrm>
              <a:custGeom>
                <a:avLst/>
                <a:gdLst>
                  <a:gd name="T0" fmla="*/ 353 w 353"/>
                  <a:gd name="T1" fmla="*/ 181 h 361"/>
                  <a:gd name="T2" fmla="*/ 349 w 353"/>
                  <a:gd name="T3" fmla="*/ 217 h 361"/>
                  <a:gd name="T4" fmla="*/ 339 w 353"/>
                  <a:gd name="T5" fmla="*/ 251 h 361"/>
                  <a:gd name="T6" fmla="*/ 323 w 353"/>
                  <a:gd name="T7" fmla="*/ 283 h 361"/>
                  <a:gd name="T8" fmla="*/ 301 w 353"/>
                  <a:gd name="T9" fmla="*/ 309 h 361"/>
                  <a:gd name="T10" fmla="*/ 275 w 353"/>
                  <a:gd name="T11" fmla="*/ 331 h 361"/>
                  <a:gd name="T12" fmla="*/ 245 w 353"/>
                  <a:gd name="T13" fmla="*/ 347 h 361"/>
                  <a:gd name="T14" fmla="*/ 211 w 353"/>
                  <a:gd name="T15" fmla="*/ 359 h 361"/>
                  <a:gd name="T16" fmla="*/ 177 w 353"/>
                  <a:gd name="T17" fmla="*/ 361 h 361"/>
                  <a:gd name="T18" fmla="*/ 159 w 353"/>
                  <a:gd name="T19" fmla="*/ 361 h 361"/>
                  <a:gd name="T20" fmla="*/ 123 w 353"/>
                  <a:gd name="T21" fmla="*/ 353 h 361"/>
                  <a:gd name="T22" fmla="*/ 94 w 353"/>
                  <a:gd name="T23" fmla="*/ 341 h 361"/>
                  <a:gd name="T24" fmla="*/ 66 w 353"/>
                  <a:gd name="T25" fmla="*/ 321 h 361"/>
                  <a:gd name="T26" fmla="*/ 42 w 353"/>
                  <a:gd name="T27" fmla="*/ 295 h 361"/>
                  <a:gd name="T28" fmla="*/ 22 w 353"/>
                  <a:gd name="T29" fmla="*/ 267 h 361"/>
                  <a:gd name="T30" fmla="*/ 8 w 353"/>
                  <a:gd name="T31" fmla="*/ 235 h 361"/>
                  <a:gd name="T32" fmla="*/ 2 w 353"/>
                  <a:gd name="T33" fmla="*/ 199 h 361"/>
                  <a:gd name="T34" fmla="*/ 0 w 353"/>
                  <a:gd name="T35" fmla="*/ 181 h 361"/>
                  <a:gd name="T36" fmla="*/ 4 w 353"/>
                  <a:gd name="T37" fmla="*/ 146 h 361"/>
                  <a:gd name="T38" fmla="*/ 14 w 353"/>
                  <a:gd name="T39" fmla="*/ 112 h 361"/>
                  <a:gd name="T40" fmla="*/ 32 w 353"/>
                  <a:gd name="T41" fmla="*/ 80 h 361"/>
                  <a:gd name="T42" fmla="*/ 52 w 353"/>
                  <a:gd name="T43" fmla="*/ 54 h 361"/>
                  <a:gd name="T44" fmla="*/ 78 w 353"/>
                  <a:gd name="T45" fmla="*/ 32 h 361"/>
                  <a:gd name="T46" fmla="*/ 108 w 353"/>
                  <a:gd name="T47" fmla="*/ 14 h 361"/>
                  <a:gd name="T48" fmla="*/ 141 w 353"/>
                  <a:gd name="T49" fmla="*/ 4 h 361"/>
                  <a:gd name="T50" fmla="*/ 177 w 353"/>
                  <a:gd name="T51" fmla="*/ 0 h 361"/>
                  <a:gd name="T52" fmla="*/ 195 w 353"/>
                  <a:gd name="T53" fmla="*/ 2 h 361"/>
                  <a:gd name="T54" fmla="*/ 229 w 353"/>
                  <a:gd name="T55" fmla="*/ 8 h 361"/>
                  <a:gd name="T56" fmla="*/ 261 w 353"/>
                  <a:gd name="T57" fmla="*/ 22 h 361"/>
                  <a:gd name="T58" fmla="*/ 289 w 353"/>
                  <a:gd name="T59" fmla="*/ 42 h 361"/>
                  <a:gd name="T60" fmla="*/ 313 w 353"/>
                  <a:gd name="T61" fmla="*/ 66 h 361"/>
                  <a:gd name="T62" fmla="*/ 331 w 353"/>
                  <a:gd name="T63" fmla="*/ 96 h 361"/>
                  <a:gd name="T64" fmla="*/ 345 w 353"/>
                  <a:gd name="T65" fmla="*/ 128 h 361"/>
                  <a:gd name="T66" fmla="*/ 351 w 353"/>
                  <a:gd name="T67" fmla="*/ 163 h 361"/>
                  <a:gd name="T68" fmla="*/ 353 w 353"/>
                  <a:gd name="T69" fmla="*/ 18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53" h="361">
                    <a:moveTo>
                      <a:pt x="353" y="181"/>
                    </a:moveTo>
                    <a:lnTo>
                      <a:pt x="353" y="181"/>
                    </a:lnTo>
                    <a:lnTo>
                      <a:pt x="351" y="199"/>
                    </a:lnTo>
                    <a:lnTo>
                      <a:pt x="349" y="217"/>
                    </a:lnTo>
                    <a:lnTo>
                      <a:pt x="345" y="235"/>
                    </a:lnTo>
                    <a:lnTo>
                      <a:pt x="339" y="251"/>
                    </a:lnTo>
                    <a:lnTo>
                      <a:pt x="331" y="267"/>
                    </a:lnTo>
                    <a:lnTo>
                      <a:pt x="323" y="283"/>
                    </a:lnTo>
                    <a:lnTo>
                      <a:pt x="313" y="295"/>
                    </a:lnTo>
                    <a:lnTo>
                      <a:pt x="301" y="309"/>
                    </a:lnTo>
                    <a:lnTo>
                      <a:pt x="289" y="321"/>
                    </a:lnTo>
                    <a:lnTo>
                      <a:pt x="275" y="331"/>
                    </a:lnTo>
                    <a:lnTo>
                      <a:pt x="261" y="341"/>
                    </a:lnTo>
                    <a:lnTo>
                      <a:pt x="245" y="347"/>
                    </a:lnTo>
                    <a:lnTo>
                      <a:pt x="229" y="353"/>
                    </a:lnTo>
                    <a:lnTo>
                      <a:pt x="211" y="359"/>
                    </a:lnTo>
                    <a:lnTo>
                      <a:pt x="195" y="361"/>
                    </a:lnTo>
                    <a:lnTo>
                      <a:pt x="177" y="361"/>
                    </a:lnTo>
                    <a:lnTo>
                      <a:pt x="177" y="361"/>
                    </a:lnTo>
                    <a:lnTo>
                      <a:pt x="159" y="361"/>
                    </a:lnTo>
                    <a:lnTo>
                      <a:pt x="141" y="359"/>
                    </a:lnTo>
                    <a:lnTo>
                      <a:pt x="123" y="353"/>
                    </a:lnTo>
                    <a:lnTo>
                      <a:pt x="108" y="347"/>
                    </a:lnTo>
                    <a:lnTo>
                      <a:pt x="94" y="341"/>
                    </a:lnTo>
                    <a:lnTo>
                      <a:pt x="78" y="331"/>
                    </a:lnTo>
                    <a:lnTo>
                      <a:pt x="66" y="321"/>
                    </a:lnTo>
                    <a:lnTo>
                      <a:pt x="52" y="309"/>
                    </a:lnTo>
                    <a:lnTo>
                      <a:pt x="42" y="295"/>
                    </a:lnTo>
                    <a:lnTo>
                      <a:pt x="32" y="283"/>
                    </a:lnTo>
                    <a:lnTo>
                      <a:pt x="22" y="267"/>
                    </a:lnTo>
                    <a:lnTo>
                      <a:pt x="14" y="251"/>
                    </a:lnTo>
                    <a:lnTo>
                      <a:pt x="8" y="235"/>
                    </a:lnTo>
                    <a:lnTo>
                      <a:pt x="4" y="217"/>
                    </a:lnTo>
                    <a:lnTo>
                      <a:pt x="2" y="199"/>
                    </a:lnTo>
                    <a:lnTo>
                      <a:pt x="0" y="181"/>
                    </a:lnTo>
                    <a:lnTo>
                      <a:pt x="0" y="181"/>
                    </a:lnTo>
                    <a:lnTo>
                      <a:pt x="2" y="163"/>
                    </a:lnTo>
                    <a:lnTo>
                      <a:pt x="4" y="146"/>
                    </a:lnTo>
                    <a:lnTo>
                      <a:pt x="8" y="128"/>
                    </a:lnTo>
                    <a:lnTo>
                      <a:pt x="14" y="112"/>
                    </a:lnTo>
                    <a:lnTo>
                      <a:pt x="22" y="96"/>
                    </a:lnTo>
                    <a:lnTo>
                      <a:pt x="32" y="80"/>
                    </a:lnTo>
                    <a:lnTo>
                      <a:pt x="42" y="66"/>
                    </a:lnTo>
                    <a:lnTo>
                      <a:pt x="52" y="54"/>
                    </a:lnTo>
                    <a:lnTo>
                      <a:pt x="66" y="42"/>
                    </a:lnTo>
                    <a:lnTo>
                      <a:pt x="78" y="32"/>
                    </a:lnTo>
                    <a:lnTo>
                      <a:pt x="94" y="22"/>
                    </a:lnTo>
                    <a:lnTo>
                      <a:pt x="108" y="14"/>
                    </a:lnTo>
                    <a:lnTo>
                      <a:pt x="123" y="8"/>
                    </a:lnTo>
                    <a:lnTo>
                      <a:pt x="141" y="4"/>
                    </a:lnTo>
                    <a:lnTo>
                      <a:pt x="159" y="2"/>
                    </a:lnTo>
                    <a:lnTo>
                      <a:pt x="177" y="0"/>
                    </a:lnTo>
                    <a:lnTo>
                      <a:pt x="177" y="0"/>
                    </a:lnTo>
                    <a:lnTo>
                      <a:pt x="195" y="2"/>
                    </a:lnTo>
                    <a:lnTo>
                      <a:pt x="211" y="4"/>
                    </a:lnTo>
                    <a:lnTo>
                      <a:pt x="229" y="8"/>
                    </a:lnTo>
                    <a:lnTo>
                      <a:pt x="245" y="14"/>
                    </a:lnTo>
                    <a:lnTo>
                      <a:pt x="261" y="22"/>
                    </a:lnTo>
                    <a:lnTo>
                      <a:pt x="275" y="32"/>
                    </a:lnTo>
                    <a:lnTo>
                      <a:pt x="289" y="42"/>
                    </a:lnTo>
                    <a:lnTo>
                      <a:pt x="301" y="54"/>
                    </a:lnTo>
                    <a:lnTo>
                      <a:pt x="313" y="66"/>
                    </a:lnTo>
                    <a:lnTo>
                      <a:pt x="323" y="80"/>
                    </a:lnTo>
                    <a:lnTo>
                      <a:pt x="331" y="96"/>
                    </a:lnTo>
                    <a:lnTo>
                      <a:pt x="339" y="112"/>
                    </a:lnTo>
                    <a:lnTo>
                      <a:pt x="345" y="128"/>
                    </a:lnTo>
                    <a:lnTo>
                      <a:pt x="349" y="146"/>
                    </a:lnTo>
                    <a:lnTo>
                      <a:pt x="351" y="163"/>
                    </a:lnTo>
                    <a:lnTo>
                      <a:pt x="353" y="181"/>
                    </a:lnTo>
                    <a:lnTo>
                      <a:pt x="353" y="181"/>
                    </a:lnTo>
                    <a:close/>
                  </a:path>
                </a:pathLst>
              </a:custGeom>
              <a:solidFill>
                <a:srgbClr val="1EB9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11730" y="15723"/>
                <a:ext cx="1952" cy="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en-US" altLang="zh-CN">
                    <a:solidFill>
                      <a:schemeClr val="accent1">
                        <a:lumMod val="40000"/>
                        <a:lumOff val="60000"/>
                      </a:schemeClr>
                    </a:solidFill>
                  </a:rPr>
                  <a:t>     </a:t>
                </a:r>
                <a:r>
                  <a:rPr lang="zh-CN" altLang="en-US" sz="2000">
                    <a:solidFill>
                      <a:schemeClr val="accent1">
                        <a:lumMod val="40000"/>
                        <a:lumOff val="60000"/>
                      </a:schemeClr>
                    </a:solidFill>
                  </a:rPr>
                  <a:t>学习者</a:t>
                </a:r>
                <a:endPara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27" name="组合 26"/>
            <p:cNvGrpSpPr/>
            <p:nvPr/>
          </p:nvGrpSpPr>
          <p:grpSpPr>
            <a:xfrm>
              <a:off x="13931" y="10734"/>
              <a:ext cx="2255" cy="2865"/>
              <a:chOff x="18456" y="9015"/>
              <a:chExt cx="4507" cy="5446"/>
            </a:xfrm>
          </p:grpSpPr>
          <p:sp>
            <p:nvSpPr>
              <p:cNvPr id="2" name="矩形 10"/>
              <p:cNvSpPr/>
              <p:nvPr/>
            </p:nvSpPr>
            <p:spPr>
              <a:xfrm>
                <a:off x="18456" y="9015"/>
                <a:ext cx="4507" cy="3889"/>
              </a:xfrm>
              <a:custGeom>
                <a:avLst/>
                <a:gdLst>
                  <a:gd name="T0" fmla="*/ 225185 h 604667"/>
                  <a:gd name="T1" fmla="*/ 225185 h 604667"/>
                  <a:gd name="T2" fmla="*/ 225185 h 604667"/>
                  <a:gd name="T3" fmla="*/ 225185 h 604667"/>
                  <a:gd name="T4" fmla="*/ 225185 h 604667"/>
                  <a:gd name="T5" fmla="*/ 225185 h 604667"/>
                  <a:gd name="T6" fmla="*/ 225185 h 604667"/>
                  <a:gd name="T7" fmla="*/ 225185 h 604667"/>
                  <a:gd name="T8" fmla="*/ 225185 h 604667"/>
                  <a:gd name="T9" fmla="*/ 225185 h 604667"/>
                  <a:gd name="T10" fmla="*/ 225185 h 604667"/>
                  <a:gd name="T11" fmla="*/ 225185 h 604667"/>
                  <a:gd name="T12" fmla="*/ 225185 h 604667"/>
                  <a:gd name="T13" fmla="*/ 225185 h 604667"/>
                  <a:gd name="T14" fmla="*/ 225185 h 604667"/>
                  <a:gd name="T15" fmla="*/ 225185 h 604667"/>
                  <a:gd name="T16" fmla="*/ 225185 h 604667"/>
                  <a:gd name="T17" fmla="*/ 225185 h 604667"/>
                  <a:gd name="T18" fmla="*/ 225185 h 604667"/>
                  <a:gd name="T19" fmla="*/ 225185 h 604667"/>
                  <a:gd name="T20" fmla="*/ 225185 h 604667"/>
                  <a:gd name="T21" fmla="*/ 225185 h 604667"/>
                  <a:gd name="T22" fmla="*/ 225185 h 604667"/>
                  <a:gd name="T23" fmla="*/ 225185 h 604667"/>
                  <a:gd name="T24" fmla="*/ 225185 h 604667"/>
                  <a:gd name="T25" fmla="*/ 225185 h 604667"/>
                  <a:gd name="T26" fmla="*/ 225185 h 604667"/>
                  <a:gd name="T27" fmla="*/ 225185 h 604667"/>
                  <a:gd name="T28" fmla="*/ 225185 h 604667"/>
                  <a:gd name="T29" fmla="*/ 225185 h 604667"/>
                  <a:gd name="T30" fmla="*/ 225185 h 604667"/>
                  <a:gd name="T31" fmla="*/ 225185 h 604667"/>
                  <a:gd name="T32" fmla="*/ 225185 h 604667"/>
                  <a:gd name="T33" fmla="*/ 225185 h 604667"/>
                  <a:gd name="T34" fmla="*/ 225185 h 604667"/>
                  <a:gd name="T35" fmla="*/ 225185 h 604667"/>
                  <a:gd name="T36" fmla="*/ 225185 h 604667"/>
                  <a:gd name="T37" fmla="*/ 225185 h 604667"/>
                  <a:gd name="T38" fmla="*/ 225185 h 604667"/>
                  <a:gd name="T39" fmla="*/ 225185 h 604667"/>
                  <a:gd name="T40" fmla="*/ 225185 h 604667"/>
                  <a:gd name="T41" fmla="*/ 225185 h 604667"/>
                  <a:gd name="T42" fmla="*/ 225185 h 604667"/>
                  <a:gd name="T43" fmla="*/ 225185 h 604667"/>
                  <a:gd name="T44" fmla="*/ 225185 h 604667"/>
                  <a:gd name="T45" fmla="*/ 225185 h 604667"/>
                  <a:gd name="T46" fmla="*/ 225185 h 604667"/>
                  <a:gd name="T47" fmla="*/ 225185 h 604667"/>
                  <a:gd name="T48" fmla="*/ 225185 h 604667"/>
                  <a:gd name="T49" fmla="*/ 225185 h 604667"/>
                  <a:gd name="T50" fmla="*/ 225185 h 604667"/>
                  <a:gd name="T51" fmla="*/ 225185 h 604667"/>
                  <a:gd name="T52" fmla="*/ 225185 h 604667"/>
                  <a:gd name="T53" fmla="*/ 225185 h 604667"/>
                  <a:gd name="T54" fmla="*/ 225185 h 604667"/>
                  <a:gd name="T55" fmla="*/ 225185 h 604667"/>
                  <a:gd name="T56" fmla="*/ 225185 h 604667"/>
                  <a:gd name="T57" fmla="*/ 225185 h 604667"/>
                  <a:gd name="T58" fmla="*/ 225185 h 604667"/>
                  <a:gd name="T59" fmla="*/ 225185 h 604667"/>
                  <a:gd name="T60" fmla="*/ 225185 h 604667"/>
                  <a:gd name="T61" fmla="*/ 225185 h 604667"/>
                  <a:gd name="T62" fmla="*/ 225185 h 604667"/>
                  <a:gd name="T63" fmla="*/ 225185 h 604667"/>
                  <a:gd name="T64" fmla="*/ 225185 h 604667"/>
                  <a:gd name="T65" fmla="*/ 225185 h 604667"/>
                  <a:gd name="T66" fmla="*/ 225185 h 604667"/>
                  <a:gd name="T67" fmla="*/ 225185 h 604667"/>
                  <a:gd name="T68" fmla="*/ 225185 h 604667"/>
                  <a:gd name="T69" fmla="*/ 225185 h 604667"/>
                  <a:gd name="T70" fmla="*/ 225185 h 604667"/>
                  <a:gd name="T71" fmla="*/ 225185 h 604667"/>
                  <a:gd name="T72" fmla="*/ 225185 h 604667"/>
                  <a:gd name="T73" fmla="*/ 225185 h 604667"/>
                  <a:gd name="T74" fmla="*/ 225185 h 604667"/>
                  <a:gd name="T75" fmla="*/ 225185 h 604667"/>
                  <a:gd name="T76" fmla="*/ 225185 h 604667"/>
                  <a:gd name="T77" fmla="*/ 225185 h 604667"/>
                  <a:gd name="T78" fmla="*/ 225185 h 604667"/>
                  <a:gd name="T79" fmla="*/ 225185 h 604667"/>
                  <a:gd name="T80" fmla="*/ 225185 h 604667"/>
                  <a:gd name="T81" fmla="*/ 225185 h 604667"/>
                  <a:gd name="T82" fmla="*/ 225185 h 604667"/>
                  <a:gd name="T83" fmla="*/ 225185 h 604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67" h="3077">
                    <a:moveTo>
                      <a:pt x="2453" y="2690"/>
                    </a:moveTo>
                    <a:lnTo>
                      <a:pt x="2453" y="2450"/>
                    </a:lnTo>
                    <a:lnTo>
                      <a:pt x="2320" y="2450"/>
                    </a:lnTo>
                    <a:lnTo>
                      <a:pt x="2320" y="1330"/>
                    </a:lnTo>
                    <a:lnTo>
                      <a:pt x="2400" y="1330"/>
                    </a:lnTo>
                    <a:lnTo>
                      <a:pt x="2400" y="1197"/>
                    </a:lnTo>
                    <a:lnTo>
                      <a:pt x="2533" y="1197"/>
                    </a:lnTo>
                    <a:lnTo>
                      <a:pt x="2533" y="810"/>
                    </a:lnTo>
                    <a:lnTo>
                      <a:pt x="2196" y="810"/>
                    </a:lnTo>
                    <a:lnTo>
                      <a:pt x="1334" y="0"/>
                    </a:lnTo>
                    <a:lnTo>
                      <a:pt x="472" y="810"/>
                    </a:lnTo>
                    <a:lnTo>
                      <a:pt x="133" y="810"/>
                    </a:lnTo>
                    <a:lnTo>
                      <a:pt x="133" y="1197"/>
                    </a:lnTo>
                    <a:lnTo>
                      <a:pt x="267" y="1197"/>
                    </a:lnTo>
                    <a:lnTo>
                      <a:pt x="267" y="1330"/>
                    </a:lnTo>
                    <a:lnTo>
                      <a:pt x="360" y="1330"/>
                    </a:lnTo>
                    <a:lnTo>
                      <a:pt x="360" y="2450"/>
                    </a:lnTo>
                    <a:lnTo>
                      <a:pt x="213" y="2450"/>
                    </a:lnTo>
                    <a:lnTo>
                      <a:pt x="213" y="2690"/>
                    </a:lnTo>
                    <a:lnTo>
                      <a:pt x="0" y="2690"/>
                    </a:lnTo>
                    <a:lnTo>
                      <a:pt x="0" y="3077"/>
                    </a:lnTo>
                    <a:lnTo>
                      <a:pt x="2667" y="3077"/>
                    </a:lnTo>
                    <a:lnTo>
                      <a:pt x="2667" y="2690"/>
                    </a:lnTo>
                    <a:lnTo>
                      <a:pt x="2453" y="2690"/>
                    </a:lnTo>
                    <a:close/>
                    <a:moveTo>
                      <a:pt x="880" y="1197"/>
                    </a:moveTo>
                    <a:lnTo>
                      <a:pt x="1027" y="1197"/>
                    </a:lnTo>
                    <a:lnTo>
                      <a:pt x="1027" y="1330"/>
                    </a:lnTo>
                    <a:lnTo>
                      <a:pt x="1107" y="1330"/>
                    </a:lnTo>
                    <a:lnTo>
                      <a:pt x="1107" y="2450"/>
                    </a:lnTo>
                    <a:lnTo>
                      <a:pt x="800" y="2450"/>
                    </a:lnTo>
                    <a:lnTo>
                      <a:pt x="800" y="1330"/>
                    </a:lnTo>
                    <a:lnTo>
                      <a:pt x="880" y="1330"/>
                    </a:lnTo>
                    <a:lnTo>
                      <a:pt x="880" y="1197"/>
                    </a:lnTo>
                    <a:close/>
                    <a:moveTo>
                      <a:pt x="1880" y="1330"/>
                    </a:moveTo>
                    <a:lnTo>
                      <a:pt x="1880" y="2450"/>
                    </a:lnTo>
                    <a:lnTo>
                      <a:pt x="1560" y="2450"/>
                    </a:lnTo>
                    <a:lnTo>
                      <a:pt x="1560" y="1330"/>
                    </a:lnTo>
                    <a:lnTo>
                      <a:pt x="1627" y="1330"/>
                    </a:lnTo>
                    <a:lnTo>
                      <a:pt x="1627" y="1197"/>
                    </a:lnTo>
                    <a:lnTo>
                      <a:pt x="1787" y="1197"/>
                    </a:lnTo>
                    <a:lnTo>
                      <a:pt x="1787" y="1330"/>
                    </a:lnTo>
                    <a:lnTo>
                      <a:pt x="1880" y="133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indent="0" algn="ctr">
                  <a:buFont typeface="Arial" panose="020B0604020202020204" pitchFamily="34" charset="0"/>
                  <a:buNone/>
                </a:pPr>
                <a:endParaRPr lang="zh-CN" altLang="en-US" b="1">
                  <a:solidFill>
                    <a:srgbClr val="FE0000"/>
                  </a:solidFill>
                </a:endParaRPr>
              </a:p>
            </p:txBody>
          </p:sp>
          <p:sp>
            <p:nvSpPr>
              <p:cNvPr id="3" name="文本框 2"/>
              <p:cNvSpPr txBox="1"/>
              <p:nvPr/>
            </p:nvSpPr>
            <p:spPr>
              <a:xfrm>
                <a:off x="18731" y="13267"/>
                <a:ext cx="4054" cy="1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000">
                    <a:solidFill>
                      <a:schemeClr val="accent1">
                        <a:lumMod val="40000"/>
                        <a:lumOff val="60000"/>
                      </a:schemeClr>
                    </a:solidFill>
                  </a:rPr>
                  <a:t>学分银行</a:t>
                </a:r>
                <a:endPara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26" name="组合 25"/>
            <p:cNvGrpSpPr/>
            <p:nvPr/>
          </p:nvGrpSpPr>
          <p:grpSpPr>
            <a:xfrm>
              <a:off x="9968" y="11726"/>
              <a:ext cx="3335" cy="741"/>
              <a:chOff x="9000" y="11493"/>
              <a:chExt cx="4316" cy="741"/>
            </a:xfrm>
          </p:grpSpPr>
          <p:cxnSp>
            <p:nvCxnSpPr>
              <p:cNvPr id="29" name="直接箭头连接符 28"/>
              <p:cNvCxnSpPr/>
              <p:nvPr/>
            </p:nvCxnSpPr>
            <p:spPr>
              <a:xfrm flipV="1">
                <a:off x="9010" y="11493"/>
                <a:ext cx="4239" cy="21"/>
              </a:xfrm>
              <a:prstGeom prst="straightConnector1">
                <a:avLst/>
              </a:prstGeom>
              <a:ln w="85725">
                <a:solidFill>
                  <a:srgbClr val="FFFF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箭头连接符 29"/>
              <p:cNvCxnSpPr/>
              <p:nvPr/>
            </p:nvCxnSpPr>
            <p:spPr>
              <a:xfrm flipH="1">
                <a:off x="9000" y="12225"/>
                <a:ext cx="4316" cy="9"/>
              </a:xfrm>
              <a:prstGeom prst="straightConnector1">
                <a:avLst/>
              </a:prstGeom>
              <a:ln w="85725">
                <a:solidFill>
                  <a:srgbClr val="92D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" name="组合 34"/>
          <p:cNvGrpSpPr/>
          <p:nvPr/>
        </p:nvGrpSpPr>
        <p:grpSpPr>
          <a:xfrm>
            <a:off x="14098905" y="4470400"/>
            <a:ext cx="5268595" cy="1819177"/>
            <a:chOff x="20041" y="10993"/>
            <a:chExt cx="8297" cy="2865"/>
          </a:xfrm>
        </p:grpSpPr>
        <p:grpSp>
          <p:nvGrpSpPr>
            <p:cNvPr id="58" name="组合 47"/>
            <p:cNvGrpSpPr/>
            <p:nvPr/>
          </p:nvGrpSpPr>
          <p:grpSpPr>
            <a:xfrm>
              <a:off x="20041" y="11257"/>
              <a:ext cx="2203" cy="2423"/>
              <a:chOff x="7480" y="13555"/>
              <a:chExt cx="1871" cy="1487"/>
            </a:xfrm>
          </p:grpSpPr>
          <p:sp>
            <p:nvSpPr>
              <p:cNvPr id="59" name="school-house_46361"/>
              <p:cNvSpPr>
                <a:spLocks noChangeAspect="1"/>
              </p:cNvSpPr>
              <p:nvPr/>
            </p:nvSpPr>
            <p:spPr bwMode="auto">
              <a:xfrm>
                <a:off x="7573" y="13555"/>
                <a:ext cx="1778" cy="1052"/>
              </a:xfrm>
              <a:custGeom>
                <a:avLst/>
                <a:gdLst>
                  <a:gd name="connsiteX0" fmla="*/ 413435 w 599763"/>
                  <a:gd name="connsiteY0" fmla="*/ 242351 h 354892"/>
                  <a:gd name="connsiteX1" fmla="*/ 421018 w 599763"/>
                  <a:gd name="connsiteY1" fmla="*/ 246720 h 354892"/>
                  <a:gd name="connsiteX2" fmla="*/ 419179 w 599763"/>
                  <a:gd name="connsiteY2" fmla="*/ 273388 h 354892"/>
                  <a:gd name="connsiteX3" fmla="*/ 413665 w 599763"/>
                  <a:gd name="connsiteY3" fmla="*/ 301895 h 354892"/>
                  <a:gd name="connsiteX4" fmla="*/ 404245 w 599763"/>
                  <a:gd name="connsiteY4" fmla="*/ 299366 h 354892"/>
                  <a:gd name="connsiteX5" fmla="*/ 405164 w 599763"/>
                  <a:gd name="connsiteY5" fmla="*/ 263502 h 354892"/>
                  <a:gd name="connsiteX6" fmla="*/ 413435 w 599763"/>
                  <a:gd name="connsiteY6" fmla="*/ 242351 h 354892"/>
                  <a:gd name="connsiteX7" fmla="*/ 107616 w 599763"/>
                  <a:gd name="connsiteY7" fmla="*/ 239326 h 354892"/>
                  <a:gd name="connsiteX8" fmla="*/ 118194 w 599763"/>
                  <a:gd name="connsiteY8" fmla="*/ 239326 h 354892"/>
                  <a:gd name="connsiteX9" fmla="*/ 120954 w 599763"/>
                  <a:gd name="connsiteY9" fmla="*/ 264171 h 354892"/>
                  <a:gd name="connsiteX10" fmla="*/ 119804 w 599763"/>
                  <a:gd name="connsiteY10" fmla="*/ 289476 h 354892"/>
                  <a:gd name="connsiteX11" fmla="*/ 106236 w 599763"/>
                  <a:gd name="connsiteY11" fmla="*/ 289476 h 354892"/>
                  <a:gd name="connsiteX12" fmla="*/ 105087 w 599763"/>
                  <a:gd name="connsiteY12" fmla="*/ 260490 h 354892"/>
                  <a:gd name="connsiteX13" fmla="*/ 107616 w 599763"/>
                  <a:gd name="connsiteY13" fmla="*/ 239326 h 354892"/>
                  <a:gd name="connsiteX14" fmla="*/ 489266 w 599763"/>
                  <a:gd name="connsiteY14" fmla="*/ 239296 h 354892"/>
                  <a:gd name="connsiteX15" fmla="*/ 489726 w 599763"/>
                  <a:gd name="connsiteY15" fmla="*/ 239296 h 354892"/>
                  <a:gd name="connsiteX16" fmla="*/ 489956 w 599763"/>
                  <a:gd name="connsiteY16" fmla="*/ 239296 h 354892"/>
                  <a:gd name="connsiteX17" fmla="*/ 494785 w 599763"/>
                  <a:gd name="connsiteY17" fmla="*/ 241139 h 354892"/>
                  <a:gd name="connsiteX18" fmla="*/ 497314 w 599763"/>
                  <a:gd name="connsiteY18" fmla="*/ 262332 h 354892"/>
                  <a:gd name="connsiteX19" fmla="*/ 495475 w 599763"/>
                  <a:gd name="connsiteY19" fmla="*/ 289284 h 354892"/>
                  <a:gd name="connsiteX20" fmla="*/ 483748 w 599763"/>
                  <a:gd name="connsiteY20" fmla="*/ 289284 h 354892"/>
                  <a:gd name="connsiteX21" fmla="*/ 481909 w 599763"/>
                  <a:gd name="connsiteY21" fmla="*/ 262332 h 354892"/>
                  <a:gd name="connsiteX22" fmla="*/ 484668 w 599763"/>
                  <a:gd name="connsiteY22" fmla="*/ 241139 h 354892"/>
                  <a:gd name="connsiteX23" fmla="*/ 489266 w 599763"/>
                  <a:gd name="connsiteY23" fmla="*/ 239296 h 354892"/>
                  <a:gd name="connsiteX24" fmla="*/ 180432 w 599763"/>
                  <a:gd name="connsiteY24" fmla="*/ 237494 h 354892"/>
                  <a:gd name="connsiteX25" fmla="*/ 190798 w 599763"/>
                  <a:gd name="connsiteY25" fmla="*/ 237494 h 354892"/>
                  <a:gd name="connsiteX26" fmla="*/ 192871 w 599763"/>
                  <a:gd name="connsiteY26" fmla="*/ 264426 h 354892"/>
                  <a:gd name="connsiteX27" fmla="*/ 192180 w 599763"/>
                  <a:gd name="connsiteY27" fmla="*/ 290897 h 354892"/>
                  <a:gd name="connsiteX28" fmla="*/ 182275 w 599763"/>
                  <a:gd name="connsiteY28" fmla="*/ 292278 h 354892"/>
                  <a:gd name="connsiteX29" fmla="*/ 177207 w 599763"/>
                  <a:gd name="connsiteY29" fmla="*/ 264426 h 354892"/>
                  <a:gd name="connsiteX30" fmla="*/ 180432 w 599763"/>
                  <a:gd name="connsiteY30" fmla="*/ 237494 h 354892"/>
                  <a:gd name="connsiteX31" fmla="*/ 491561 w 599763"/>
                  <a:gd name="connsiteY31" fmla="*/ 162223 h 354892"/>
                  <a:gd name="connsiteX32" fmla="*/ 497317 w 599763"/>
                  <a:gd name="connsiteY32" fmla="*/ 169588 h 354892"/>
                  <a:gd name="connsiteX33" fmla="*/ 497317 w 599763"/>
                  <a:gd name="connsiteY33" fmla="*/ 172810 h 354892"/>
                  <a:gd name="connsiteX34" fmla="*/ 496396 w 599763"/>
                  <a:gd name="connsiteY34" fmla="*/ 177413 h 354892"/>
                  <a:gd name="connsiteX35" fmla="*/ 495936 w 599763"/>
                  <a:gd name="connsiteY35" fmla="*/ 190761 h 354892"/>
                  <a:gd name="connsiteX36" fmla="*/ 495245 w 599763"/>
                  <a:gd name="connsiteY36" fmla="*/ 216536 h 354892"/>
                  <a:gd name="connsiteX37" fmla="*/ 483962 w 599763"/>
                  <a:gd name="connsiteY37" fmla="*/ 216536 h 354892"/>
                  <a:gd name="connsiteX38" fmla="*/ 480508 w 599763"/>
                  <a:gd name="connsiteY38" fmla="*/ 181325 h 354892"/>
                  <a:gd name="connsiteX39" fmla="*/ 491561 w 599763"/>
                  <a:gd name="connsiteY39" fmla="*/ 162223 h 354892"/>
                  <a:gd name="connsiteX40" fmla="*/ 107804 w 599763"/>
                  <a:gd name="connsiteY40" fmla="*/ 161985 h 354892"/>
                  <a:gd name="connsiteX41" fmla="*/ 118202 w 599763"/>
                  <a:gd name="connsiteY41" fmla="*/ 161985 h 354892"/>
                  <a:gd name="connsiteX42" fmla="*/ 121206 w 599763"/>
                  <a:gd name="connsiteY42" fmla="*/ 185689 h 354892"/>
                  <a:gd name="connsiteX43" fmla="*/ 121206 w 599763"/>
                  <a:gd name="connsiteY43" fmla="*/ 210084 h 354892"/>
                  <a:gd name="connsiteX44" fmla="*/ 107572 w 599763"/>
                  <a:gd name="connsiteY44" fmla="*/ 211925 h 354892"/>
                  <a:gd name="connsiteX45" fmla="*/ 105262 w 599763"/>
                  <a:gd name="connsiteY45" fmla="*/ 185689 h 354892"/>
                  <a:gd name="connsiteX46" fmla="*/ 107804 w 599763"/>
                  <a:gd name="connsiteY46" fmla="*/ 161985 h 354892"/>
                  <a:gd name="connsiteX47" fmla="*/ 186439 w 599763"/>
                  <a:gd name="connsiteY47" fmla="*/ 161051 h 354892"/>
                  <a:gd name="connsiteX48" fmla="*/ 197503 w 599763"/>
                  <a:gd name="connsiteY48" fmla="*/ 162433 h 354892"/>
                  <a:gd name="connsiteX49" fmla="*/ 197734 w 599763"/>
                  <a:gd name="connsiteY49" fmla="*/ 186851 h 354892"/>
                  <a:gd name="connsiteX50" fmla="*/ 197734 w 599763"/>
                  <a:gd name="connsiteY50" fmla="*/ 213112 h 354892"/>
                  <a:gd name="connsiteX51" fmla="*/ 185286 w 599763"/>
                  <a:gd name="connsiteY51" fmla="*/ 214725 h 354892"/>
                  <a:gd name="connsiteX52" fmla="*/ 182289 w 599763"/>
                  <a:gd name="connsiteY52" fmla="*/ 184087 h 354892"/>
                  <a:gd name="connsiteX53" fmla="*/ 186439 w 599763"/>
                  <a:gd name="connsiteY53" fmla="*/ 161051 h 354892"/>
                  <a:gd name="connsiteX54" fmla="*/ 270786 w 599763"/>
                  <a:gd name="connsiteY54" fmla="*/ 160616 h 354892"/>
                  <a:gd name="connsiteX55" fmla="*/ 276544 w 599763"/>
                  <a:gd name="connsiteY55" fmla="*/ 162918 h 354892"/>
                  <a:gd name="connsiteX56" fmla="*/ 278847 w 599763"/>
                  <a:gd name="connsiteY56" fmla="*/ 170977 h 354892"/>
                  <a:gd name="connsiteX57" fmla="*/ 274701 w 599763"/>
                  <a:gd name="connsiteY57" fmla="*/ 215182 h 354892"/>
                  <a:gd name="connsiteX58" fmla="*/ 261343 w 599763"/>
                  <a:gd name="connsiteY58" fmla="*/ 215182 h 354892"/>
                  <a:gd name="connsiteX59" fmla="*/ 262956 w 599763"/>
                  <a:gd name="connsiteY59" fmla="*/ 166602 h 354892"/>
                  <a:gd name="connsiteX60" fmla="*/ 270786 w 599763"/>
                  <a:gd name="connsiteY60" fmla="*/ 160616 h 354892"/>
                  <a:gd name="connsiteX61" fmla="*/ 416901 w 599763"/>
                  <a:gd name="connsiteY61" fmla="*/ 160241 h 354892"/>
                  <a:gd name="connsiteX62" fmla="*/ 425175 w 599763"/>
                  <a:gd name="connsiteY62" fmla="*/ 168006 h 354892"/>
                  <a:gd name="connsiteX63" fmla="*/ 420562 w 599763"/>
                  <a:gd name="connsiteY63" fmla="*/ 216326 h 354892"/>
                  <a:gd name="connsiteX64" fmla="*/ 408800 w 599763"/>
                  <a:gd name="connsiteY64" fmla="*/ 213104 h 354892"/>
                  <a:gd name="connsiteX65" fmla="*/ 408800 w 599763"/>
                  <a:gd name="connsiteY65" fmla="*/ 168006 h 354892"/>
                  <a:gd name="connsiteX66" fmla="*/ 416901 w 599763"/>
                  <a:gd name="connsiteY66" fmla="*/ 160241 h 354892"/>
                  <a:gd name="connsiteX67" fmla="*/ 346478 w 599763"/>
                  <a:gd name="connsiteY67" fmla="*/ 159746 h 354892"/>
                  <a:gd name="connsiteX68" fmla="*/ 353060 w 599763"/>
                  <a:gd name="connsiteY68" fmla="*/ 163373 h 354892"/>
                  <a:gd name="connsiteX69" fmla="*/ 353060 w 599763"/>
                  <a:gd name="connsiteY69" fmla="*/ 186402 h 354892"/>
                  <a:gd name="connsiteX70" fmla="*/ 350057 w 599763"/>
                  <a:gd name="connsiteY70" fmla="*/ 213346 h 354892"/>
                  <a:gd name="connsiteX71" fmla="*/ 334815 w 599763"/>
                  <a:gd name="connsiteY71" fmla="*/ 211274 h 354892"/>
                  <a:gd name="connsiteX72" fmla="*/ 337125 w 599763"/>
                  <a:gd name="connsiteY72" fmla="*/ 184329 h 354892"/>
                  <a:gd name="connsiteX73" fmla="*/ 339896 w 599763"/>
                  <a:gd name="connsiteY73" fmla="*/ 163373 h 354892"/>
                  <a:gd name="connsiteX74" fmla="*/ 346478 w 599763"/>
                  <a:gd name="connsiteY74" fmla="*/ 159746 h 354892"/>
                  <a:gd name="connsiteX75" fmla="*/ 541601 w 599763"/>
                  <a:gd name="connsiteY75" fmla="*/ 132325 h 354892"/>
                  <a:gd name="connsiteX76" fmla="*/ 508182 w 599763"/>
                  <a:gd name="connsiteY76" fmla="*/ 132555 h 354892"/>
                  <a:gd name="connsiteX77" fmla="*/ 380500 w 599763"/>
                  <a:gd name="connsiteY77" fmla="*/ 136007 h 354892"/>
                  <a:gd name="connsiteX78" fmla="*/ 256967 w 599763"/>
                  <a:gd name="connsiteY78" fmla="*/ 136237 h 354892"/>
                  <a:gd name="connsiteX79" fmla="*/ 129515 w 599763"/>
                  <a:gd name="connsiteY79" fmla="*/ 139919 h 354892"/>
                  <a:gd name="connsiteX80" fmla="*/ 67979 w 599763"/>
                  <a:gd name="connsiteY80" fmla="*/ 142681 h 354892"/>
                  <a:gd name="connsiteX81" fmla="*/ 83421 w 599763"/>
                  <a:gd name="connsiteY81" fmla="*/ 333237 h 354892"/>
                  <a:gd name="connsiteX82" fmla="*/ 266186 w 599763"/>
                  <a:gd name="connsiteY82" fmla="*/ 335308 h 354892"/>
                  <a:gd name="connsiteX83" fmla="*/ 260193 w 599763"/>
                  <a:gd name="connsiteY83" fmla="*/ 297565 h 354892"/>
                  <a:gd name="connsiteX84" fmla="*/ 258119 w 599763"/>
                  <a:gd name="connsiteY84" fmla="*/ 244403 h 354892"/>
                  <a:gd name="connsiteX85" fmla="*/ 265955 w 599763"/>
                  <a:gd name="connsiteY85" fmla="*/ 236578 h 354892"/>
                  <a:gd name="connsiteX86" fmla="*/ 338554 w 599763"/>
                  <a:gd name="connsiteY86" fmla="*/ 232436 h 354892"/>
                  <a:gd name="connsiteX87" fmla="*/ 346620 w 599763"/>
                  <a:gd name="connsiteY87" fmla="*/ 240490 h 354892"/>
                  <a:gd name="connsiteX88" fmla="*/ 347312 w 599763"/>
                  <a:gd name="connsiteY88" fmla="*/ 303319 h 354892"/>
                  <a:gd name="connsiteX89" fmla="*/ 346620 w 599763"/>
                  <a:gd name="connsiteY89" fmla="*/ 333467 h 354892"/>
                  <a:gd name="connsiteX90" fmla="*/ 542292 w 599763"/>
                  <a:gd name="connsiteY90" fmla="*/ 330705 h 354892"/>
                  <a:gd name="connsiteX91" fmla="*/ 540218 w 599763"/>
                  <a:gd name="connsiteY91" fmla="*/ 219548 h 354892"/>
                  <a:gd name="connsiteX92" fmla="*/ 539296 w 599763"/>
                  <a:gd name="connsiteY92" fmla="*/ 177662 h 354892"/>
                  <a:gd name="connsiteX93" fmla="*/ 536761 w 599763"/>
                  <a:gd name="connsiteY93" fmla="*/ 146363 h 354892"/>
                  <a:gd name="connsiteX94" fmla="*/ 541601 w 599763"/>
                  <a:gd name="connsiteY94" fmla="*/ 132325 h 354892"/>
                  <a:gd name="connsiteX95" fmla="*/ 312050 w 599763"/>
                  <a:gd name="connsiteY95" fmla="*/ 16565 h 354892"/>
                  <a:gd name="connsiteX96" fmla="*/ 220782 w 599763"/>
                  <a:gd name="connsiteY96" fmla="*/ 54308 h 354892"/>
                  <a:gd name="connsiteX97" fmla="*/ 141500 w 599763"/>
                  <a:gd name="connsiteY97" fmla="*/ 94122 h 354892"/>
                  <a:gd name="connsiteX98" fmla="*/ 74663 w 599763"/>
                  <a:gd name="connsiteY98" fmla="*/ 124500 h 354892"/>
                  <a:gd name="connsiteX99" fmla="*/ 147723 w 599763"/>
                  <a:gd name="connsiteY99" fmla="*/ 122889 h 354892"/>
                  <a:gd name="connsiteX100" fmla="*/ 275174 w 599763"/>
                  <a:gd name="connsiteY100" fmla="*/ 119667 h 354892"/>
                  <a:gd name="connsiteX101" fmla="*/ 393406 w 599763"/>
                  <a:gd name="connsiteY101" fmla="*/ 119207 h 354892"/>
                  <a:gd name="connsiteX102" fmla="*/ 530077 w 599763"/>
                  <a:gd name="connsiteY102" fmla="*/ 115985 h 354892"/>
                  <a:gd name="connsiteX103" fmla="*/ 576863 w 599763"/>
                  <a:gd name="connsiteY103" fmla="*/ 115525 h 354892"/>
                  <a:gd name="connsiteX104" fmla="*/ 537452 w 599763"/>
                  <a:gd name="connsiteY104" fmla="*/ 100335 h 354892"/>
                  <a:gd name="connsiteX105" fmla="*/ 489053 w 599763"/>
                  <a:gd name="connsiteY105" fmla="*/ 84916 h 354892"/>
                  <a:gd name="connsiteX106" fmla="*/ 400551 w 599763"/>
                  <a:gd name="connsiteY106" fmla="*/ 49014 h 354892"/>
                  <a:gd name="connsiteX107" fmla="*/ 352152 w 599763"/>
                  <a:gd name="connsiteY107" fmla="*/ 28992 h 354892"/>
                  <a:gd name="connsiteX108" fmla="*/ 312050 w 599763"/>
                  <a:gd name="connsiteY108" fmla="*/ 16565 h 354892"/>
                  <a:gd name="connsiteX109" fmla="*/ 306925 w 599763"/>
                  <a:gd name="connsiteY109" fmla="*/ 99 h 354892"/>
                  <a:gd name="connsiteX110" fmla="*/ 327491 w 599763"/>
                  <a:gd name="connsiteY110" fmla="*/ 2526 h 354892"/>
                  <a:gd name="connsiteX111" fmla="*/ 518323 w 599763"/>
                  <a:gd name="connsiteY111" fmla="*/ 76861 h 354892"/>
                  <a:gd name="connsiteX112" fmla="*/ 599680 w 599763"/>
                  <a:gd name="connsiteY112" fmla="*/ 123119 h 354892"/>
                  <a:gd name="connsiteX113" fmla="*/ 598297 w 599763"/>
                  <a:gd name="connsiteY113" fmla="*/ 126801 h 354892"/>
                  <a:gd name="connsiteX114" fmla="*/ 585621 w 599763"/>
                  <a:gd name="connsiteY114" fmla="*/ 132325 h 354892"/>
                  <a:gd name="connsiteX115" fmla="*/ 581703 w 599763"/>
                  <a:gd name="connsiteY115" fmla="*/ 133936 h 354892"/>
                  <a:gd name="connsiteX116" fmla="*/ 563495 w 599763"/>
                  <a:gd name="connsiteY116" fmla="*/ 132785 h 354892"/>
                  <a:gd name="connsiteX117" fmla="*/ 544597 w 599763"/>
                  <a:gd name="connsiteY117" fmla="*/ 132325 h 354892"/>
                  <a:gd name="connsiteX118" fmla="*/ 548515 w 599763"/>
                  <a:gd name="connsiteY118" fmla="*/ 134856 h 354892"/>
                  <a:gd name="connsiteX119" fmla="*/ 556581 w 599763"/>
                  <a:gd name="connsiteY119" fmla="*/ 204589 h 354892"/>
                  <a:gd name="connsiteX120" fmla="*/ 558655 w 599763"/>
                  <a:gd name="connsiteY120" fmla="*/ 338530 h 354892"/>
                  <a:gd name="connsiteX121" fmla="*/ 550589 w 599763"/>
                  <a:gd name="connsiteY121" fmla="*/ 346815 h 354892"/>
                  <a:gd name="connsiteX122" fmla="*/ 299374 w 599763"/>
                  <a:gd name="connsiteY122" fmla="*/ 350727 h 354892"/>
                  <a:gd name="connsiteX123" fmla="*/ 75815 w 599763"/>
                  <a:gd name="connsiteY123" fmla="*/ 348656 h 354892"/>
                  <a:gd name="connsiteX124" fmla="*/ 67518 w 599763"/>
                  <a:gd name="connsiteY124" fmla="*/ 340371 h 354892"/>
                  <a:gd name="connsiteX125" fmla="*/ 56225 w 599763"/>
                  <a:gd name="connsiteY125" fmla="*/ 142911 h 354892"/>
                  <a:gd name="connsiteX126" fmla="*/ 14049 w 599763"/>
                  <a:gd name="connsiteY126" fmla="*/ 140840 h 354892"/>
                  <a:gd name="connsiteX127" fmla="*/ 10592 w 599763"/>
                  <a:gd name="connsiteY127" fmla="*/ 142681 h 354892"/>
                  <a:gd name="connsiteX128" fmla="*/ 1142 w 599763"/>
                  <a:gd name="connsiteY128" fmla="*/ 133245 h 354892"/>
                  <a:gd name="connsiteX129" fmla="*/ 53690 w 599763"/>
                  <a:gd name="connsiteY129" fmla="*/ 114604 h 354892"/>
                  <a:gd name="connsiteX130" fmla="*/ 154867 w 599763"/>
                  <a:gd name="connsiteY130" fmla="*/ 68806 h 354892"/>
                  <a:gd name="connsiteX131" fmla="*/ 249592 w 599763"/>
                  <a:gd name="connsiteY131" fmla="*/ 21167 h 354892"/>
                  <a:gd name="connsiteX132" fmla="*/ 306925 w 599763"/>
                  <a:gd name="connsiteY132" fmla="*/ 99 h 35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</a:cxnLst>
                <a:rect l="l" t="t" r="r" b="b"/>
                <a:pathLst>
                  <a:path w="599763" h="354892">
                    <a:moveTo>
                      <a:pt x="413435" y="242351"/>
                    </a:moveTo>
                    <a:cubicBezTo>
                      <a:pt x="416422" y="241202"/>
                      <a:pt x="420328" y="243731"/>
                      <a:pt x="421018" y="246720"/>
                    </a:cubicBezTo>
                    <a:cubicBezTo>
                      <a:pt x="422856" y="254766"/>
                      <a:pt x="419869" y="265341"/>
                      <a:pt x="419179" y="273388"/>
                    </a:cubicBezTo>
                    <a:cubicBezTo>
                      <a:pt x="418490" y="283043"/>
                      <a:pt x="417801" y="293159"/>
                      <a:pt x="413665" y="301895"/>
                    </a:cubicBezTo>
                    <a:cubicBezTo>
                      <a:pt x="411367" y="306263"/>
                      <a:pt x="404015" y="304194"/>
                      <a:pt x="404245" y="299366"/>
                    </a:cubicBezTo>
                    <a:cubicBezTo>
                      <a:pt x="404704" y="287411"/>
                      <a:pt x="404704" y="275457"/>
                      <a:pt x="405164" y="263502"/>
                    </a:cubicBezTo>
                    <a:cubicBezTo>
                      <a:pt x="405393" y="255456"/>
                      <a:pt x="404704" y="245800"/>
                      <a:pt x="413435" y="242351"/>
                    </a:cubicBezTo>
                    <a:close/>
                    <a:moveTo>
                      <a:pt x="107616" y="239326"/>
                    </a:moveTo>
                    <a:cubicBezTo>
                      <a:pt x="110376" y="235415"/>
                      <a:pt x="115665" y="235415"/>
                      <a:pt x="118194" y="239326"/>
                    </a:cubicBezTo>
                    <a:cubicBezTo>
                      <a:pt x="123024" y="246457"/>
                      <a:pt x="120954" y="255889"/>
                      <a:pt x="120954" y="264171"/>
                    </a:cubicBezTo>
                    <a:cubicBezTo>
                      <a:pt x="120724" y="272683"/>
                      <a:pt x="120724" y="281194"/>
                      <a:pt x="119804" y="289476"/>
                    </a:cubicBezTo>
                    <a:cubicBezTo>
                      <a:pt x="118884" y="298218"/>
                      <a:pt x="107156" y="298218"/>
                      <a:pt x="106236" y="289476"/>
                    </a:cubicBezTo>
                    <a:cubicBezTo>
                      <a:pt x="105087" y="279814"/>
                      <a:pt x="105087" y="270152"/>
                      <a:pt x="105087" y="260490"/>
                    </a:cubicBezTo>
                    <a:cubicBezTo>
                      <a:pt x="104857" y="253129"/>
                      <a:pt x="103477" y="245767"/>
                      <a:pt x="107616" y="239326"/>
                    </a:cubicBezTo>
                    <a:close/>
                    <a:moveTo>
                      <a:pt x="489266" y="239296"/>
                    </a:moveTo>
                    <a:cubicBezTo>
                      <a:pt x="489496" y="239296"/>
                      <a:pt x="489496" y="239296"/>
                      <a:pt x="489726" y="239296"/>
                    </a:cubicBezTo>
                    <a:cubicBezTo>
                      <a:pt x="489726" y="239296"/>
                      <a:pt x="489956" y="239296"/>
                      <a:pt x="489956" y="239296"/>
                    </a:cubicBezTo>
                    <a:cubicBezTo>
                      <a:pt x="491566" y="239296"/>
                      <a:pt x="493175" y="239757"/>
                      <a:pt x="494785" y="241139"/>
                    </a:cubicBezTo>
                    <a:cubicBezTo>
                      <a:pt x="499843" y="245746"/>
                      <a:pt x="497544" y="256343"/>
                      <a:pt x="497314" y="262332"/>
                    </a:cubicBezTo>
                    <a:cubicBezTo>
                      <a:pt x="497084" y="270395"/>
                      <a:pt x="498694" y="281682"/>
                      <a:pt x="495475" y="289284"/>
                    </a:cubicBezTo>
                    <a:cubicBezTo>
                      <a:pt x="493175" y="295043"/>
                      <a:pt x="486277" y="295043"/>
                      <a:pt x="483748" y="289284"/>
                    </a:cubicBezTo>
                    <a:cubicBezTo>
                      <a:pt x="480529" y="281682"/>
                      <a:pt x="482138" y="270395"/>
                      <a:pt x="481909" y="262332"/>
                    </a:cubicBezTo>
                    <a:cubicBezTo>
                      <a:pt x="481909" y="256343"/>
                      <a:pt x="479379" y="245746"/>
                      <a:pt x="484668" y="241139"/>
                    </a:cubicBezTo>
                    <a:cubicBezTo>
                      <a:pt x="486047" y="239757"/>
                      <a:pt x="487657" y="239296"/>
                      <a:pt x="489266" y="239296"/>
                    </a:cubicBezTo>
                    <a:close/>
                    <a:moveTo>
                      <a:pt x="180432" y="237494"/>
                    </a:moveTo>
                    <a:cubicBezTo>
                      <a:pt x="182736" y="233811"/>
                      <a:pt x="188495" y="233581"/>
                      <a:pt x="190798" y="237494"/>
                    </a:cubicBezTo>
                    <a:cubicBezTo>
                      <a:pt x="195636" y="245551"/>
                      <a:pt x="193102" y="255449"/>
                      <a:pt x="192871" y="264426"/>
                    </a:cubicBezTo>
                    <a:cubicBezTo>
                      <a:pt x="192641" y="273173"/>
                      <a:pt x="193793" y="282380"/>
                      <a:pt x="192180" y="290897"/>
                    </a:cubicBezTo>
                    <a:cubicBezTo>
                      <a:pt x="191489" y="295961"/>
                      <a:pt x="184579" y="295731"/>
                      <a:pt x="182275" y="292278"/>
                    </a:cubicBezTo>
                    <a:cubicBezTo>
                      <a:pt x="176977" y="284682"/>
                      <a:pt x="177207" y="273173"/>
                      <a:pt x="177207" y="264426"/>
                    </a:cubicBezTo>
                    <a:cubicBezTo>
                      <a:pt x="177207" y="255679"/>
                      <a:pt x="175595" y="245320"/>
                      <a:pt x="180432" y="237494"/>
                    </a:cubicBezTo>
                    <a:close/>
                    <a:moveTo>
                      <a:pt x="491561" y="162223"/>
                    </a:moveTo>
                    <a:cubicBezTo>
                      <a:pt x="495706" y="161533"/>
                      <a:pt x="498008" y="166366"/>
                      <a:pt x="497317" y="169588"/>
                    </a:cubicBezTo>
                    <a:cubicBezTo>
                      <a:pt x="498008" y="166366"/>
                      <a:pt x="497317" y="172810"/>
                      <a:pt x="497317" y="172810"/>
                    </a:cubicBezTo>
                    <a:cubicBezTo>
                      <a:pt x="497087" y="174421"/>
                      <a:pt x="496627" y="175802"/>
                      <a:pt x="496396" y="177413"/>
                    </a:cubicBezTo>
                    <a:cubicBezTo>
                      <a:pt x="495936" y="181785"/>
                      <a:pt x="495936" y="186388"/>
                      <a:pt x="495936" y="190761"/>
                    </a:cubicBezTo>
                    <a:cubicBezTo>
                      <a:pt x="495936" y="199506"/>
                      <a:pt x="496627" y="208251"/>
                      <a:pt x="495245" y="216536"/>
                    </a:cubicBezTo>
                    <a:cubicBezTo>
                      <a:pt x="494324" y="222290"/>
                      <a:pt x="485114" y="222060"/>
                      <a:pt x="483962" y="216536"/>
                    </a:cubicBezTo>
                    <a:cubicBezTo>
                      <a:pt x="481890" y="205260"/>
                      <a:pt x="480739" y="192832"/>
                      <a:pt x="480508" y="181325"/>
                    </a:cubicBezTo>
                    <a:cubicBezTo>
                      <a:pt x="480508" y="172580"/>
                      <a:pt x="481429" y="163374"/>
                      <a:pt x="491561" y="162223"/>
                    </a:cubicBezTo>
                    <a:close/>
                    <a:moveTo>
                      <a:pt x="107804" y="161985"/>
                    </a:moveTo>
                    <a:cubicBezTo>
                      <a:pt x="110576" y="158993"/>
                      <a:pt x="115429" y="159223"/>
                      <a:pt x="118202" y="161985"/>
                    </a:cubicBezTo>
                    <a:cubicBezTo>
                      <a:pt x="123517" y="167278"/>
                      <a:pt x="121206" y="178785"/>
                      <a:pt x="121206" y="185689"/>
                    </a:cubicBezTo>
                    <a:cubicBezTo>
                      <a:pt x="121206" y="193744"/>
                      <a:pt x="121668" y="202029"/>
                      <a:pt x="121206" y="210084"/>
                    </a:cubicBezTo>
                    <a:cubicBezTo>
                      <a:pt x="120975" y="217909"/>
                      <a:pt x="109883" y="219750"/>
                      <a:pt x="107572" y="211925"/>
                    </a:cubicBezTo>
                    <a:cubicBezTo>
                      <a:pt x="105031" y="203640"/>
                      <a:pt x="105493" y="194204"/>
                      <a:pt x="105262" y="185689"/>
                    </a:cubicBezTo>
                    <a:cubicBezTo>
                      <a:pt x="105031" y="178785"/>
                      <a:pt x="102489" y="167278"/>
                      <a:pt x="107804" y="161985"/>
                    </a:cubicBezTo>
                    <a:close/>
                    <a:moveTo>
                      <a:pt x="186439" y="161051"/>
                    </a:moveTo>
                    <a:cubicBezTo>
                      <a:pt x="190127" y="158287"/>
                      <a:pt x="194967" y="158287"/>
                      <a:pt x="197503" y="162433"/>
                    </a:cubicBezTo>
                    <a:cubicBezTo>
                      <a:pt x="201422" y="168653"/>
                      <a:pt x="198195" y="179710"/>
                      <a:pt x="197734" y="186851"/>
                    </a:cubicBezTo>
                    <a:cubicBezTo>
                      <a:pt x="197503" y="195605"/>
                      <a:pt x="197734" y="204359"/>
                      <a:pt x="197734" y="213112"/>
                    </a:cubicBezTo>
                    <a:cubicBezTo>
                      <a:pt x="197964" y="220253"/>
                      <a:pt x="187130" y="221866"/>
                      <a:pt x="185286" y="214725"/>
                    </a:cubicBezTo>
                    <a:cubicBezTo>
                      <a:pt x="182750" y="205050"/>
                      <a:pt x="182289" y="194223"/>
                      <a:pt x="182289" y="184087"/>
                    </a:cubicBezTo>
                    <a:cubicBezTo>
                      <a:pt x="182289" y="177407"/>
                      <a:pt x="180676" y="165889"/>
                      <a:pt x="186439" y="161051"/>
                    </a:cubicBezTo>
                    <a:close/>
                    <a:moveTo>
                      <a:pt x="270786" y="160616"/>
                    </a:moveTo>
                    <a:cubicBezTo>
                      <a:pt x="273319" y="160616"/>
                      <a:pt x="274932" y="161307"/>
                      <a:pt x="276544" y="162918"/>
                    </a:cubicBezTo>
                    <a:cubicBezTo>
                      <a:pt x="278617" y="164760"/>
                      <a:pt x="279538" y="168214"/>
                      <a:pt x="278847" y="170977"/>
                    </a:cubicBezTo>
                    <a:cubicBezTo>
                      <a:pt x="274010" y="185251"/>
                      <a:pt x="275853" y="200217"/>
                      <a:pt x="274701" y="215182"/>
                    </a:cubicBezTo>
                    <a:cubicBezTo>
                      <a:pt x="274010" y="223701"/>
                      <a:pt x="262034" y="223701"/>
                      <a:pt x="261343" y="215182"/>
                    </a:cubicBezTo>
                    <a:cubicBezTo>
                      <a:pt x="259731" y="199066"/>
                      <a:pt x="258580" y="182258"/>
                      <a:pt x="262956" y="166602"/>
                    </a:cubicBezTo>
                    <a:cubicBezTo>
                      <a:pt x="264107" y="163149"/>
                      <a:pt x="267331" y="160616"/>
                      <a:pt x="270786" y="160616"/>
                    </a:cubicBezTo>
                    <a:close/>
                    <a:moveTo>
                      <a:pt x="416901" y="160241"/>
                    </a:moveTo>
                    <a:cubicBezTo>
                      <a:pt x="421023" y="160241"/>
                      <a:pt x="425175" y="162829"/>
                      <a:pt x="425175" y="168006"/>
                    </a:cubicBezTo>
                    <a:cubicBezTo>
                      <a:pt x="425175" y="184113"/>
                      <a:pt x="427020" y="201370"/>
                      <a:pt x="420562" y="216326"/>
                    </a:cubicBezTo>
                    <a:cubicBezTo>
                      <a:pt x="418025" y="222078"/>
                      <a:pt x="408108" y="219317"/>
                      <a:pt x="408800" y="213104"/>
                    </a:cubicBezTo>
                    <a:cubicBezTo>
                      <a:pt x="410183" y="197918"/>
                      <a:pt x="409261" y="183192"/>
                      <a:pt x="408800" y="168006"/>
                    </a:cubicBezTo>
                    <a:cubicBezTo>
                      <a:pt x="408685" y="162829"/>
                      <a:pt x="412778" y="160241"/>
                      <a:pt x="416901" y="160241"/>
                    </a:cubicBezTo>
                    <a:close/>
                    <a:moveTo>
                      <a:pt x="346478" y="159746"/>
                    </a:moveTo>
                    <a:cubicBezTo>
                      <a:pt x="348961" y="159631"/>
                      <a:pt x="351443" y="160725"/>
                      <a:pt x="353060" y="163373"/>
                    </a:cubicBezTo>
                    <a:cubicBezTo>
                      <a:pt x="356524" y="169360"/>
                      <a:pt x="353752" y="179954"/>
                      <a:pt x="353060" y="186402"/>
                    </a:cubicBezTo>
                    <a:cubicBezTo>
                      <a:pt x="352367" y="195383"/>
                      <a:pt x="351674" y="204365"/>
                      <a:pt x="350057" y="213346"/>
                    </a:cubicBezTo>
                    <a:cubicBezTo>
                      <a:pt x="348441" y="221867"/>
                      <a:pt x="333661" y="219794"/>
                      <a:pt x="334815" y="211274"/>
                    </a:cubicBezTo>
                    <a:cubicBezTo>
                      <a:pt x="335970" y="202292"/>
                      <a:pt x="336432" y="193311"/>
                      <a:pt x="337125" y="184329"/>
                    </a:cubicBezTo>
                    <a:cubicBezTo>
                      <a:pt x="337356" y="178572"/>
                      <a:pt x="336201" y="167979"/>
                      <a:pt x="339896" y="163373"/>
                    </a:cubicBezTo>
                    <a:cubicBezTo>
                      <a:pt x="341513" y="161185"/>
                      <a:pt x="343995" y="159861"/>
                      <a:pt x="346478" y="159746"/>
                    </a:cubicBezTo>
                    <a:close/>
                    <a:moveTo>
                      <a:pt x="541601" y="132325"/>
                    </a:moveTo>
                    <a:cubicBezTo>
                      <a:pt x="530307" y="132325"/>
                      <a:pt x="519245" y="132325"/>
                      <a:pt x="508182" y="132555"/>
                    </a:cubicBezTo>
                    <a:cubicBezTo>
                      <a:pt x="465544" y="133245"/>
                      <a:pt x="423137" y="134856"/>
                      <a:pt x="380500" y="136007"/>
                    </a:cubicBezTo>
                    <a:cubicBezTo>
                      <a:pt x="339245" y="137388"/>
                      <a:pt x="298221" y="135777"/>
                      <a:pt x="256967" y="136237"/>
                    </a:cubicBezTo>
                    <a:cubicBezTo>
                      <a:pt x="214560" y="136697"/>
                      <a:pt x="172153" y="138308"/>
                      <a:pt x="129515" y="139919"/>
                    </a:cubicBezTo>
                    <a:cubicBezTo>
                      <a:pt x="109234" y="140840"/>
                      <a:pt x="88722" y="142221"/>
                      <a:pt x="67979" y="142681"/>
                    </a:cubicBezTo>
                    <a:cubicBezTo>
                      <a:pt x="71667" y="206200"/>
                      <a:pt x="79272" y="269718"/>
                      <a:pt x="83421" y="333237"/>
                    </a:cubicBezTo>
                    <a:cubicBezTo>
                      <a:pt x="144496" y="340831"/>
                      <a:pt x="205341" y="337609"/>
                      <a:pt x="266186" y="335308"/>
                    </a:cubicBezTo>
                    <a:cubicBezTo>
                      <a:pt x="259271" y="327253"/>
                      <a:pt x="260654" y="306080"/>
                      <a:pt x="260193" y="297565"/>
                    </a:cubicBezTo>
                    <a:cubicBezTo>
                      <a:pt x="258810" y="279844"/>
                      <a:pt x="258119" y="262124"/>
                      <a:pt x="258119" y="244403"/>
                    </a:cubicBezTo>
                    <a:cubicBezTo>
                      <a:pt x="257889" y="239800"/>
                      <a:pt x="261807" y="236808"/>
                      <a:pt x="265955" y="236578"/>
                    </a:cubicBezTo>
                    <a:cubicBezTo>
                      <a:pt x="290155" y="234507"/>
                      <a:pt x="314354" y="232666"/>
                      <a:pt x="338554" y="232436"/>
                    </a:cubicBezTo>
                    <a:cubicBezTo>
                      <a:pt x="342933" y="232436"/>
                      <a:pt x="346620" y="236118"/>
                      <a:pt x="346620" y="240490"/>
                    </a:cubicBezTo>
                    <a:cubicBezTo>
                      <a:pt x="346851" y="261433"/>
                      <a:pt x="347542" y="282376"/>
                      <a:pt x="347312" y="303319"/>
                    </a:cubicBezTo>
                    <a:cubicBezTo>
                      <a:pt x="347081" y="312294"/>
                      <a:pt x="348003" y="323571"/>
                      <a:pt x="346620" y="333467"/>
                    </a:cubicBezTo>
                    <a:cubicBezTo>
                      <a:pt x="411844" y="332776"/>
                      <a:pt x="477068" y="333237"/>
                      <a:pt x="542292" y="330705"/>
                    </a:cubicBezTo>
                    <a:cubicBezTo>
                      <a:pt x="542061" y="293653"/>
                      <a:pt x="540448" y="256600"/>
                      <a:pt x="540218" y="219548"/>
                    </a:cubicBezTo>
                    <a:cubicBezTo>
                      <a:pt x="540218" y="205739"/>
                      <a:pt x="539987" y="191701"/>
                      <a:pt x="539296" y="177662"/>
                    </a:cubicBezTo>
                    <a:cubicBezTo>
                      <a:pt x="539065" y="171449"/>
                      <a:pt x="540909" y="151426"/>
                      <a:pt x="536761" y="146363"/>
                    </a:cubicBezTo>
                    <a:cubicBezTo>
                      <a:pt x="532151" y="140840"/>
                      <a:pt x="536300" y="133476"/>
                      <a:pt x="541601" y="132325"/>
                    </a:cubicBezTo>
                    <a:close/>
                    <a:moveTo>
                      <a:pt x="312050" y="16565"/>
                    </a:moveTo>
                    <a:cubicBezTo>
                      <a:pt x="279322" y="16795"/>
                      <a:pt x="249822" y="41420"/>
                      <a:pt x="220782" y="54308"/>
                    </a:cubicBezTo>
                    <a:cubicBezTo>
                      <a:pt x="193817" y="66275"/>
                      <a:pt x="168004" y="81004"/>
                      <a:pt x="141500" y="94122"/>
                    </a:cubicBezTo>
                    <a:cubicBezTo>
                      <a:pt x="119836" y="105168"/>
                      <a:pt x="97710" y="115985"/>
                      <a:pt x="74663" y="124500"/>
                    </a:cubicBezTo>
                    <a:cubicBezTo>
                      <a:pt x="99093" y="123810"/>
                      <a:pt x="123754" y="123810"/>
                      <a:pt x="147723" y="122889"/>
                    </a:cubicBezTo>
                    <a:cubicBezTo>
                      <a:pt x="190130" y="121278"/>
                      <a:pt x="232767" y="119437"/>
                      <a:pt x="275174" y="119667"/>
                    </a:cubicBezTo>
                    <a:cubicBezTo>
                      <a:pt x="314815" y="119897"/>
                      <a:pt x="353765" y="120588"/>
                      <a:pt x="393406" y="119207"/>
                    </a:cubicBezTo>
                    <a:cubicBezTo>
                      <a:pt x="439040" y="117826"/>
                      <a:pt x="484443" y="115985"/>
                      <a:pt x="530077" y="115985"/>
                    </a:cubicBezTo>
                    <a:cubicBezTo>
                      <a:pt x="539526" y="115985"/>
                      <a:pt x="560499" y="113223"/>
                      <a:pt x="576863" y="115525"/>
                    </a:cubicBezTo>
                    <a:cubicBezTo>
                      <a:pt x="565339" y="108390"/>
                      <a:pt x="542292" y="101946"/>
                      <a:pt x="537452" y="100335"/>
                    </a:cubicBezTo>
                    <a:cubicBezTo>
                      <a:pt x="521319" y="95042"/>
                      <a:pt x="504955" y="90900"/>
                      <a:pt x="489053" y="84916"/>
                    </a:cubicBezTo>
                    <a:cubicBezTo>
                      <a:pt x="459321" y="73639"/>
                      <a:pt x="430051" y="61442"/>
                      <a:pt x="400551" y="49014"/>
                    </a:cubicBezTo>
                    <a:cubicBezTo>
                      <a:pt x="384418" y="42340"/>
                      <a:pt x="368515" y="35436"/>
                      <a:pt x="352152" y="28992"/>
                    </a:cubicBezTo>
                    <a:cubicBezTo>
                      <a:pt x="339937" y="24389"/>
                      <a:pt x="325417" y="16335"/>
                      <a:pt x="312050" y="16565"/>
                    </a:cubicBezTo>
                    <a:close/>
                    <a:moveTo>
                      <a:pt x="306925" y="99"/>
                    </a:moveTo>
                    <a:cubicBezTo>
                      <a:pt x="313663" y="-279"/>
                      <a:pt x="320519" y="397"/>
                      <a:pt x="327491" y="2526"/>
                    </a:cubicBezTo>
                    <a:cubicBezTo>
                      <a:pt x="392715" y="22778"/>
                      <a:pt x="452868" y="56839"/>
                      <a:pt x="518323" y="76861"/>
                    </a:cubicBezTo>
                    <a:cubicBezTo>
                      <a:pt x="535839" y="82385"/>
                      <a:pt x="602445" y="95963"/>
                      <a:pt x="599680" y="123119"/>
                    </a:cubicBezTo>
                    <a:cubicBezTo>
                      <a:pt x="599449" y="124500"/>
                      <a:pt x="598988" y="125651"/>
                      <a:pt x="598297" y="126801"/>
                    </a:cubicBezTo>
                    <a:cubicBezTo>
                      <a:pt x="601062" y="133936"/>
                      <a:pt x="590000" y="139689"/>
                      <a:pt x="585621" y="132325"/>
                    </a:cubicBezTo>
                    <a:cubicBezTo>
                      <a:pt x="588386" y="137158"/>
                      <a:pt x="588617" y="134856"/>
                      <a:pt x="581703" y="133936"/>
                    </a:cubicBezTo>
                    <a:cubicBezTo>
                      <a:pt x="575480" y="133245"/>
                      <a:pt x="569488" y="133015"/>
                      <a:pt x="563495" y="132785"/>
                    </a:cubicBezTo>
                    <a:cubicBezTo>
                      <a:pt x="557042" y="132555"/>
                      <a:pt x="550819" y="132325"/>
                      <a:pt x="544597" y="132325"/>
                    </a:cubicBezTo>
                    <a:cubicBezTo>
                      <a:pt x="545979" y="132785"/>
                      <a:pt x="547362" y="133476"/>
                      <a:pt x="548515" y="134856"/>
                    </a:cubicBezTo>
                    <a:cubicBezTo>
                      <a:pt x="561191" y="150046"/>
                      <a:pt x="556351" y="186177"/>
                      <a:pt x="556581" y="204589"/>
                    </a:cubicBezTo>
                    <a:cubicBezTo>
                      <a:pt x="557042" y="249236"/>
                      <a:pt x="558655" y="293883"/>
                      <a:pt x="558655" y="338530"/>
                    </a:cubicBezTo>
                    <a:cubicBezTo>
                      <a:pt x="558655" y="343133"/>
                      <a:pt x="554968" y="346585"/>
                      <a:pt x="550589" y="346815"/>
                    </a:cubicBezTo>
                    <a:cubicBezTo>
                      <a:pt x="466927" y="350497"/>
                      <a:pt x="382805" y="346124"/>
                      <a:pt x="299374" y="350727"/>
                    </a:cubicBezTo>
                    <a:cubicBezTo>
                      <a:pt x="224931" y="354640"/>
                      <a:pt x="149797" y="358552"/>
                      <a:pt x="75815" y="348656"/>
                    </a:cubicBezTo>
                    <a:cubicBezTo>
                      <a:pt x="70975" y="347966"/>
                      <a:pt x="67749" y="345434"/>
                      <a:pt x="67518" y="340371"/>
                    </a:cubicBezTo>
                    <a:cubicBezTo>
                      <a:pt x="63370" y="274551"/>
                      <a:pt x="54612" y="208961"/>
                      <a:pt x="56225" y="142911"/>
                    </a:cubicBezTo>
                    <a:cubicBezTo>
                      <a:pt x="42166" y="142911"/>
                      <a:pt x="27877" y="142451"/>
                      <a:pt x="14049" y="140840"/>
                    </a:cubicBezTo>
                    <a:cubicBezTo>
                      <a:pt x="12896" y="141530"/>
                      <a:pt x="11514" y="141991"/>
                      <a:pt x="10592" y="142681"/>
                    </a:cubicBezTo>
                    <a:cubicBezTo>
                      <a:pt x="5060" y="145903"/>
                      <a:pt x="-3006" y="138999"/>
                      <a:pt x="1142" y="133245"/>
                    </a:cubicBezTo>
                    <a:cubicBezTo>
                      <a:pt x="11744" y="119667"/>
                      <a:pt x="38479" y="119897"/>
                      <a:pt x="53690" y="114604"/>
                    </a:cubicBezTo>
                    <a:cubicBezTo>
                      <a:pt x="88952" y="102407"/>
                      <a:pt x="121910" y="85837"/>
                      <a:pt x="154867" y="68806"/>
                    </a:cubicBezTo>
                    <a:cubicBezTo>
                      <a:pt x="186212" y="52466"/>
                      <a:pt x="218247" y="37507"/>
                      <a:pt x="249592" y="21167"/>
                    </a:cubicBezTo>
                    <a:cubicBezTo>
                      <a:pt x="267569" y="11847"/>
                      <a:pt x="286712" y="1232"/>
                      <a:pt x="306925" y="9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</p:sp>
          <p:sp>
            <p:nvSpPr>
              <p:cNvPr id="60" name="文本框 59"/>
              <p:cNvSpPr txBox="1"/>
              <p:nvPr/>
            </p:nvSpPr>
            <p:spPr>
              <a:xfrm>
                <a:off x="7480" y="14657"/>
                <a:ext cx="1711" cy="385"/>
              </a:xfrm>
              <a:custGeom>
                <a:avLst/>
                <a:gdLst>
                  <a:gd name="connsiteX0" fmla="*/ 413435 w 599763"/>
                  <a:gd name="connsiteY0" fmla="*/ 242351 h 354892"/>
                  <a:gd name="connsiteX1" fmla="*/ 421018 w 599763"/>
                  <a:gd name="connsiteY1" fmla="*/ 246720 h 354892"/>
                  <a:gd name="connsiteX2" fmla="*/ 419179 w 599763"/>
                  <a:gd name="connsiteY2" fmla="*/ 273388 h 354892"/>
                  <a:gd name="connsiteX3" fmla="*/ 413665 w 599763"/>
                  <a:gd name="connsiteY3" fmla="*/ 301895 h 354892"/>
                  <a:gd name="connsiteX4" fmla="*/ 404245 w 599763"/>
                  <a:gd name="connsiteY4" fmla="*/ 299366 h 354892"/>
                  <a:gd name="connsiteX5" fmla="*/ 405164 w 599763"/>
                  <a:gd name="connsiteY5" fmla="*/ 263502 h 354892"/>
                  <a:gd name="connsiteX6" fmla="*/ 413435 w 599763"/>
                  <a:gd name="connsiteY6" fmla="*/ 242351 h 354892"/>
                  <a:gd name="connsiteX7" fmla="*/ 107616 w 599763"/>
                  <a:gd name="connsiteY7" fmla="*/ 239326 h 354892"/>
                  <a:gd name="connsiteX8" fmla="*/ 118194 w 599763"/>
                  <a:gd name="connsiteY8" fmla="*/ 239326 h 354892"/>
                  <a:gd name="connsiteX9" fmla="*/ 120954 w 599763"/>
                  <a:gd name="connsiteY9" fmla="*/ 264171 h 354892"/>
                  <a:gd name="connsiteX10" fmla="*/ 119804 w 599763"/>
                  <a:gd name="connsiteY10" fmla="*/ 289476 h 354892"/>
                  <a:gd name="connsiteX11" fmla="*/ 106236 w 599763"/>
                  <a:gd name="connsiteY11" fmla="*/ 289476 h 354892"/>
                  <a:gd name="connsiteX12" fmla="*/ 105087 w 599763"/>
                  <a:gd name="connsiteY12" fmla="*/ 260490 h 354892"/>
                  <a:gd name="connsiteX13" fmla="*/ 107616 w 599763"/>
                  <a:gd name="connsiteY13" fmla="*/ 239326 h 354892"/>
                  <a:gd name="connsiteX14" fmla="*/ 489266 w 599763"/>
                  <a:gd name="connsiteY14" fmla="*/ 239296 h 354892"/>
                  <a:gd name="connsiteX15" fmla="*/ 489726 w 599763"/>
                  <a:gd name="connsiteY15" fmla="*/ 239296 h 354892"/>
                  <a:gd name="connsiteX16" fmla="*/ 489956 w 599763"/>
                  <a:gd name="connsiteY16" fmla="*/ 239296 h 354892"/>
                  <a:gd name="connsiteX17" fmla="*/ 494785 w 599763"/>
                  <a:gd name="connsiteY17" fmla="*/ 241139 h 354892"/>
                  <a:gd name="connsiteX18" fmla="*/ 497314 w 599763"/>
                  <a:gd name="connsiteY18" fmla="*/ 262332 h 354892"/>
                  <a:gd name="connsiteX19" fmla="*/ 495475 w 599763"/>
                  <a:gd name="connsiteY19" fmla="*/ 289284 h 354892"/>
                  <a:gd name="connsiteX20" fmla="*/ 483748 w 599763"/>
                  <a:gd name="connsiteY20" fmla="*/ 289284 h 354892"/>
                  <a:gd name="connsiteX21" fmla="*/ 481909 w 599763"/>
                  <a:gd name="connsiteY21" fmla="*/ 262332 h 354892"/>
                  <a:gd name="connsiteX22" fmla="*/ 484668 w 599763"/>
                  <a:gd name="connsiteY22" fmla="*/ 241139 h 354892"/>
                  <a:gd name="connsiteX23" fmla="*/ 489266 w 599763"/>
                  <a:gd name="connsiteY23" fmla="*/ 239296 h 354892"/>
                  <a:gd name="connsiteX24" fmla="*/ 180432 w 599763"/>
                  <a:gd name="connsiteY24" fmla="*/ 237494 h 354892"/>
                  <a:gd name="connsiteX25" fmla="*/ 190798 w 599763"/>
                  <a:gd name="connsiteY25" fmla="*/ 237494 h 354892"/>
                  <a:gd name="connsiteX26" fmla="*/ 192871 w 599763"/>
                  <a:gd name="connsiteY26" fmla="*/ 264426 h 354892"/>
                  <a:gd name="connsiteX27" fmla="*/ 192180 w 599763"/>
                  <a:gd name="connsiteY27" fmla="*/ 290897 h 354892"/>
                  <a:gd name="connsiteX28" fmla="*/ 182275 w 599763"/>
                  <a:gd name="connsiteY28" fmla="*/ 292278 h 354892"/>
                  <a:gd name="connsiteX29" fmla="*/ 177207 w 599763"/>
                  <a:gd name="connsiteY29" fmla="*/ 264426 h 354892"/>
                  <a:gd name="connsiteX30" fmla="*/ 180432 w 599763"/>
                  <a:gd name="connsiteY30" fmla="*/ 237494 h 354892"/>
                  <a:gd name="connsiteX31" fmla="*/ 491561 w 599763"/>
                  <a:gd name="connsiteY31" fmla="*/ 162223 h 354892"/>
                  <a:gd name="connsiteX32" fmla="*/ 497317 w 599763"/>
                  <a:gd name="connsiteY32" fmla="*/ 169588 h 354892"/>
                  <a:gd name="connsiteX33" fmla="*/ 497317 w 599763"/>
                  <a:gd name="connsiteY33" fmla="*/ 172810 h 354892"/>
                  <a:gd name="connsiteX34" fmla="*/ 496396 w 599763"/>
                  <a:gd name="connsiteY34" fmla="*/ 177413 h 354892"/>
                  <a:gd name="connsiteX35" fmla="*/ 495936 w 599763"/>
                  <a:gd name="connsiteY35" fmla="*/ 190761 h 354892"/>
                  <a:gd name="connsiteX36" fmla="*/ 495245 w 599763"/>
                  <a:gd name="connsiteY36" fmla="*/ 216536 h 354892"/>
                  <a:gd name="connsiteX37" fmla="*/ 483962 w 599763"/>
                  <a:gd name="connsiteY37" fmla="*/ 216536 h 354892"/>
                  <a:gd name="connsiteX38" fmla="*/ 480508 w 599763"/>
                  <a:gd name="connsiteY38" fmla="*/ 181325 h 354892"/>
                  <a:gd name="connsiteX39" fmla="*/ 491561 w 599763"/>
                  <a:gd name="connsiteY39" fmla="*/ 162223 h 354892"/>
                  <a:gd name="connsiteX40" fmla="*/ 107804 w 599763"/>
                  <a:gd name="connsiteY40" fmla="*/ 161985 h 354892"/>
                  <a:gd name="connsiteX41" fmla="*/ 118202 w 599763"/>
                  <a:gd name="connsiteY41" fmla="*/ 161985 h 354892"/>
                  <a:gd name="connsiteX42" fmla="*/ 121206 w 599763"/>
                  <a:gd name="connsiteY42" fmla="*/ 185689 h 354892"/>
                  <a:gd name="connsiteX43" fmla="*/ 121206 w 599763"/>
                  <a:gd name="connsiteY43" fmla="*/ 210084 h 354892"/>
                  <a:gd name="connsiteX44" fmla="*/ 107572 w 599763"/>
                  <a:gd name="connsiteY44" fmla="*/ 211925 h 354892"/>
                  <a:gd name="connsiteX45" fmla="*/ 105262 w 599763"/>
                  <a:gd name="connsiteY45" fmla="*/ 185689 h 354892"/>
                  <a:gd name="connsiteX46" fmla="*/ 107804 w 599763"/>
                  <a:gd name="connsiteY46" fmla="*/ 161985 h 354892"/>
                  <a:gd name="connsiteX47" fmla="*/ 186439 w 599763"/>
                  <a:gd name="connsiteY47" fmla="*/ 161051 h 354892"/>
                  <a:gd name="connsiteX48" fmla="*/ 197503 w 599763"/>
                  <a:gd name="connsiteY48" fmla="*/ 162433 h 354892"/>
                  <a:gd name="connsiteX49" fmla="*/ 197734 w 599763"/>
                  <a:gd name="connsiteY49" fmla="*/ 186851 h 354892"/>
                  <a:gd name="connsiteX50" fmla="*/ 197734 w 599763"/>
                  <a:gd name="connsiteY50" fmla="*/ 213112 h 354892"/>
                  <a:gd name="connsiteX51" fmla="*/ 185286 w 599763"/>
                  <a:gd name="connsiteY51" fmla="*/ 214725 h 354892"/>
                  <a:gd name="connsiteX52" fmla="*/ 182289 w 599763"/>
                  <a:gd name="connsiteY52" fmla="*/ 184087 h 354892"/>
                  <a:gd name="connsiteX53" fmla="*/ 186439 w 599763"/>
                  <a:gd name="connsiteY53" fmla="*/ 161051 h 354892"/>
                  <a:gd name="connsiteX54" fmla="*/ 270786 w 599763"/>
                  <a:gd name="connsiteY54" fmla="*/ 160616 h 354892"/>
                  <a:gd name="connsiteX55" fmla="*/ 276544 w 599763"/>
                  <a:gd name="connsiteY55" fmla="*/ 162918 h 354892"/>
                  <a:gd name="connsiteX56" fmla="*/ 278847 w 599763"/>
                  <a:gd name="connsiteY56" fmla="*/ 170977 h 354892"/>
                  <a:gd name="connsiteX57" fmla="*/ 274701 w 599763"/>
                  <a:gd name="connsiteY57" fmla="*/ 215182 h 354892"/>
                  <a:gd name="connsiteX58" fmla="*/ 261343 w 599763"/>
                  <a:gd name="connsiteY58" fmla="*/ 215182 h 354892"/>
                  <a:gd name="connsiteX59" fmla="*/ 262956 w 599763"/>
                  <a:gd name="connsiteY59" fmla="*/ 166602 h 354892"/>
                  <a:gd name="connsiteX60" fmla="*/ 270786 w 599763"/>
                  <a:gd name="connsiteY60" fmla="*/ 160616 h 354892"/>
                  <a:gd name="connsiteX61" fmla="*/ 416901 w 599763"/>
                  <a:gd name="connsiteY61" fmla="*/ 160241 h 354892"/>
                  <a:gd name="connsiteX62" fmla="*/ 425175 w 599763"/>
                  <a:gd name="connsiteY62" fmla="*/ 168006 h 354892"/>
                  <a:gd name="connsiteX63" fmla="*/ 420562 w 599763"/>
                  <a:gd name="connsiteY63" fmla="*/ 216326 h 354892"/>
                  <a:gd name="connsiteX64" fmla="*/ 408800 w 599763"/>
                  <a:gd name="connsiteY64" fmla="*/ 213104 h 354892"/>
                  <a:gd name="connsiteX65" fmla="*/ 408800 w 599763"/>
                  <a:gd name="connsiteY65" fmla="*/ 168006 h 354892"/>
                  <a:gd name="connsiteX66" fmla="*/ 416901 w 599763"/>
                  <a:gd name="connsiteY66" fmla="*/ 160241 h 354892"/>
                  <a:gd name="connsiteX67" fmla="*/ 346478 w 599763"/>
                  <a:gd name="connsiteY67" fmla="*/ 159746 h 354892"/>
                  <a:gd name="connsiteX68" fmla="*/ 353060 w 599763"/>
                  <a:gd name="connsiteY68" fmla="*/ 163373 h 354892"/>
                  <a:gd name="connsiteX69" fmla="*/ 353060 w 599763"/>
                  <a:gd name="connsiteY69" fmla="*/ 186402 h 354892"/>
                  <a:gd name="connsiteX70" fmla="*/ 350057 w 599763"/>
                  <a:gd name="connsiteY70" fmla="*/ 213346 h 354892"/>
                  <a:gd name="connsiteX71" fmla="*/ 334815 w 599763"/>
                  <a:gd name="connsiteY71" fmla="*/ 211274 h 354892"/>
                  <a:gd name="connsiteX72" fmla="*/ 337125 w 599763"/>
                  <a:gd name="connsiteY72" fmla="*/ 184329 h 354892"/>
                  <a:gd name="connsiteX73" fmla="*/ 339896 w 599763"/>
                  <a:gd name="connsiteY73" fmla="*/ 163373 h 354892"/>
                  <a:gd name="connsiteX74" fmla="*/ 346478 w 599763"/>
                  <a:gd name="connsiteY74" fmla="*/ 159746 h 354892"/>
                  <a:gd name="connsiteX75" fmla="*/ 541601 w 599763"/>
                  <a:gd name="connsiteY75" fmla="*/ 132325 h 354892"/>
                  <a:gd name="connsiteX76" fmla="*/ 508182 w 599763"/>
                  <a:gd name="connsiteY76" fmla="*/ 132555 h 354892"/>
                  <a:gd name="connsiteX77" fmla="*/ 380500 w 599763"/>
                  <a:gd name="connsiteY77" fmla="*/ 136007 h 354892"/>
                  <a:gd name="connsiteX78" fmla="*/ 256967 w 599763"/>
                  <a:gd name="connsiteY78" fmla="*/ 136237 h 354892"/>
                  <a:gd name="connsiteX79" fmla="*/ 129515 w 599763"/>
                  <a:gd name="connsiteY79" fmla="*/ 139919 h 354892"/>
                  <a:gd name="connsiteX80" fmla="*/ 67979 w 599763"/>
                  <a:gd name="connsiteY80" fmla="*/ 142681 h 354892"/>
                  <a:gd name="connsiteX81" fmla="*/ 83421 w 599763"/>
                  <a:gd name="connsiteY81" fmla="*/ 333237 h 354892"/>
                  <a:gd name="connsiteX82" fmla="*/ 266186 w 599763"/>
                  <a:gd name="connsiteY82" fmla="*/ 335308 h 354892"/>
                  <a:gd name="connsiteX83" fmla="*/ 260193 w 599763"/>
                  <a:gd name="connsiteY83" fmla="*/ 297565 h 354892"/>
                  <a:gd name="connsiteX84" fmla="*/ 258119 w 599763"/>
                  <a:gd name="connsiteY84" fmla="*/ 244403 h 354892"/>
                  <a:gd name="connsiteX85" fmla="*/ 265955 w 599763"/>
                  <a:gd name="connsiteY85" fmla="*/ 236578 h 354892"/>
                  <a:gd name="connsiteX86" fmla="*/ 338554 w 599763"/>
                  <a:gd name="connsiteY86" fmla="*/ 232436 h 354892"/>
                  <a:gd name="connsiteX87" fmla="*/ 346620 w 599763"/>
                  <a:gd name="connsiteY87" fmla="*/ 240490 h 354892"/>
                  <a:gd name="connsiteX88" fmla="*/ 347312 w 599763"/>
                  <a:gd name="connsiteY88" fmla="*/ 303319 h 354892"/>
                  <a:gd name="connsiteX89" fmla="*/ 346620 w 599763"/>
                  <a:gd name="connsiteY89" fmla="*/ 333467 h 354892"/>
                  <a:gd name="connsiteX90" fmla="*/ 542292 w 599763"/>
                  <a:gd name="connsiteY90" fmla="*/ 330705 h 354892"/>
                  <a:gd name="connsiteX91" fmla="*/ 540218 w 599763"/>
                  <a:gd name="connsiteY91" fmla="*/ 219548 h 354892"/>
                  <a:gd name="connsiteX92" fmla="*/ 539296 w 599763"/>
                  <a:gd name="connsiteY92" fmla="*/ 177662 h 354892"/>
                  <a:gd name="connsiteX93" fmla="*/ 536761 w 599763"/>
                  <a:gd name="connsiteY93" fmla="*/ 146363 h 354892"/>
                  <a:gd name="connsiteX94" fmla="*/ 541601 w 599763"/>
                  <a:gd name="connsiteY94" fmla="*/ 132325 h 354892"/>
                  <a:gd name="connsiteX95" fmla="*/ 312050 w 599763"/>
                  <a:gd name="connsiteY95" fmla="*/ 16565 h 354892"/>
                  <a:gd name="connsiteX96" fmla="*/ 220782 w 599763"/>
                  <a:gd name="connsiteY96" fmla="*/ 54308 h 354892"/>
                  <a:gd name="connsiteX97" fmla="*/ 141500 w 599763"/>
                  <a:gd name="connsiteY97" fmla="*/ 94122 h 354892"/>
                  <a:gd name="connsiteX98" fmla="*/ 74663 w 599763"/>
                  <a:gd name="connsiteY98" fmla="*/ 124500 h 354892"/>
                  <a:gd name="connsiteX99" fmla="*/ 147723 w 599763"/>
                  <a:gd name="connsiteY99" fmla="*/ 122889 h 354892"/>
                  <a:gd name="connsiteX100" fmla="*/ 275174 w 599763"/>
                  <a:gd name="connsiteY100" fmla="*/ 119667 h 354892"/>
                  <a:gd name="connsiteX101" fmla="*/ 393406 w 599763"/>
                  <a:gd name="connsiteY101" fmla="*/ 119207 h 354892"/>
                  <a:gd name="connsiteX102" fmla="*/ 530077 w 599763"/>
                  <a:gd name="connsiteY102" fmla="*/ 115985 h 354892"/>
                  <a:gd name="connsiteX103" fmla="*/ 576863 w 599763"/>
                  <a:gd name="connsiteY103" fmla="*/ 115525 h 354892"/>
                  <a:gd name="connsiteX104" fmla="*/ 537452 w 599763"/>
                  <a:gd name="connsiteY104" fmla="*/ 100335 h 354892"/>
                  <a:gd name="connsiteX105" fmla="*/ 489053 w 599763"/>
                  <a:gd name="connsiteY105" fmla="*/ 84916 h 354892"/>
                  <a:gd name="connsiteX106" fmla="*/ 400551 w 599763"/>
                  <a:gd name="connsiteY106" fmla="*/ 49014 h 354892"/>
                  <a:gd name="connsiteX107" fmla="*/ 352152 w 599763"/>
                  <a:gd name="connsiteY107" fmla="*/ 28992 h 354892"/>
                  <a:gd name="connsiteX108" fmla="*/ 312050 w 599763"/>
                  <a:gd name="connsiteY108" fmla="*/ 16565 h 354892"/>
                  <a:gd name="connsiteX109" fmla="*/ 306925 w 599763"/>
                  <a:gd name="connsiteY109" fmla="*/ 99 h 354892"/>
                  <a:gd name="connsiteX110" fmla="*/ 327491 w 599763"/>
                  <a:gd name="connsiteY110" fmla="*/ 2526 h 354892"/>
                  <a:gd name="connsiteX111" fmla="*/ 518323 w 599763"/>
                  <a:gd name="connsiteY111" fmla="*/ 76861 h 354892"/>
                  <a:gd name="connsiteX112" fmla="*/ 599680 w 599763"/>
                  <a:gd name="connsiteY112" fmla="*/ 123119 h 354892"/>
                  <a:gd name="connsiteX113" fmla="*/ 598297 w 599763"/>
                  <a:gd name="connsiteY113" fmla="*/ 126801 h 354892"/>
                  <a:gd name="connsiteX114" fmla="*/ 585621 w 599763"/>
                  <a:gd name="connsiteY114" fmla="*/ 132325 h 354892"/>
                  <a:gd name="connsiteX115" fmla="*/ 581703 w 599763"/>
                  <a:gd name="connsiteY115" fmla="*/ 133936 h 354892"/>
                  <a:gd name="connsiteX116" fmla="*/ 563495 w 599763"/>
                  <a:gd name="connsiteY116" fmla="*/ 132785 h 354892"/>
                  <a:gd name="connsiteX117" fmla="*/ 544597 w 599763"/>
                  <a:gd name="connsiteY117" fmla="*/ 132325 h 354892"/>
                  <a:gd name="connsiteX118" fmla="*/ 548515 w 599763"/>
                  <a:gd name="connsiteY118" fmla="*/ 134856 h 354892"/>
                  <a:gd name="connsiteX119" fmla="*/ 556581 w 599763"/>
                  <a:gd name="connsiteY119" fmla="*/ 204589 h 354892"/>
                  <a:gd name="connsiteX120" fmla="*/ 558655 w 599763"/>
                  <a:gd name="connsiteY120" fmla="*/ 338530 h 354892"/>
                  <a:gd name="connsiteX121" fmla="*/ 550589 w 599763"/>
                  <a:gd name="connsiteY121" fmla="*/ 346815 h 354892"/>
                  <a:gd name="connsiteX122" fmla="*/ 299374 w 599763"/>
                  <a:gd name="connsiteY122" fmla="*/ 350727 h 354892"/>
                  <a:gd name="connsiteX123" fmla="*/ 75815 w 599763"/>
                  <a:gd name="connsiteY123" fmla="*/ 348656 h 354892"/>
                  <a:gd name="connsiteX124" fmla="*/ 67518 w 599763"/>
                  <a:gd name="connsiteY124" fmla="*/ 340371 h 354892"/>
                  <a:gd name="connsiteX125" fmla="*/ 56225 w 599763"/>
                  <a:gd name="connsiteY125" fmla="*/ 142911 h 354892"/>
                  <a:gd name="connsiteX126" fmla="*/ 14049 w 599763"/>
                  <a:gd name="connsiteY126" fmla="*/ 140840 h 354892"/>
                  <a:gd name="connsiteX127" fmla="*/ 10592 w 599763"/>
                  <a:gd name="connsiteY127" fmla="*/ 142681 h 354892"/>
                  <a:gd name="connsiteX128" fmla="*/ 1142 w 599763"/>
                  <a:gd name="connsiteY128" fmla="*/ 133245 h 354892"/>
                  <a:gd name="connsiteX129" fmla="*/ 53690 w 599763"/>
                  <a:gd name="connsiteY129" fmla="*/ 114604 h 354892"/>
                  <a:gd name="connsiteX130" fmla="*/ 154867 w 599763"/>
                  <a:gd name="connsiteY130" fmla="*/ 68806 h 354892"/>
                  <a:gd name="connsiteX131" fmla="*/ 249592 w 599763"/>
                  <a:gd name="connsiteY131" fmla="*/ 21167 h 354892"/>
                  <a:gd name="connsiteX132" fmla="*/ 306925 w 599763"/>
                  <a:gd name="connsiteY132" fmla="*/ 99 h 35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</a:cxnLst>
                <a:rect l="l" t="t" r="r" b="b"/>
                <a:pathLst>
                  <a:path w="599763" h="354892">
                    <a:moveTo>
                      <a:pt x="413435" y="242351"/>
                    </a:moveTo>
                    <a:cubicBezTo>
                      <a:pt x="416422" y="241202"/>
                      <a:pt x="420328" y="243731"/>
                      <a:pt x="421018" y="246720"/>
                    </a:cubicBezTo>
                    <a:cubicBezTo>
                      <a:pt x="422856" y="254766"/>
                      <a:pt x="419869" y="265341"/>
                      <a:pt x="419179" y="273388"/>
                    </a:cubicBezTo>
                    <a:cubicBezTo>
                      <a:pt x="418490" y="283043"/>
                      <a:pt x="417801" y="293159"/>
                      <a:pt x="413665" y="301895"/>
                    </a:cubicBezTo>
                    <a:cubicBezTo>
                      <a:pt x="411367" y="306263"/>
                      <a:pt x="404015" y="304194"/>
                      <a:pt x="404245" y="299366"/>
                    </a:cubicBezTo>
                    <a:cubicBezTo>
                      <a:pt x="404704" y="287411"/>
                      <a:pt x="404704" y="275457"/>
                      <a:pt x="405164" y="263502"/>
                    </a:cubicBezTo>
                    <a:cubicBezTo>
                      <a:pt x="405393" y="255456"/>
                      <a:pt x="404704" y="245800"/>
                      <a:pt x="413435" y="242351"/>
                    </a:cubicBezTo>
                    <a:close/>
                    <a:moveTo>
                      <a:pt x="107616" y="239326"/>
                    </a:moveTo>
                    <a:cubicBezTo>
                      <a:pt x="110376" y="235415"/>
                      <a:pt x="115665" y="235415"/>
                      <a:pt x="118194" y="239326"/>
                    </a:cubicBezTo>
                    <a:cubicBezTo>
                      <a:pt x="123024" y="246457"/>
                      <a:pt x="120954" y="255889"/>
                      <a:pt x="120954" y="264171"/>
                    </a:cubicBezTo>
                    <a:cubicBezTo>
                      <a:pt x="120724" y="272683"/>
                      <a:pt x="120724" y="281194"/>
                      <a:pt x="119804" y="289476"/>
                    </a:cubicBezTo>
                    <a:cubicBezTo>
                      <a:pt x="118884" y="298218"/>
                      <a:pt x="107156" y="298218"/>
                      <a:pt x="106236" y="289476"/>
                    </a:cubicBezTo>
                    <a:cubicBezTo>
                      <a:pt x="105087" y="279814"/>
                      <a:pt x="105087" y="270152"/>
                      <a:pt x="105087" y="260490"/>
                    </a:cubicBezTo>
                    <a:cubicBezTo>
                      <a:pt x="104857" y="253129"/>
                      <a:pt x="103477" y="245767"/>
                      <a:pt x="107616" y="239326"/>
                    </a:cubicBezTo>
                    <a:close/>
                    <a:moveTo>
                      <a:pt x="489266" y="239296"/>
                    </a:moveTo>
                    <a:cubicBezTo>
                      <a:pt x="489496" y="239296"/>
                      <a:pt x="489496" y="239296"/>
                      <a:pt x="489726" y="239296"/>
                    </a:cubicBezTo>
                    <a:cubicBezTo>
                      <a:pt x="489726" y="239296"/>
                      <a:pt x="489956" y="239296"/>
                      <a:pt x="489956" y="239296"/>
                    </a:cubicBezTo>
                    <a:cubicBezTo>
                      <a:pt x="491566" y="239296"/>
                      <a:pt x="493175" y="239757"/>
                      <a:pt x="494785" y="241139"/>
                    </a:cubicBezTo>
                    <a:cubicBezTo>
                      <a:pt x="499843" y="245746"/>
                      <a:pt x="497544" y="256343"/>
                      <a:pt x="497314" y="262332"/>
                    </a:cubicBezTo>
                    <a:cubicBezTo>
                      <a:pt x="497084" y="270395"/>
                      <a:pt x="498694" y="281682"/>
                      <a:pt x="495475" y="289284"/>
                    </a:cubicBezTo>
                    <a:cubicBezTo>
                      <a:pt x="493175" y="295043"/>
                      <a:pt x="486277" y="295043"/>
                      <a:pt x="483748" y="289284"/>
                    </a:cubicBezTo>
                    <a:cubicBezTo>
                      <a:pt x="480529" y="281682"/>
                      <a:pt x="482138" y="270395"/>
                      <a:pt x="481909" y="262332"/>
                    </a:cubicBezTo>
                    <a:cubicBezTo>
                      <a:pt x="481909" y="256343"/>
                      <a:pt x="479379" y="245746"/>
                      <a:pt x="484668" y="241139"/>
                    </a:cubicBezTo>
                    <a:cubicBezTo>
                      <a:pt x="486047" y="239757"/>
                      <a:pt x="487657" y="239296"/>
                      <a:pt x="489266" y="239296"/>
                    </a:cubicBezTo>
                    <a:close/>
                    <a:moveTo>
                      <a:pt x="180432" y="237494"/>
                    </a:moveTo>
                    <a:cubicBezTo>
                      <a:pt x="182736" y="233811"/>
                      <a:pt x="188495" y="233581"/>
                      <a:pt x="190798" y="237494"/>
                    </a:cubicBezTo>
                    <a:cubicBezTo>
                      <a:pt x="195636" y="245551"/>
                      <a:pt x="193102" y="255449"/>
                      <a:pt x="192871" y="264426"/>
                    </a:cubicBezTo>
                    <a:cubicBezTo>
                      <a:pt x="192641" y="273173"/>
                      <a:pt x="193793" y="282380"/>
                      <a:pt x="192180" y="290897"/>
                    </a:cubicBezTo>
                    <a:cubicBezTo>
                      <a:pt x="191489" y="295961"/>
                      <a:pt x="184579" y="295731"/>
                      <a:pt x="182275" y="292278"/>
                    </a:cubicBezTo>
                    <a:cubicBezTo>
                      <a:pt x="176977" y="284682"/>
                      <a:pt x="177207" y="273173"/>
                      <a:pt x="177207" y="264426"/>
                    </a:cubicBezTo>
                    <a:cubicBezTo>
                      <a:pt x="177207" y="255679"/>
                      <a:pt x="175595" y="245320"/>
                      <a:pt x="180432" y="237494"/>
                    </a:cubicBezTo>
                    <a:close/>
                    <a:moveTo>
                      <a:pt x="491561" y="162223"/>
                    </a:moveTo>
                    <a:cubicBezTo>
                      <a:pt x="495706" y="161533"/>
                      <a:pt x="498008" y="166366"/>
                      <a:pt x="497317" y="169588"/>
                    </a:cubicBezTo>
                    <a:cubicBezTo>
                      <a:pt x="498008" y="166366"/>
                      <a:pt x="497317" y="172810"/>
                      <a:pt x="497317" y="172810"/>
                    </a:cubicBezTo>
                    <a:cubicBezTo>
                      <a:pt x="497087" y="174421"/>
                      <a:pt x="496627" y="175802"/>
                      <a:pt x="496396" y="177413"/>
                    </a:cubicBezTo>
                    <a:cubicBezTo>
                      <a:pt x="495936" y="181785"/>
                      <a:pt x="495936" y="186388"/>
                      <a:pt x="495936" y="190761"/>
                    </a:cubicBezTo>
                    <a:cubicBezTo>
                      <a:pt x="495936" y="199506"/>
                      <a:pt x="496627" y="208251"/>
                      <a:pt x="495245" y="216536"/>
                    </a:cubicBezTo>
                    <a:cubicBezTo>
                      <a:pt x="494324" y="222290"/>
                      <a:pt x="485114" y="222060"/>
                      <a:pt x="483962" y="216536"/>
                    </a:cubicBezTo>
                    <a:cubicBezTo>
                      <a:pt x="481890" y="205260"/>
                      <a:pt x="480739" y="192832"/>
                      <a:pt x="480508" y="181325"/>
                    </a:cubicBezTo>
                    <a:cubicBezTo>
                      <a:pt x="480508" y="172580"/>
                      <a:pt x="481429" y="163374"/>
                      <a:pt x="491561" y="162223"/>
                    </a:cubicBezTo>
                    <a:close/>
                    <a:moveTo>
                      <a:pt x="107804" y="161985"/>
                    </a:moveTo>
                    <a:cubicBezTo>
                      <a:pt x="110576" y="158993"/>
                      <a:pt x="115429" y="159223"/>
                      <a:pt x="118202" y="161985"/>
                    </a:cubicBezTo>
                    <a:cubicBezTo>
                      <a:pt x="123517" y="167278"/>
                      <a:pt x="121206" y="178785"/>
                      <a:pt x="121206" y="185689"/>
                    </a:cubicBezTo>
                    <a:cubicBezTo>
                      <a:pt x="121206" y="193744"/>
                      <a:pt x="121668" y="202029"/>
                      <a:pt x="121206" y="210084"/>
                    </a:cubicBezTo>
                    <a:cubicBezTo>
                      <a:pt x="120975" y="217909"/>
                      <a:pt x="109883" y="219750"/>
                      <a:pt x="107572" y="211925"/>
                    </a:cubicBezTo>
                    <a:cubicBezTo>
                      <a:pt x="105031" y="203640"/>
                      <a:pt x="105493" y="194204"/>
                      <a:pt x="105262" y="185689"/>
                    </a:cubicBezTo>
                    <a:cubicBezTo>
                      <a:pt x="105031" y="178785"/>
                      <a:pt x="102489" y="167278"/>
                      <a:pt x="107804" y="161985"/>
                    </a:cubicBezTo>
                    <a:close/>
                    <a:moveTo>
                      <a:pt x="186439" y="161051"/>
                    </a:moveTo>
                    <a:cubicBezTo>
                      <a:pt x="190127" y="158287"/>
                      <a:pt x="194967" y="158287"/>
                      <a:pt x="197503" y="162433"/>
                    </a:cubicBezTo>
                    <a:cubicBezTo>
                      <a:pt x="201422" y="168653"/>
                      <a:pt x="198195" y="179710"/>
                      <a:pt x="197734" y="186851"/>
                    </a:cubicBezTo>
                    <a:cubicBezTo>
                      <a:pt x="197503" y="195605"/>
                      <a:pt x="197734" y="204359"/>
                      <a:pt x="197734" y="213112"/>
                    </a:cubicBezTo>
                    <a:cubicBezTo>
                      <a:pt x="197964" y="220253"/>
                      <a:pt x="187130" y="221866"/>
                      <a:pt x="185286" y="214725"/>
                    </a:cubicBezTo>
                    <a:cubicBezTo>
                      <a:pt x="182750" y="205050"/>
                      <a:pt x="182289" y="194223"/>
                      <a:pt x="182289" y="184087"/>
                    </a:cubicBezTo>
                    <a:cubicBezTo>
                      <a:pt x="182289" y="177407"/>
                      <a:pt x="180676" y="165889"/>
                      <a:pt x="186439" y="161051"/>
                    </a:cubicBezTo>
                    <a:close/>
                    <a:moveTo>
                      <a:pt x="270786" y="160616"/>
                    </a:moveTo>
                    <a:cubicBezTo>
                      <a:pt x="273319" y="160616"/>
                      <a:pt x="274932" y="161307"/>
                      <a:pt x="276544" y="162918"/>
                    </a:cubicBezTo>
                    <a:cubicBezTo>
                      <a:pt x="278617" y="164760"/>
                      <a:pt x="279538" y="168214"/>
                      <a:pt x="278847" y="170977"/>
                    </a:cubicBezTo>
                    <a:cubicBezTo>
                      <a:pt x="274010" y="185251"/>
                      <a:pt x="275853" y="200217"/>
                      <a:pt x="274701" y="215182"/>
                    </a:cubicBezTo>
                    <a:cubicBezTo>
                      <a:pt x="274010" y="223701"/>
                      <a:pt x="262034" y="223701"/>
                      <a:pt x="261343" y="215182"/>
                    </a:cubicBezTo>
                    <a:cubicBezTo>
                      <a:pt x="259731" y="199066"/>
                      <a:pt x="258580" y="182258"/>
                      <a:pt x="262956" y="166602"/>
                    </a:cubicBezTo>
                    <a:cubicBezTo>
                      <a:pt x="264107" y="163149"/>
                      <a:pt x="267331" y="160616"/>
                      <a:pt x="270786" y="160616"/>
                    </a:cubicBezTo>
                    <a:close/>
                    <a:moveTo>
                      <a:pt x="416901" y="160241"/>
                    </a:moveTo>
                    <a:cubicBezTo>
                      <a:pt x="421023" y="160241"/>
                      <a:pt x="425175" y="162829"/>
                      <a:pt x="425175" y="168006"/>
                    </a:cubicBezTo>
                    <a:cubicBezTo>
                      <a:pt x="425175" y="184113"/>
                      <a:pt x="427020" y="201370"/>
                      <a:pt x="420562" y="216326"/>
                    </a:cubicBezTo>
                    <a:cubicBezTo>
                      <a:pt x="418025" y="222078"/>
                      <a:pt x="408108" y="219317"/>
                      <a:pt x="408800" y="213104"/>
                    </a:cubicBezTo>
                    <a:cubicBezTo>
                      <a:pt x="410183" y="197918"/>
                      <a:pt x="409261" y="183192"/>
                      <a:pt x="408800" y="168006"/>
                    </a:cubicBezTo>
                    <a:cubicBezTo>
                      <a:pt x="408685" y="162829"/>
                      <a:pt x="412778" y="160241"/>
                      <a:pt x="416901" y="160241"/>
                    </a:cubicBezTo>
                    <a:close/>
                    <a:moveTo>
                      <a:pt x="346478" y="159746"/>
                    </a:moveTo>
                    <a:cubicBezTo>
                      <a:pt x="348961" y="159631"/>
                      <a:pt x="351443" y="160725"/>
                      <a:pt x="353060" y="163373"/>
                    </a:cubicBezTo>
                    <a:cubicBezTo>
                      <a:pt x="356524" y="169360"/>
                      <a:pt x="353752" y="179954"/>
                      <a:pt x="353060" y="186402"/>
                    </a:cubicBezTo>
                    <a:cubicBezTo>
                      <a:pt x="352367" y="195383"/>
                      <a:pt x="351674" y="204365"/>
                      <a:pt x="350057" y="213346"/>
                    </a:cubicBezTo>
                    <a:cubicBezTo>
                      <a:pt x="348441" y="221867"/>
                      <a:pt x="333661" y="219794"/>
                      <a:pt x="334815" y="211274"/>
                    </a:cubicBezTo>
                    <a:cubicBezTo>
                      <a:pt x="335970" y="202292"/>
                      <a:pt x="336432" y="193311"/>
                      <a:pt x="337125" y="184329"/>
                    </a:cubicBezTo>
                    <a:cubicBezTo>
                      <a:pt x="337356" y="178572"/>
                      <a:pt x="336201" y="167979"/>
                      <a:pt x="339896" y="163373"/>
                    </a:cubicBezTo>
                    <a:cubicBezTo>
                      <a:pt x="341513" y="161185"/>
                      <a:pt x="343995" y="159861"/>
                      <a:pt x="346478" y="159746"/>
                    </a:cubicBezTo>
                    <a:close/>
                    <a:moveTo>
                      <a:pt x="541601" y="132325"/>
                    </a:moveTo>
                    <a:cubicBezTo>
                      <a:pt x="530307" y="132325"/>
                      <a:pt x="519245" y="132325"/>
                      <a:pt x="508182" y="132555"/>
                    </a:cubicBezTo>
                    <a:cubicBezTo>
                      <a:pt x="465544" y="133245"/>
                      <a:pt x="423137" y="134856"/>
                      <a:pt x="380500" y="136007"/>
                    </a:cubicBezTo>
                    <a:cubicBezTo>
                      <a:pt x="339245" y="137388"/>
                      <a:pt x="298221" y="135777"/>
                      <a:pt x="256967" y="136237"/>
                    </a:cubicBezTo>
                    <a:cubicBezTo>
                      <a:pt x="214560" y="136697"/>
                      <a:pt x="172153" y="138308"/>
                      <a:pt x="129515" y="139919"/>
                    </a:cubicBezTo>
                    <a:cubicBezTo>
                      <a:pt x="109234" y="140840"/>
                      <a:pt x="88722" y="142221"/>
                      <a:pt x="67979" y="142681"/>
                    </a:cubicBezTo>
                    <a:cubicBezTo>
                      <a:pt x="71667" y="206200"/>
                      <a:pt x="79272" y="269718"/>
                      <a:pt x="83421" y="333237"/>
                    </a:cubicBezTo>
                    <a:cubicBezTo>
                      <a:pt x="144496" y="340831"/>
                      <a:pt x="205341" y="337609"/>
                      <a:pt x="266186" y="335308"/>
                    </a:cubicBezTo>
                    <a:cubicBezTo>
                      <a:pt x="259271" y="327253"/>
                      <a:pt x="260654" y="306080"/>
                      <a:pt x="260193" y="297565"/>
                    </a:cubicBezTo>
                    <a:cubicBezTo>
                      <a:pt x="258810" y="279844"/>
                      <a:pt x="258119" y="262124"/>
                      <a:pt x="258119" y="244403"/>
                    </a:cubicBezTo>
                    <a:cubicBezTo>
                      <a:pt x="257889" y="239800"/>
                      <a:pt x="261807" y="236808"/>
                      <a:pt x="265955" y="236578"/>
                    </a:cubicBezTo>
                    <a:cubicBezTo>
                      <a:pt x="290155" y="234507"/>
                      <a:pt x="314354" y="232666"/>
                      <a:pt x="338554" y="232436"/>
                    </a:cubicBezTo>
                    <a:cubicBezTo>
                      <a:pt x="342933" y="232436"/>
                      <a:pt x="346620" y="236118"/>
                      <a:pt x="346620" y="240490"/>
                    </a:cubicBezTo>
                    <a:cubicBezTo>
                      <a:pt x="346851" y="261433"/>
                      <a:pt x="347542" y="282376"/>
                      <a:pt x="347312" y="303319"/>
                    </a:cubicBezTo>
                    <a:cubicBezTo>
                      <a:pt x="347081" y="312294"/>
                      <a:pt x="348003" y="323571"/>
                      <a:pt x="346620" y="333467"/>
                    </a:cubicBezTo>
                    <a:cubicBezTo>
                      <a:pt x="411844" y="332776"/>
                      <a:pt x="477068" y="333237"/>
                      <a:pt x="542292" y="330705"/>
                    </a:cubicBezTo>
                    <a:cubicBezTo>
                      <a:pt x="542061" y="293653"/>
                      <a:pt x="540448" y="256600"/>
                      <a:pt x="540218" y="219548"/>
                    </a:cubicBezTo>
                    <a:cubicBezTo>
                      <a:pt x="540218" y="205739"/>
                      <a:pt x="539987" y="191701"/>
                      <a:pt x="539296" y="177662"/>
                    </a:cubicBezTo>
                    <a:cubicBezTo>
                      <a:pt x="539065" y="171449"/>
                      <a:pt x="540909" y="151426"/>
                      <a:pt x="536761" y="146363"/>
                    </a:cubicBezTo>
                    <a:cubicBezTo>
                      <a:pt x="532151" y="140840"/>
                      <a:pt x="536300" y="133476"/>
                      <a:pt x="541601" y="132325"/>
                    </a:cubicBezTo>
                    <a:close/>
                    <a:moveTo>
                      <a:pt x="312050" y="16565"/>
                    </a:moveTo>
                    <a:cubicBezTo>
                      <a:pt x="279322" y="16795"/>
                      <a:pt x="249822" y="41420"/>
                      <a:pt x="220782" y="54308"/>
                    </a:cubicBezTo>
                    <a:cubicBezTo>
                      <a:pt x="193817" y="66275"/>
                      <a:pt x="168004" y="81004"/>
                      <a:pt x="141500" y="94122"/>
                    </a:cubicBezTo>
                    <a:cubicBezTo>
                      <a:pt x="119836" y="105168"/>
                      <a:pt x="97710" y="115985"/>
                      <a:pt x="74663" y="124500"/>
                    </a:cubicBezTo>
                    <a:cubicBezTo>
                      <a:pt x="99093" y="123810"/>
                      <a:pt x="123754" y="123810"/>
                      <a:pt x="147723" y="122889"/>
                    </a:cubicBezTo>
                    <a:cubicBezTo>
                      <a:pt x="190130" y="121278"/>
                      <a:pt x="232767" y="119437"/>
                      <a:pt x="275174" y="119667"/>
                    </a:cubicBezTo>
                    <a:cubicBezTo>
                      <a:pt x="314815" y="119897"/>
                      <a:pt x="353765" y="120588"/>
                      <a:pt x="393406" y="119207"/>
                    </a:cubicBezTo>
                    <a:cubicBezTo>
                      <a:pt x="439040" y="117826"/>
                      <a:pt x="484443" y="115985"/>
                      <a:pt x="530077" y="115985"/>
                    </a:cubicBezTo>
                    <a:cubicBezTo>
                      <a:pt x="539526" y="115985"/>
                      <a:pt x="560499" y="113223"/>
                      <a:pt x="576863" y="115525"/>
                    </a:cubicBezTo>
                    <a:cubicBezTo>
                      <a:pt x="565339" y="108390"/>
                      <a:pt x="542292" y="101946"/>
                      <a:pt x="537452" y="100335"/>
                    </a:cubicBezTo>
                    <a:cubicBezTo>
                      <a:pt x="521319" y="95042"/>
                      <a:pt x="504955" y="90900"/>
                      <a:pt x="489053" y="84916"/>
                    </a:cubicBezTo>
                    <a:cubicBezTo>
                      <a:pt x="459321" y="73639"/>
                      <a:pt x="430051" y="61442"/>
                      <a:pt x="400551" y="49014"/>
                    </a:cubicBezTo>
                    <a:cubicBezTo>
                      <a:pt x="384418" y="42340"/>
                      <a:pt x="368515" y="35436"/>
                      <a:pt x="352152" y="28992"/>
                    </a:cubicBezTo>
                    <a:cubicBezTo>
                      <a:pt x="339937" y="24389"/>
                      <a:pt x="325417" y="16335"/>
                      <a:pt x="312050" y="16565"/>
                    </a:cubicBezTo>
                    <a:close/>
                    <a:moveTo>
                      <a:pt x="306925" y="99"/>
                    </a:moveTo>
                    <a:cubicBezTo>
                      <a:pt x="313663" y="-279"/>
                      <a:pt x="320519" y="397"/>
                      <a:pt x="327491" y="2526"/>
                    </a:cubicBezTo>
                    <a:cubicBezTo>
                      <a:pt x="392715" y="22778"/>
                      <a:pt x="452868" y="56839"/>
                      <a:pt x="518323" y="76861"/>
                    </a:cubicBezTo>
                    <a:cubicBezTo>
                      <a:pt x="535839" y="82385"/>
                      <a:pt x="602445" y="95963"/>
                      <a:pt x="599680" y="123119"/>
                    </a:cubicBezTo>
                    <a:cubicBezTo>
                      <a:pt x="599449" y="124500"/>
                      <a:pt x="598988" y="125651"/>
                      <a:pt x="598297" y="126801"/>
                    </a:cubicBezTo>
                    <a:cubicBezTo>
                      <a:pt x="601062" y="133936"/>
                      <a:pt x="590000" y="139689"/>
                      <a:pt x="585621" y="132325"/>
                    </a:cubicBezTo>
                    <a:cubicBezTo>
                      <a:pt x="588386" y="137158"/>
                      <a:pt x="588617" y="134856"/>
                      <a:pt x="581703" y="133936"/>
                    </a:cubicBezTo>
                    <a:cubicBezTo>
                      <a:pt x="575480" y="133245"/>
                      <a:pt x="569488" y="133015"/>
                      <a:pt x="563495" y="132785"/>
                    </a:cubicBezTo>
                    <a:cubicBezTo>
                      <a:pt x="557042" y="132555"/>
                      <a:pt x="550819" y="132325"/>
                      <a:pt x="544597" y="132325"/>
                    </a:cubicBezTo>
                    <a:cubicBezTo>
                      <a:pt x="545979" y="132785"/>
                      <a:pt x="547362" y="133476"/>
                      <a:pt x="548515" y="134856"/>
                    </a:cubicBezTo>
                    <a:cubicBezTo>
                      <a:pt x="561191" y="150046"/>
                      <a:pt x="556351" y="186177"/>
                      <a:pt x="556581" y="204589"/>
                    </a:cubicBezTo>
                    <a:cubicBezTo>
                      <a:pt x="557042" y="249236"/>
                      <a:pt x="558655" y="293883"/>
                      <a:pt x="558655" y="338530"/>
                    </a:cubicBezTo>
                    <a:cubicBezTo>
                      <a:pt x="558655" y="343133"/>
                      <a:pt x="554968" y="346585"/>
                      <a:pt x="550589" y="346815"/>
                    </a:cubicBezTo>
                    <a:cubicBezTo>
                      <a:pt x="466927" y="350497"/>
                      <a:pt x="382805" y="346124"/>
                      <a:pt x="299374" y="350727"/>
                    </a:cubicBezTo>
                    <a:cubicBezTo>
                      <a:pt x="224931" y="354640"/>
                      <a:pt x="149797" y="358552"/>
                      <a:pt x="75815" y="348656"/>
                    </a:cubicBezTo>
                    <a:cubicBezTo>
                      <a:pt x="70975" y="347966"/>
                      <a:pt x="67749" y="345434"/>
                      <a:pt x="67518" y="340371"/>
                    </a:cubicBezTo>
                    <a:cubicBezTo>
                      <a:pt x="63370" y="274551"/>
                      <a:pt x="54612" y="208961"/>
                      <a:pt x="56225" y="142911"/>
                    </a:cubicBezTo>
                    <a:cubicBezTo>
                      <a:pt x="42166" y="142911"/>
                      <a:pt x="27877" y="142451"/>
                      <a:pt x="14049" y="140840"/>
                    </a:cubicBezTo>
                    <a:cubicBezTo>
                      <a:pt x="12896" y="141530"/>
                      <a:pt x="11514" y="141991"/>
                      <a:pt x="10592" y="142681"/>
                    </a:cubicBezTo>
                    <a:cubicBezTo>
                      <a:pt x="5060" y="145903"/>
                      <a:pt x="-3006" y="138999"/>
                      <a:pt x="1142" y="133245"/>
                    </a:cubicBezTo>
                    <a:cubicBezTo>
                      <a:pt x="11744" y="119667"/>
                      <a:pt x="38479" y="119897"/>
                      <a:pt x="53690" y="114604"/>
                    </a:cubicBezTo>
                    <a:cubicBezTo>
                      <a:pt x="88952" y="102407"/>
                      <a:pt x="121910" y="85837"/>
                      <a:pt x="154867" y="68806"/>
                    </a:cubicBezTo>
                    <a:cubicBezTo>
                      <a:pt x="186212" y="52466"/>
                      <a:pt x="218247" y="37507"/>
                      <a:pt x="249592" y="21167"/>
                    </a:cubicBezTo>
                    <a:cubicBezTo>
                      <a:pt x="267569" y="11847"/>
                      <a:pt x="286712" y="1232"/>
                      <a:pt x="306925" y="99"/>
                    </a:cubicBezTo>
                    <a:close/>
                  </a:path>
                </a:pathLst>
              </a:custGeom>
              <a:noFill/>
            </p:spPr>
            <p:txBody>
              <a:bodyPr wrap="square" rtlCol="0" anchor="t">
                <a:spAutoFit/>
              </a:bodyPr>
              <a:p>
                <a:r>
                  <a:rPr lang="en-US" altLang="zh-CN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  </a:t>
                </a:r>
                <a:r>
                  <a:rPr lang="zh-CN" altLang="en-US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职业</a:t>
                </a:r>
                <a:r>
                  <a:rPr lang="zh-CN" altLang="en-US" sz="2000">
                    <a:solidFill>
                      <a:schemeClr val="accent1">
                        <a:lumMod val="40000"/>
                        <a:lumOff val="60000"/>
                      </a:schemeClr>
                    </a:solidFill>
                    <a:sym typeface="+mn-ea"/>
                  </a:rPr>
                  <a:t>机构</a:t>
                </a:r>
                <a:endPara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endParaRPr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26083" y="10993"/>
              <a:ext cx="2255" cy="2865"/>
              <a:chOff x="18456" y="9015"/>
              <a:chExt cx="4507" cy="5446"/>
            </a:xfrm>
          </p:grpSpPr>
          <p:sp>
            <p:nvSpPr>
              <p:cNvPr id="21" name="矩形 10"/>
              <p:cNvSpPr/>
              <p:nvPr/>
            </p:nvSpPr>
            <p:spPr>
              <a:xfrm>
                <a:off x="18456" y="9015"/>
                <a:ext cx="4507" cy="3889"/>
              </a:xfrm>
              <a:custGeom>
                <a:avLst/>
                <a:gdLst>
                  <a:gd name="T0" fmla="*/ 225185 h 604667"/>
                  <a:gd name="T1" fmla="*/ 225185 h 604667"/>
                  <a:gd name="T2" fmla="*/ 225185 h 604667"/>
                  <a:gd name="T3" fmla="*/ 225185 h 604667"/>
                  <a:gd name="T4" fmla="*/ 225185 h 604667"/>
                  <a:gd name="T5" fmla="*/ 225185 h 604667"/>
                  <a:gd name="T6" fmla="*/ 225185 h 604667"/>
                  <a:gd name="T7" fmla="*/ 225185 h 604667"/>
                  <a:gd name="T8" fmla="*/ 225185 h 604667"/>
                  <a:gd name="T9" fmla="*/ 225185 h 604667"/>
                  <a:gd name="T10" fmla="*/ 225185 h 604667"/>
                  <a:gd name="T11" fmla="*/ 225185 h 604667"/>
                  <a:gd name="T12" fmla="*/ 225185 h 604667"/>
                  <a:gd name="T13" fmla="*/ 225185 h 604667"/>
                  <a:gd name="T14" fmla="*/ 225185 h 604667"/>
                  <a:gd name="T15" fmla="*/ 225185 h 604667"/>
                  <a:gd name="T16" fmla="*/ 225185 h 604667"/>
                  <a:gd name="T17" fmla="*/ 225185 h 604667"/>
                  <a:gd name="T18" fmla="*/ 225185 h 604667"/>
                  <a:gd name="T19" fmla="*/ 225185 h 604667"/>
                  <a:gd name="T20" fmla="*/ 225185 h 604667"/>
                  <a:gd name="T21" fmla="*/ 225185 h 604667"/>
                  <a:gd name="T22" fmla="*/ 225185 h 604667"/>
                  <a:gd name="T23" fmla="*/ 225185 h 604667"/>
                  <a:gd name="T24" fmla="*/ 225185 h 604667"/>
                  <a:gd name="T25" fmla="*/ 225185 h 604667"/>
                  <a:gd name="T26" fmla="*/ 225185 h 604667"/>
                  <a:gd name="T27" fmla="*/ 225185 h 604667"/>
                  <a:gd name="T28" fmla="*/ 225185 h 604667"/>
                  <a:gd name="T29" fmla="*/ 225185 h 604667"/>
                  <a:gd name="T30" fmla="*/ 225185 h 604667"/>
                  <a:gd name="T31" fmla="*/ 225185 h 604667"/>
                  <a:gd name="T32" fmla="*/ 225185 h 604667"/>
                  <a:gd name="T33" fmla="*/ 225185 h 604667"/>
                  <a:gd name="T34" fmla="*/ 225185 h 604667"/>
                  <a:gd name="T35" fmla="*/ 225185 h 604667"/>
                  <a:gd name="T36" fmla="*/ 225185 h 604667"/>
                  <a:gd name="T37" fmla="*/ 225185 h 604667"/>
                  <a:gd name="T38" fmla="*/ 225185 h 604667"/>
                  <a:gd name="T39" fmla="*/ 225185 h 604667"/>
                  <a:gd name="T40" fmla="*/ 225185 h 604667"/>
                  <a:gd name="T41" fmla="*/ 225185 h 604667"/>
                  <a:gd name="T42" fmla="*/ 225185 h 604667"/>
                  <a:gd name="T43" fmla="*/ 225185 h 604667"/>
                  <a:gd name="T44" fmla="*/ 225185 h 604667"/>
                  <a:gd name="T45" fmla="*/ 225185 h 604667"/>
                  <a:gd name="T46" fmla="*/ 225185 h 604667"/>
                  <a:gd name="T47" fmla="*/ 225185 h 604667"/>
                  <a:gd name="T48" fmla="*/ 225185 h 604667"/>
                  <a:gd name="T49" fmla="*/ 225185 h 604667"/>
                  <a:gd name="T50" fmla="*/ 225185 h 604667"/>
                  <a:gd name="T51" fmla="*/ 225185 h 604667"/>
                  <a:gd name="T52" fmla="*/ 225185 h 604667"/>
                  <a:gd name="T53" fmla="*/ 225185 h 604667"/>
                  <a:gd name="T54" fmla="*/ 225185 h 604667"/>
                  <a:gd name="T55" fmla="*/ 225185 h 604667"/>
                  <a:gd name="T56" fmla="*/ 225185 h 604667"/>
                  <a:gd name="T57" fmla="*/ 225185 h 604667"/>
                  <a:gd name="T58" fmla="*/ 225185 h 604667"/>
                  <a:gd name="T59" fmla="*/ 225185 h 604667"/>
                  <a:gd name="T60" fmla="*/ 225185 h 604667"/>
                  <a:gd name="T61" fmla="*/ 225185 h 604667"/>
                  <a:gd name="T62" fmla="*/ 225185 h 604667"/>
                  <a:gd name="T63" fmla="*/ 225185 h 604667"/>
                  <a:gd name="T64" fmla="*/ 225185 h 604667"/>
                  <a:gd name="T65" fmla="*/ 225185 h 604667"/>
                  <a:gd name="T66" fmla="*/ 225185 h 604667"/>
                  <a:gd name="T67" fmla="*/ 225185 h 604667"/>
                  <a:gd name="T68" fmla="*/ 225185 h 604667"/>
                  <a:gd name="T69" fmla="*/ 225185 h 604667"/>
                  <a:gd name="T70" fmla="*/ 225185 h 604667"/>
                  <a:gd name="T71" fmla="*/ 225185 h 604667"/>
                  <a:gd name="T72" fmla="*/ 225185 h 604667"/>
                  <a:gd name="T73" fmla="*/ 225185 h 604667"/>
                  <a:gd name="T74" fmla="*/ 225185 h 604667"/>
                  <a:gd name="T75" fmla="*/ 225185 h 604667"/>
                  <a:gd name="T76" fmla="*/ 225185 h 604667"/>
                  <a:gd name="T77" fmla="*/ 225185 h 604667"/>
                  <a:gd name="T78" fmla="*/ 225185 h 604667"/>
                  <a:gd name="T79" fmla="*/ 225185 h 604667"/>
                  <a:gd name="T80" fmla="*/ 225185 h 604667"/>
                  <a:gd name="T81" fmla="*/ 225185 h 604667"/>
                  <a:gd name="T82" fmla="*/ 225185 h 604667"/>
                  <a:gd name="T83" fmla="*/ 225185 h 604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67" h="3077">
                    <a:moveTo>
                      <a:pt x="2453" y="2690"/>
                    </a:moveTo>
                    <a:lnTo>
                      <a:pt x="2453" y="2450"/>
                    </a:lnTo>
                    <a:lnTo>
                      <a:pt x="2320" y="2450"/>
                    </a:lnTo>
                    <a:lnTo>
                      <a:pt x="2320" y="1330"/>
                    </a:lnTo>
                    <a:lnTo>
                      <a:pt x="2400" y="1330"/>
                    </a:lnTo>
                    <a:lnTo>
                      <a:pt x="2400" y="1197"/>
                    </a:lnTo>
                    <a:lnTo>
                      <a:pt x="2533" y="1197"/>
                    </a:lnTo>
                    <a:lnTo>
                      <a:pt x="2533" y="810"/>
                    </a:lnTo>
                    <a:lnTo>
                      <a:pt x="2196" y="810"/>
                    </a:lnTo>
                    <a:lnTo>
                      <a:pt x="1334" y="0"/>
                    </a:lnTo>
                    <a:lnTo>
                      <a:pt x="472" y="810"/>
                    </a:lnTo>
                    <a:lnTo>
                      <a:pt x="133" y="810"/>
                    </a:lnTo>
                    <a:lnTo>
                      <a:pt x="133" y="1197"/>
                    </a:lnTo>
                    <a:lnTo>
                      <a:pt x="267" y="1197"/>
                    </a:lnTo>
                    <a:lnTo>
                      <a:pt x="267" y="1330"/>
                    </a:lnTo>
                    <a:lnTo>
                      <a:pt x="360" y="1330"/>
                    </a:lnTo>
                    <a:lnTo>
                      <a:pt x="360" y="2450"/>
                    </a:lnTo>
                    <a:lnTo>
                      <a:pt x="213" y="2450"/>
                    </a:lnTo>
                    <a:lnTo>
                      <a:pt x="213" y="2690"/>
                    </a:lnTo>
                    <a:lnTo>
                      <a:pt x="0" y="2690"/>
                    </a:lnTo>
                    <a:lnTo>
                      <a:pt x="0" y="3077"/>
                    </a:lnTo>
                    <a:lnTo>
                      <a:pt x="2667" y="3077"/>
                    </a:lnTo>
                    <a:lnTo>
                      <a:pt x="2667" y="2690"/>
                    </a:lnTo>
                    <a:lnTo>
                      <a:pt x="2453" y="2690"/>
                    </a:lnTo>
                    <a:close/>
                    <a:moveTo>
                      <a:pt x="880" y="1197"/>
                    </a:moveTo>
                    <a:lnTo>
                      <a:pt x="1027" y="1197"/>
                    </a:lnTo>
                    <a:lnTo>
                      <a:pt x="1027" y="1330"/>
                    </a:lnTo>
                    <a:lnTo>
                      <a:pt x="1107" y="1330"/>
                    </a:lnTo>
                    <a:lnTo>
                      <a:pt x="1107" y="2450"/>
                    </a:lnTo>
                    <a:lnTo>
                      <a:pt x="800" y="2450"/>
                    </a:lnTo>
                    <a:lnTo>
                      <a:pt x="800" y="1330"/>
                    </a:lnTo>
                    <a:lnTo>
                      <a:pt x="880" y="1330"/>
                    </a:lnTo>
                    <a:lnTo>
                      <a:pt x="880" y="1197"/>
                    </a:lnTo>
                    <a:close/>
                    <a:moveTo>
                      <a:pt x="1880" y="1330"/>
                    </a:moveTo>
                    <a:lnTo>
                      <a:pt x="1880" y="2450"/>
                    </a:lnTo>
                    <a:lnTo>
                      <a:pt x="1560" y="2450"/>
                    </a:lnTo>
                    <a:lnTo>
                      <a:pt x="1560" y="1330"/>
                    </a:lnTo>
                    <a:lnTo>
                      <a:pt x="1627" y="1330"/>
                    </a:lnTo>
                    <a:lnTo>
                      <a:pt x="1627" y="1197"/>
                    </a:lnTo>
                    <a:lnTo>
                      <a:pt x="1787" y="1197"/>
                    </a:lnTo>
                    <a:lnTo>
                      <a:pt x="1787" y="1330"/>
                    </a:lnTo>
                    <a:lnTo>
                      <a:pt x="1880" y="133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indent="0" algn="ctr">
                  <a:buFont typeface="Arial" panose="020B0604020202020204" pitchFamily="34" charset="0"/>
                  <a:buNone/>
                </a:pPr>
                <a:endParaRPr lang="zh-CN" altLang="en-US" b="1">
                  <a:solidFill>
                    <a:srgbClr val="FE0000"/>
                  </a:solidFill>
                </a:endParaRPr>
              </a:p>
            </p:txBody>
          </p:sp>
          <p:sp>
            <p:nvSpPr>
              <p:cNvPr id="22" name="文本框 21"/>
              <p:cNvSpPr txBox="1"/>
              <p:nvPr/>
            </p:nvSpPr>
            <p:spPr>
              <a:xfrm>
                <a:off x="18731" y="13267"/>
                <a:ext cx="4054" cy="1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000">
                    <a:solidFill>
                      <a:schemeClr val="accent1">
                        <a:lumMod val="40000"/>
                        <a:lumOff val="60000"/>
                      </a:schemeClr>
                    </a:solidFill>
                  </a:rPr>
                  <a:t>学分银行</a:t>
                </a:r>
                <a:endPara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1" name="组合 30"/>
            <p:cNvGrpSpPr/>
            <p:nvPr/>
          </p:nvGrpSpPr>
          <p:grpSpPr>
            <a:xfrm>
              <a:off x="22640" y="11791"/>
              <a:ext cx="2856" cy="816"/>
              <a:chOff x="8584" y="11444"/>
              <a:chExt cx="4351" cy="816"/>
            </a:xfrm>
          </p:grpSpPr>
          <p:cxnSp>
            <p:nvCxnSpPr>
              <p:cNvPr id="32" name="直接箭头连接符 31"/>
              <p:cNvCxnSpPr/>
              <p:nvPr/>
            </p:nvCxnSpPr>
            <p:spPr>
              <a:xfrm flipH="1" flipV="1">
                <a:off x="8584" y="11444"/>
                <a:ext cx="4286" cy="19"/>
              </a:xfrm>
              <a:prstGeom prst="straightConnector1">
                <a:avLst/>
              </a:prstGeom>
              <a:ln w="85725">
                <a:solidFill>
                  <a:srgbClr val="FFFF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箭头连接符 32"/>
              <p:cNvCxnSpPr/>
              <p:nvPr/>
            </p:nvCxnSpPr>
            <p:spPr>
              <a:xfrm>
                <a:off x="8628" y="12231"/>
                <a:ext cx="4307" cy="29"/>
              </a:xfrm>
              <a:prstGeom prst="straightConnector1">
                <a:avLst/>
              </a:prstGeom>
              <a:ln w="85725">
                <a:solidFill>
                  <a:srgbClr val="92D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6" name="文本框 35"/>
          <p:cNvSpPr txBox="1"/>
          <p:nvPr/>
        </p:nvSpPr>
        <p:spPr>
          <a:xfrm>
            <a:off x="3811905" y="7516495"/>
            <a:ext cx="6685915" cy="35382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sz="3200">
                <a:ea typeface="宋体" panose="02010600030101010101" pitchFamily="2" charset="-122"/>
              </a:rPr>
              <a:t>学习者需要通过学分银行平台认证学习成果，获取学历和证书</a:t>
            </a:r>
            <a:r>
              <a:rPr lang="zh-CN" sz="3200">
                <a:ea typeface="宋体" panose="02010600030101010101" pitchFamily="2" charset="-122"/>
              </a:rPr>
              <a:t>，以及进一步获取优质教育资源</a:t>
            </a:r>
            <a:r>
              <a:rPr lang="zh-CN" sz="3200">
                <a:ea typeface="宋体" panose="02010600030101010101" pitchFamily="2" charset="-122"/>
              </a:rPr>
              <a:t>。</a:t>
            </a:r>
            <a:endParaRPr lang="zh-CN" sz="3200">
              <a:ea typeface="宋体" panose="02010600030101010101" pitchFamily="2" charset="-122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zh-CN" sz="3200">
              <a:ea typeface="宋体" panose="02010600030101010101" pitchFamily="2" charset="-122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sz="3200">
                <a:ea typeface="宋体" panose="02010600030101010101" pitchFamily="2" charset="-122"/>
              </a:rPr>
              <a:t>学分银行提供具备公信力的认证标准和技术</a:t>
            </a:r>
            <a:r>
              <a:rPr lang="zh-CN" sz="3200">
                <a:ea typeface="宋体" panose="02010600030101010101" pitchFamily="2" charset="-122"/>
              </a:rPr>
              <a:t>平台</a:t>
            </a:r>
            <a:r>
              <a:rPr lang="zh-CN" sz="3200">
                <a:ea typeface="宋体" panose="02010600030101010101" pitchFamily="2" charset="-122"/>
              </a:rPr>
              <a:t>，以及优质的学习资源。</a:t>
            </a:r>
            <a:endParaRPr lang="zh-CN" sz="3200">
              <a:ea typeface="宋体" panose="02010600030101010101" pitchFamily="2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12390755" y="7430135"/>
            <a:ext cx="9357995" cy="50158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sz="3200">
                <a:ea typeface="宋体" panose="02010600030101010101" pitchFamily="2" charset="-122"/>
              </a:rPr>
              <a:t>教育职业</a:t>
            </a:r>
            <a:r>
              <a:rPr lang="zh-CN" sz="3200">
                <a:ea typeface="宋体" panose="02010600030101010101" pitchFamily="2" charset="-122"/>
              </a:rPr>
              <a:t>机构对其教育产品进行</a:t>
            </a:r>
            <a:r>
              <a:rPr lang="en-US" altLang="zh-CN" sz="3200">
                <a:ea typeface="宋体" panose="02010600030101010101" pitchFamily="2" charset="-122"/>
              </a:rPr>
              <a:t>“</a:t>
            </a:r>
            <a:r>
              <a:rPr lang="zh-CN" altLang="en-US" sz="3200">
                <a:ea typeface="宋体" panose="02010600030101010101" pitchFamily="2" charset="-122"/>
              </a:rPr>
              <a:t>上市</a:t>
            </a:r>
            <a:r>
              <a:rPr lang="en-US" altLang="zh-CN" sz="3200">
                <a:ea typeface="宋体" panose="02010600030101010101" pitchFamily="2" charset="-122"/>
              </a:rPr>
              <a:t>”</a:t>
            </a:r>
            <a:r>
              <a:rPr lang="zh-CN" altLang="en-US" sz="3200">
                <a:ea typeface="宋体" panose="02010600030101010101" pitchFamily="2" charset="-122"/>
              </a:rPr>
              <a:t>，需要利用平台的公信力和大量的学习者用户进行产品的推广拓展</a:t>
            </a:r>
            <a:r>
              <a:rPr lang="zh-CN" altLang="en-US" sz="3200">
                <a:ea typeface="宋体" panose="02010600030101010101" pitchFamily="2" charset="-122"/>
              </a:rPr>
              <a:t>。</a:t>
            </a:r>
            <a:endParaRPr lang="zh-CN" sz="3200">
              <a:ea typeface="宋体" panose="02010600030101010101" pitchFamily="2" charset="-122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zh-CN" sz="3200">
              <a:ea typeface="宋体" panose="02010600030101010101" pitchFamily="2" charset="-122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sz="3200">
                <a:ea typeface="宋体" panose="02010600030101010101" pitchFamily="2" charset="-122"/>
              </a:rPr>
              <a:t>学分银行一方面利用</a:t>
            </a:r>
            <a:r>
              <a:rPr lang="zh-CN" altLang="en-US" sz="3200">
                <a:ea typeface="宋体" panose="02010600030101010101" pitchFamily="2" charset="-122"/>
              </a:rPr>
              <a:t>的远程教育技术手段建立</a:t>
            </a:r>
            <a:r>
              <a:rPr lang="en-US" altLang="zh-CN" sz="3200">
                <a:ea typeface="宋体" panose="02010600030101010101" pitchFamily="2" charset="-122"/>
                <a:sym typeface="+mn-ea"/>
              </a:rPr>
              <a:t>“</a:t>
            </a:r>
            <a:r>
              <a:rPr lang="zh-CN" altLang="en-US" sz="3200">
                <a:ea typeface="宋体" panose="02010600030101010101" pitchFamily="2" charset="-122"/>
                <a:sym typeface="+mn-ea"/>
              </a:rPr>
              <a:t>互联网</a:t>
            </a:r>
            <a:r>
              <a:rPr lang="en-US" altLang="zh-CN" sz="3200">
                <a:ea typeface="宋体" panose="02010600030101010101" pitchFamily="2" charset="-122"/>
                <a:sym typeface="+mn-ea"/>
              </a:rPr>
              <a:t>+”</a:t>
            </a:r>
            <a:r>
              <a:rPr lang="zh-CN" altLang="en-US" sz="3200">
                <a:ea typeface="宋体" panose="02010600030101010101" pitchFamily="2" charset="-122"/>
                <a:sym typeface="+mn-ea"/>
              </a:rPr>
              <a:t>资源平台</a:t>
            </a:r>
            <a:r>
              <a:rPr lang="zh-CN" altLang="en-US" sz="3200">
                <a:ea typeface="宋体" panose="02010600030101010101" pitchFamily="2" charset="-122"/>
              </a:rPr>
              <a:t>以及各地</a:t>
            </a:r>
            <a:r>
              <a:rPr lang="en-US" altLang="zh-CN" sz="3200">
                <a:ea typeface="宋体" panose="02010600030101010101" pitchFamily="2" charset="-122"/>
              </a:rPr>
              <a:t>“</a:t>
            </a:r>
            <a:r>
              <a:rPr lang="zh-CN" altLang="en-US" sz="3200">
                <a:ea typeface="宋体" panose="02010600030101010101" pitchFamily="2" charset="-122"/>
              </a:rPr>
              <a:t>分认证中心</a:t>
            </a:r>
            <a:r>
              <a:rPr lang="en-US" altLang="zh-CN" sz="3200">
                <a:ea typeface="宋体" panose="02010600030101010101" pitchFamily="2" charset="-122"/>
              </a:rPr>
              <a:t>”</a:t>
            </a:r>
            <a:r>
              <a:rPr lang="zh-CN" altLang="en-US" sz="3200">
                <a:ea typeface="宋体" panose="02010600030101010101" pitchFamily="2" charset="-122"/>
              </a:rPr>
              <a:t>为教育机构提供产品市场输入入口；其次为教育机构提供大量的学习者用户；学分银行拥有海量的用户学习行为信息，可辅助教育机构精准营销方案制定、学习资源规划</a:t>
            </a:r>
            <a:r>
              <a:rPr lang="zh-CN" altLang="en-US" sz="3200">
                <a:ea typeface="宋体" panose="02010600030101010101" pitchFamily="2" charset="-122"/>
              </a:rPr>
              <a:t>等</a:t>
            </a:r>
            <a:r>
              <a:rPr lang="zh-CN" sz="3200">
                <a:ea typeface="宋体" panose="02010600030101010101" pitchFamily="2" charset="-122"/>
              </a:rPr>
              <a:t>。</a:t>
            </a:r>
            <a:endParaRPr lang="zh-CN" sz="3200">
              <a:ea typeface="宋体" panose="02010600030101010101" pitchFamily="2" charset="-122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7952740" y="463042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商业模式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en-US" altLang="zh-CN" sz="2800">
                <a:latin typeface="仿宋" panose="02010609060101010101" charset="-122"/>
                <a:ea typeface="仿宋" panose="02010609060101010101" charset="-122"/>
                <a:sym typeface="+mn-ea"/>
              </a:rPr>
              <a:t>--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  <a:sym typeface="+mn-ea"/>
              </a:rPr>
              <a:t>盈利</a:t>
            </a:r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  <a:p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 rot="0">
            <a:off x="4705985" y="4935220"/>
            <a:ext cx="1611630" cy="1868805"/>
            <a:chOff x="11730" y="13681"/>
            <a:chExt cx="1952" cy="2596"/>
          </a:xfrm>
        </p:grpSpPr>
        <p:sp>
          <p:nvSpPr>
            <p:cNvPr id="5" name="Freeform 28"/>
            <p:cNvSpPr/>
            <p:nvPr/>
          </p:nvSpPr>
          <p:spPr bwMode="auto">
            <a:xfrm>
              <a:off x="12092" y="14398"/>
              <a:ext cx="1137" cy="936"/>
            </a:xfrm>
            <a:custGeom>
              <a:avLst/>
              <a:gdLst>
                <a:gd name="T0" fmla="*/ 393 w 661"/>
                <a:gd name="T1" fmla="*/ 0 h 547"/>
                <a:gd name="T2" fmla="*/ 393 w 661"/>
                <a:gd name="T3" fmla="*/ 14 h 547"/>
                <a:gd name="T4" fmla="*/ 387 w 661"/>
                <a:gd name="T5" fmla="*/ 46 h 547"/>
                <a:gd name="T6" fmla="*/ 377 w 661"/>
                <a:gd name="T7" fmla="*/ 66 h 547"/>
                <a:gd name="T8" fmla="*/ 369 w 661"/>
                <a:gd name="T9" fmla="*/ 74 h 547"/>
                <a:gd name="T10" fmla="*/ 387 w 661"/>
                <a:gd name="T11" fmla="*/ 198 h 547"/>
                <a:gd name="T12" fmla="*/ 395 w 661"/>
                <a:gd name="T13" fmla="*/ 297 h 547"/>
                <a:gd name="T14" fmla="*/ 395 w 661"/>
                <a:gd name="T15" fmla="*/ 361 h 547"/>
                <a:gd name="T16" fmla="*/ 393 w 661"/>
                <a:gd name="T17" fmla="*/ 377 h 547"/>
                <a:gd name="T18" fmla="*/ 377 w 661"/>
                <a:gd name="T19" fmla="*/ 425 h 547"/>
                <a:gd name="T20" fmla="*/ 359 w 661"/>
                <a:gd name="T21" fmla="*/ 459 h 547"/>
                <a:gd name="T22" fmla="*/ 339 w 661"/>
                <a:gd name="T23" fmla="*/ 481 h 547"/>
                <a:gd name="T24" fmla="*/ 327 w 661"/>
                <a:gd name="T25" fmla="*/ 485 h 547"/>
                <a:gd name="T26" fmla="*/ 323 w 661"/>
                <a:gd name="T27" fmla="*/ 483 h 547"/>
                <a:gd name="T28" fmla="*/ 307 w 661"/>
                <a:gd name="T29" fmla="*/ 471 h 547"/>
                <a:gd name="T30" fmla="*/ 289 w 661"/>
                <a:gd name="T31" fmla="*/ 441 h 547"/>
                <a:gd name="T32" fmla="*/ 275 w 661"/>
                <a:gd name="T33" fmla="*/ 407 h 547"/>
                <a:gd name="T34" fmla="*/ 269 w 661"/>
                <a:gd name="T35" fmla="*/ 377 h 547"/>
                <a:gd name="T36" fmla="*/ 265 w 661"/>
                <a:gd name="T37" fmla="*/ 341 h 547"/>
                <a:gd name="T38" fmla="*/ 273 w 661"/>
                <a:gd name="T39" fmla="*/ 247 h 547"/>
                <a:gd name="T40" fmla="*/ 295 w 661"/>
                <a:gd name="T41" fmla="*/ 112 h 547"/>
                <a:gd name="T42" fmla="*/ 303 w 661"/>
                <a:gd name="T43" fmla="*/ 74 h 547"/>
                <a:gd name="T44" fmla="*/ 293 w 661"/>
                <a:gd name="T45" fmla="*/ 66 h 547"/>
                <a:gd name="T46" fmla="*/ 285 w 661"/>
                <a:gd name="T47" fmla="*/ 48 h 547"/>
                <a:gd name="T48" fmla="*/ 279 w 661"/>
                <a:gd name="T49" fmla="*/ 20 h 547"/>
                <a:gd name="T50" fmla="*/ 174 w 661"/>
                <a:gd name="T51" fmla="*/ 0 h 547"/>
                <a:gd name="T52" fmla="*/ 174 w 661"/>
                <a:gd name="T53" fmla="*/ 0 h 547"/>
                <a:gd name="T54" fmla="*/ 138 w 661"/>
                <a:gd name="T55" fmla="*/ 4 h 547"/>
                <a:gd name="T56" fmla="*/ 106 w 661"/>
                <a:gd name="T57" fmla="*/ 16 h 547"/>
                <a:gd name="T58" fmla="*/ 74 w 661"/>
                <a:gd name="T59" fmla="*/ 32 h 547"/>
                <a:gd name="T60" fmla="*/ 48 w 661"/>
                <a:gd name="T61" fmla="*/ 54 h 547"/>
                <a:gd name="T62" fmla="*/ 26 w 661"/>
                <a:gd name="T63" fmla="*/ 80 h 547"/>
                <a:gd name="T64" fmla="*/ 10 w 661"/>
                <a:gd name="T65" fmla="*/ 112 h 547"/>
                <a:gd name="T66" fmla="*/ 2 w 661"/>
                <a:gd name="T67" fmla="*/ 146 h 547"/>
                <a:gd name="T68" fmla="*/ 2 w 661"/>
                <a:gd name="T69" fmla="*/ 182 h 547"/>
                <a:gd name="T70" fmla="*/ 26 w 661"/>
                <a:gd name="T71" fmla="*/ 367 h 547"/>
                <a:gd name="T72" fmla="*/ 48 w 661"/>
                <a:gd name="T73" fmla="*/ 437 h 547"/>
                <a:gd name="T74" fmla="*/ 64 w 661"/>
                <a:gd name="T75" fmla="*/ 467 h 547"/>
                <a:gd name="T76" fmla="*/ 84 w 661"/>
                <a:gd name="T77" fmla="*/ 495 h 547"/>
                <a:gd name="T78" fmla="*/ 108 w 661"/>
                <a:gd name="T79" fmla="*/ 515 h 547"/>
                <a:gd name="T80" fmla="*/ 134 w 661"/>
                <a:gd name="T81" fmla="*/ 533 h 547"/>
                <a:gd name="T82" fmla="*/ 164 w 661"/>
                <a:gd name="T83" fmla="*/ 543 h 547"/>
                <a:gd name="T84" fmla="*/ 200 w 661"/>
                <a:gd name="T85" fmla="*/ 547 h 547"/>
                <a:gd name="T86" fmla="*/ 463 w 661"/>
                <a:gd name="T87" fmla="*/ 547 h 547"/>
                <a:gd name="T88" fmla="*/ 497 w 661"/>
                <a:gd name="T89" fmla="*/ 543 h 547"/>
                <a:gd name="T90" fmla="*/ 527 w 661"/>
                <a:gd name="T91" fmla="*/ 531 h 547"/>
                <a:gd name="T92" fmla="*/ 555 w 661"/>
                <a:gd name="T93" fmla="*/ 515 h 547"/>
                <a:gd name="T94" fmla="*/ 577 w 661"/>
                <a:gd name="T95" fmla="*/ 493 h 547"/>
                <a:gd name="T96" fmla="*/ 597 w 661"/>
                <a:gd name="T97" fmla="*/ 465 h 547"/>
                <a:gd name="T98" fmla="*/ 613 w 661"/>
                <a:gd name="T99" fmla="*/ 435 h 547"/>
                <a:gd name="T100" fmla="*/ 635 w 661"/>
                <a:gd name="T101" fmla="*/ 365 h 547"/>
                <a:gd name="T102" fmla="*/ 661 w 661"/>
                <a:gd name="T103" fmla="*/ 180 h 547"/>
                <a:gd name="T104" fmla="*/ 661 w 661"/>
                <a:gd name="T105" fmla="*/ 144 h 547"/>
                <a:gd name="T106" fmla="*/ 651 w 661"/>
                <a:gd name="T107" fmla="*/ 110 h 547"/>
                <a:gd name="T108" fmla="*/ 637 w 661"/>
                <a:gd name="T109" fmla="*/ 80 h 547"/>
                <a:gd name="T110" fmla="*/ 615 w 661"/>
                <a:gd name="T111" fmla="*/ 54 h 547"/>
                <a:gd name="T112" fmla="*/ 587 w 661"/>
                <a:gd name="T113" fmla="*/ 32 h 547"/>
                <a:gd name="T114" fmla="*/ 557 w 661"/>
                <a:gd name="T115" fmla="*/ 14 h 547"/>
                <a:gd name="T116" fmla="*/ 523 w 661"/>
                <a:gd name="T117" fmla="*/ 4 h 547"/>
                <a:gd name="T118" fmla="*/ 487 w 661"/>
                <a:gd name="T119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547">
                  <a:moveTo>
                    <a:pt x="487" y="0"/>
                  </a:moveTo>
                  <a:lnTo>
                    <a:pt x="393" y="0"/>
                  </a:lnTo>
                  <a:lnTo>
                    <a:pt x="393" y="0"/>
                  </a:lnTo>
                  <a:lnTo>
                    <a:pt x="393" y="14"/>
                  </a:lnTo>
                  <a:lnTo>
                    <a:pt x="391" y="34"/>
                  </a:lnTo>
                  <a:lnTo>
                    <a:pt x="387" y="46"/>
                  </a:lnTo>
                  <a:lnTo>
                    <a:pt x="383" y="56"/>
                  </a:lnTo>
                  <a:lnTo>
                    <a:pt x="377" y="66"/>
                  </a:lnTo>
                  <a:lnTo>
                    <a:pt x="369" y="74"/>
                  </a:lnTo>
                  <a:lnTo>
                    <a:pt x="369" y="74"/>
                  </a:lnTo>
                  <a:lnTo>
                    <a:pt x="375" y="112"/>
                  </a:lnTo>
                  <a:lnTo>
                    <a:pt x="387" y="198"/>
                  </a:lnTo>
                  <a:lnTo>
                    <a:pt x="393" y="249"/>
                  </a:lnTo>
                  <a:lnTo>
                    <a:pt x="395" y="297"/>
                  </a:lnTo>
                  <a:lnTo>
                    <a:pt x="397" y="343"/>
                  </a:lnTo>
                  <a:lnTo>
                    <a:pt x="395" y="361"/>
                  </a:lnTo>
                  <a:lnTo>
                    <a:pt x="393" y="377"/>
                  </a:lnTo>
                  <a:lnTo>
                    <a:pt x="393" y="377"/>
                  </a:lnTo>
                  <a:lnTo>
                    <a:pt x="383" y="407"/>
                  </a:lnTo>
                  <a:lnTo>
                    <a:pt x="377" y="425"/>
                  </a:lnTo>
                  <a:lnTo>
                    <a:pt x="369" y="443"/>
                  </a:lnTo>
                  <a:lnTo>
                    <a:pt x="359" y="459"/>
                  </a:lnTo>
                  <a:lnTo>
                    <a:pt x="349" y="473"/>
                  </a:lnTo>
                  <a:lnTo>
                    <a:pt x="339" y="481"/>
                  </a:lnTo>
                  <a:lnTo>
                    <a:pt x="333" y="483"/>
                  </a:lnTo>
                  <a:lnTo>
                    <a:pt x="327" y="485"/>
                  </a:lnTo>
                  <a:lnTo>
                    <a:pt x="327" y="485"/>
                  </a:lnTo>
                  <a:lnTo>
                    <a:pt x="323" y="483"/>
                  </a:lnTo>
                  <a:lnTo>
                    <a:pt x="317" y="481"/>
                  </a:lnTo>
                  <a:lnTo>
                    <a:pt x="307" y="471"/>
                  </a:lnTo>
                  <a:lnTo>
                    <a:pt x="297" y="459"/>
                  </a:lnTo>
                  <a:lnTo>
                    <a:pt x="289" y="441"/>
                  </a:lnTo>
                  <a:lnTo>
                    <a:pt x="281" y="423"/>
                  </a:lnTo>
                  <a:lnTo>
                    <a:pt x="275" y="407"/>
                  </a:lnTo>
                  <a:lnTo>
                    <a:pt x="269" y="377"/>
                  </a:lnTo>
                  <a:lnTo>
                    <a:pt x="269" y="377"/>
                  </a:lnTo>
                  <a:lnTo>
                    <a:pt x="265" y="361"/>
                  </a:lnTo>
                  <a:lnTo>
                    <a:pt x="265" y="341"/>
                  </a:lnTo>
                  <a:lnTo>
                    <a:pt x="267" y="297"/>
                  </a:lnTo>
                  <a:lnTo>
                    <a:pt x="273" y="247"/>
                  </a:lnTo>
                  <a:lnTo>
                    <a:pt x="279" y="198"/>
                  </a:lnTo>
                  <a:lnTo>
                    <a:pt x="295" y="112"/>
                  </a:lnTo>
                  <a:lnTo>
                    <a:pt x="303" y="74"/>
                  </a:lnTo>
                  <a:lnTo>
                    <a:pt x="303" y="74"/>
                  </a:lnTo>
                  <a:lnTo>
                    <a:pt x="297" y="70"/>
                  </a:lnTo>
                  <a:lnTo>
                    <a:pt x="293" y="66"/>
                  </a:lnTo>
                  <a:lnTo>
                    <a:pt x="289" y="58"/>
                  </a:lnTo>
                  <a:lnTo>
                    <a:pt x="285" y="48"/>
                  </a:lnTo>
                  <a:lnTo>
                    <a:pt x="283" y="36"/>
                  </a:lnTo>
                  <a:lnTo>
                    <a:pt x="279" y="20"/>
                  </a:lnTo>
                  <a:lnTo>
                    <a:pt x="277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56" y="2"/>
                  </a:lnTo>
                  <a:lnTo>
                    <a:pt x="138" y="4"/>
                  </a:lnTo>
                  <a:lnTo>
                    <a:pt x="122" y="8"/>
                  </a:lnTo>
                  <a:lnTo>
                    <a:pt x="106" y="16"/>
                  </a:lnTo>
                  <a:lnTo>
                    <a:pt x="90" y="22"/>
                  </a:lnTo>
                  <a:lnTo>
                    <a:pt x="74" y="32"/>
                  </a:lnTo>
                  <a:lnTo>
                    <a:pt x="60" y="42"/>
                  </a:lnTo>
                  <a:lnTo>
                    <a:pt x="48" y="54"/>
                  </a:lnTo>
                  <a:lnTo>
                    <a:pt x="36" y="68"/>
                  </a:lnTo>
                  <a:lnTo>
                    <a:pt x="26" y="80"/>
                  </a:lnTo>
                  <a:lnTo>
                    <a:pt x="16" y="96"/>
                  </a:lnTo>
                  <a:lnTo>
                    <a:pt x="10" y="112"/>
                  </a:lnTo>
                  <a:lnTo>
                    <a:pt x="4" y="128"/>
                  </a:lnTo>
                  <a:lnTo>
                    <a:pt x="2" y="146"/>
                  </a:lnTo>
                  <a:lnTo>
                    <a:pt x="0" y="164"/>
                  </a:lnTo>
                  <a:lnTo>
                    <a:pt x="2" y="182"/>
                  </a:lnTo>
                  <a:lnTo>
                    <a:pt x="26" y="367"/>
                  </a:lnTo>
                  <a:lnTo>
                    <a:pt x="26" y="367"/>
                  </a:lnTo>
                  <a:lnTo>
                    <a:pt x="34" y="403"/>
                  </a:lnTo>
                  <a:lnTo>
                    <a:pt x="48" y="437"/>
                  </a:lnTo>
                  <a:lnTo>
                    <a:pt x="56" y="453"/>
                  </a:lnTo>
                  <a:lnTo>
                    <a:pt x="64" y="467"/>
                  </a:lnTo>
                  <a:lnTo>
                    <a:pt x="74" y="481"/>
                  </a:lnTo>
                  <a:lnTo>
                    <a:pt x="84" y="495"/>
                  </a:lnTo>
                  <a:lnTo>
                    <a:pt x="96" y="505"/>
                  </a:lnTo>
                  <a:lnTo>
                    <a:pt x="108" y="515"/>
                  </a:lnTo>
                  <a:lnTo>
                    <a:pt x="120" y="525"/>
                  </a:lnTo>
                  <a:lnTo>
                    <a:pt x="134" y="533"/>
                  </a:lnTo>
                  <a:lnTo>
                    <a:pt x="150" y="539"/>
                  </a:lnTo>
                  <a:lnTo>
                    <a:pt x="164" y="543"/>
                  </a:lnTo>
                  <a:lnTo>
                    <a:pt x="182" y="545"/>
                  </a:lnTo>
                  <a:lnTo>
                    <a:pt x="200" y="547"/>
                  </a:lnTo>
                  <a:lnTo>
                    <a:pt x="463" y="547"/>
                  </a:lnTo>
                  <a:lnTo>
                    <a:pt x="463" y="547"/>
                  </a:lnTo>
                  <a:lnTo>
                    <a:pt x="479" y="545"/>
                  </a:lnTo>
                  <a:lnTo>
                    <a:pt x="497" y="543"/>
                  </a:lnTo>
                  <a:lnTo>
                    <a:pt x="513" y="537"/>
                  </a:lnTo>
                  <a:lnTo>
                    <a:pt x="527" y="531"/>
                  </a:lnTo>
                  <a:lnTo>
                    <a:pt x="541" y="525"/>
                  </a:lnTo>
                  <a:lnTo>
                    <a:pt x="555" y="515"/>
                  </a:lnTo>
                  <a:lnTo>
                    <a:pt x="567" y="505"/>
                  </a:lnTo>
                  <a:lnTo>
                    <a:pt x="577" y="493"/>
                  </a:lnTo>
                  <a:lnTo>
                    <a:pt x="589" y="479"/>
                  </a:lnTo>
                  <a:lnTo>
                    <a:pt x="597" y="465"/>
                  </a:lnTo>
                  <a:lnTo>
                    <a:pt x="607" y="451"/>
                  </a:lnTo>
                  <a:lnTo>
                    <a:pt x="613" y="435"/>
                  </a:lnTo>
                  <a:lnTo>
                    <a:pt x="627" y="401"/>
                  </a:lnTo>
                  <a:lnTo>
                    <a:pt x="635" y="365"/>
                  </a:lnTo>
                  <a:lnTo>
                    <a:pt x="661" y="180"/>
                  </a:lnTo>
                  <a:lnTo>
                    <a:pt x="661" y="180"/>
                  </a:lnTo>
                  <a:lnTo>
                    <a:pt x="661" y="162"/>
                  </a:lnTo>
                  <a:lnTo>
                    <a:pt x="661" y="144"/>
                  </a:lnTo>
                  <a:lnTo>
                    <a:pt x="657" y="126"/>
                  </a:lnTo>
                  <a:lnTo>
                    <a:pt x="651" y="110"/>
                  </a:lnTo>
                  <a:lnTo>
                    <a:pt x="645" y="94"/>
                  </a:lnTo>
                  <a:lnTo>
                    <a:pt x="637" y="80"/>
                  </a:lnTo>
                  <a:lnTo>
                    <a:pt x="625" y="66"/>
                  </a:lnTo>
                  <a:lnTo>
                    <a:pt x="615" y="54"/>
                  </a:lnTo>
                  <a:lnTo>
                    <a:pt x="601" y="42"/>
                  </a:lnTo>
                  <a:lnTo>
                    <a:pt x="587" y="32"/>
                  </a:lnTo>
                  <a:lnTo>
                    <a:pt x="573" y="22"/>
                  </a:lnTo>
                  <a:lnTo>
                    <a:pt x="557" y="14"/>
                  </a:lnTo>
                  <a:lnTo>
                    <a:pt x="539" y="8"/>
                  </a:lnTo>
                  <a:lnTo>
                    <a:pt x="523" y="4"/>
                  </a:lnTo>
                  <a:lnTo>
                    <a:pt x="505" y="2"/>
                  </a:lnTo>
                  <a:lnTo>
                    <a:pt x="487" y="0"/>
                  </a:lnTo>
                  <a:lnTo>
                    <a:pt x="487" y="0"/>
                  </a:lnTo>
                  <a:close/>
                </a:path>
              </a:pathLst>
            </a:custGeom>
            <a:solidFill>
              <a:srgbClr val="1EB9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7" name="Freeform 29"/>
            <p:cNvSpPr/>
            <p:nvPr/>
          </p:nvSpPr>
          <p:spPr bwMode="auto">
            <a:xfrm>
              <a:off x="12357" y="13681"/>
              <a:ext cx="607" cy="618"/>
            </a:xfrm>
            <a:custGeom>
              <a:avLst/>
              <a:gdLst>
                <a:gd name="T0" fmla="*/ 353 w 353"/>
                <a:gd name="T1" fmla="*/ 181 h 361"/>
                <a:gd name="T2" fmla="*/ 349 w 353"/>
                <a:gd name="T3" fmla="*/ 217 h 361"/>
                <a:gd name="T4" fmla="*/ 339 w 353"/>
                <a:gd name="T5" fmla="*/ 251 h 361"/>
                <a:gd name="T6" fmla="*/ 323 w 353"/>
                <a:gd name="T7" fmla="*/ 283 h 361"/>
                <a:gd name="T8" fmla="*/ 301 w 353"/>
                <a:gd name="T9" fmla="*/ 309 h 361"/>
                <a:gd name="T10" fmla="*/ 275 w 353"/>
                <a:gd name="T11" fmla="*/ 331 h 361"/>
                <a:gd name="T12" fmla="*/ 245 w 353"/>
                <a:gd name="T13" fmla="*/ 347 h 361"/>
                <a:gd name="T14" fmla="*/ 211 w 353"/>
                <a:gd name="T15" fmla="*/ 359 h 361"/>
                <a:gd name="T16" fmla="*/ 177 w 353"/>
                <a:gd name="T17" fmla="*/ 361 h 361"/>
                <a:gd name="T18" fmla="*/ 159 w 353"/>
                <a:gd name="T19" fmla="*/ 361 h 361"/>
                <a:gd name="T20" fmla="*/ 123 w 353"/>
                <a:gd name="T21" fmla="*/ 353 h 361"/>
                <a:gd name="T22" fmla="*/ 94 w 353"/>
                <a:gd name="T23" fmla="*/ 341 h 361"/>
                <a:gd name="T24" fmla="*/ 66 w 353"/>
                <a:gd name="T25" fmla="*/ 321 h 361"/>
                <a:gd name="T26" fmla="*/ 42 w 353"/>
                <a:gd name="T27" fmla="*/ 295 h 361"/>
                <a:gd name="T28" fmla="*/ 22 w 353"/>
                <a:gd name="T29" fmla="*/ 267 h 361"/>
                <a:gd name="T30" fmla="*/ 8 w 353"/>
                <a:gd name="T31" fmla="*/ 235 h 361"/>
                <a:gd name="T32" fmla="*/ 2 w 353"/>
                <a:gd name="T33" fmla="*/ 199 h 361"/>
                <a:gd name="T34" fmla="*/ 0 w 353"/>
                <a:gd name="T35" fmla="*/ 181 h 361"/>
                <a:gd name="T36" fmla="*/ 4 w 353"/>
                <a:gd name="T37" fmla="*/ 146 h 361"/>
                <a:gd name="T38" fmla="*/ 14 w 353"/>
                <a:gd name="T39" fmla="*/ 112 h 361"/>
                <a:gd name="T40" fmla="*/ 32 w 353"/>
                <a:gd name="T41" fmla="*/ 80 h 361"/>
                <a:gd name="T42" fmla="*/ 52 w 353"/>
                <a:gd name="T43" fmla="*/ 54 h 361"/>
                <a:gd name="T44" fmla="*/ 78 w 353"/>
                <a:gd name="T45" fmla="*/ 32 h 361"/>
                <a:gd name="T46" fmla="*/ 108 w 353"/>
                <a:gd name="T47" fmla="*/ 14 h 361"/>
                <a:gd name="T48" fmla="*/ 141 w 353"/>
                <a:gd name="T49" fmla="*/ 4 h 361"/>
                <a:gd name="T50" fmla="*/ 177 w 353"/>
                <a:gd name="T51" fmla="*/ 0 h 361"/>
                <a:gd name="T52" fmla="*/ 195 w 353"/>
                <a:gd name="T53" fmla="*/ 2 h 361"/>
                <a:gd name="T54" fmla="*/ 229 w 353"/>
                <a:gd name="T55" fmla="*/ 8 h 361"/>
                <a:gd name="T56" fmla="*/ 261 w 353"/>
                <a:gd name="T57" fmla="*/ 22 h 361"/>
                <a:gd name="T58" fmla="*/ 289 w 353"/>
                <a:gd name="T59" fmla="*/ 42 h 361"/>
                <a:gd name="T60" fmla="*/ 313 w 353"/>
                <a:gd name="T61" fmla="*/ 66 h 361"/>
                <a:gd name="T62" fmla="*/ 331 w 353"/>
                <a:gd name="T63" fmla="*/ 96 h 361"/>
                <a:gd name="T64" fmla="*/ 345 w 353"/>
                <a:gd name="T65" fmla="*/ 128 h 361"/>
                <a:gd name="T66" fmla="*/ 351 w 353"/>
                <a:gd name="T67" fmla="*/ 163 h 361"/>
                <a:gd name="T68" fmla="*/ 353 w 353"/>
                <a:gd name="T69" fmla="*/ 18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61">
                  <a:moveTo>
                    <a:pt x="353" y="181"/>
                  </a:moveTo>
                  <a:lnTo>
                    <a:pt x="353" y="181"/>
                  </a:lnTo>
                  <a:lnTo>
                    <a:pt x="351" y="199"/>
                  </a:lnTo>
                  <a:lnTo>
                    <a:pt x="349" y="217"/>
                  </a:lnTo>
                  <a:lnTo>
                    <a:pt x="345" y="235"/>
                  </a:lnTo>
                  <a:lnTo>
                    <a:pt x="339" y="251"/>
                  </a:lnTo>
                  <a:lnTo>
                    <a:pt x="331" y="267"/>
                  </a:lnTo>
                  <a:lnTo>
                    <a:pt x="323" y="283"/>
                  </a:lnTo>
                  <a:lnTo>
                    <a:pt x="313" y="295"/>
                  </a:lnTo>
                  <a:lnTo>
                    <a:pt x="301" y="309"/>
                  </a:lnTo>
                  <a:lnTo>
                    <a:pt x="289" y="321"/>
                  </a:lnTo>
                  <a:lnTo>
                    <a:pt x="275" y="331"/>
                  </a:lnTo>
                  <a:lnTo>
                    <a:pt x="261" y="341"/>
                  </a:lnTo>
                  <a:lnTo>
                    <a:pt x="245" y="347"/>
                  </a:lnTo>
                  <a:lnTo>
                    <a:pt x="229" y="353"/>
                  </a:lnTo>
                  <a:lnTo>
                    <a:pt x="211" y="359"/>
                  </a:lnTo>
                  <a:lnTo>
                    <a:pt x="195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59" y="361"/>
                  </a:lnTo>
                  <a:lnTo>
                    <a:pt x="141" y="359"/>
                  </a:lnTo>
                  <a:lnTo>
                    <a:pt x="123" y="353"/>
                  </a:lnTo>
                  <a:lnTo>
                    <a:pt x="108" y="347"/>
                  </a:lnTo>
                  <a:lnTo>
                    <a:pt x="94" y="341"/>
                  </a:lnTo>
                  <a:lnTo>
                    <a:pt x="78" y="331"/>
                  </a:lnTo>
                  <a:lnTo>
                    <a:pt x="66" y="321"/>
                  </a:lnTo>
                  <a:lnTo>
                    <a:pt x="52" y="309"/>
                  </a:lnTo>
                  <a:lnTo>
                    <a:pt x="42" y="295"/>
                  </a:lnTo>
                  <a:lnTo>
                    <a:pt x="32" y="283"/>
                  </a:lnTo>
                  <a:lnTo>
                    <a:pt x="22" y="267"/>
                  </a:lnTo>
                  <a:lnTo>
                    <a:pt x="14" y="251"/>
                  </a:lnTo>
                  <a:lnTo>
                    <a:pt x="8" y="235"/>
                  </a:lnTo>
                  <a:lnTo>
                    <a:pt x="4" y="217"/>
                  </a:lnTo>
                  <a:lnTo>
                    <a:pt x="2" y="19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2" y="163"/>
                  </a:lnTo>
                  <a:lnTo>
                    <a:pt x="4" y="146"/>
                  </a:lnTo>
                  <a:lnTo>
                    <a:pt x="8" y="128"/>
                  </a:lnTo>
                  <a:lnTo>
                    <a:pt x="14" y="112"/>
                  </a:lnTo>
                  <a:lnTo>
                    <a:pt x="22" y="96"/>
                  </a:lnTo>
                  <a:lnTo>
                    <a:pt x="32" y="80"/>
                  </a:lnTo>
                  <a:lnTo>
                    <a:pt x="42" y="66"/>
                  </a:lnTo>
                  <a:lnTo>
                    <a:pt x="52" y="54"/>
                  </a:lnTo>
                  <a:lnTo>
                    <a:pt x="66" y="42"/>
                  </a:lnTo>
                  <a:lnTo>
                    <a:pt x="78" y="32"/>
                  </a:lnTo>
                  <a:lnTo>
                    <a:pt x="94" y="22"/>
                  </a:lnTo>
                  <a:lnTo>
                    <a:pt x="108" y="14"/>
                  </a:lnTo>
                  <a:lnTo>
                    <a:pt x="123" y="8"/>
                  </a:lnTo>
                  <a:lnTo>
                    <a:pt x="141" y="4"/>
                  </a:lnTo>
                  <a:lnTo>
                    <a:pt x="159" y="2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95" y="2"/>
                  </a:lnTo>
                  <a:lnTo>
                    <a:pt x="211" y="4"/>
                  </a:lnTo>
                  <a:lnTo>
                    <a:pt x="229" y="8"/>
                  </a:lnTo>
                  <a:lnTo>
                    <a:pt x="245" y="14"/>
                  </a:lnTo>
                  <a:lnTo>
                    <a:pt x="261" y="22"/>
                  </a:lnTo>
                  <a:lnTo>
                    <a:pt x="275" y="32"/>
                  </a:lnTo>
                  <a:lnTo>
                    <a:pt x="289" y="42"/>
                  </a:lnTo>
                  <a:lnTo>
                    <a:pt x="301" y="54"/>
                  </a:lnTo>
                  <a:lnTo>
                    <a:pt x="313" y="66"/>
                  </a:lnTo>
                  <a:lnTo>
                    <a:pt x="323" y="80"/>
                  </a:lnTo>
                  <a:lnTo>
                    <a:pt x="331" y="96"/>
                  </a:lnTo>
                  <a:lnTo>
                    <a:pt x="339" y="112"/>
                  </a:lnTo>
                  <a:lnTo>
                    <a:pt x="345" y="128"/>
                  </a:lnTo>
                  <a:lnTo>
                    <a:pt x="349" y="146"/>
                  </a:lnTo>
                  <a:lnTo>
                    <a:pt x="351" y="163"/>
                  </a:lnTo>
                  <a:lnTo>
                    <a:pt x="353" y="181"/>
                  </a:lnTo>
                  <a:lnTo>
                    <a:pt x="353" y="181"/>
                  </a:lnTo>
                  <a:close/>
                </a:path>
              </a:pathLst>
            </a:custGeom>
            <a:solidFill>
              <a:srgbClr val="1EB9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1730" y="15723"/>
              <a:ext cx="1952" cy="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    </a:t>
              </a:r>
              <a:r>
                <a: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学习者</a:t>
              </a:r>
              <a:endParaRPr lang="zh-CN" altLang="en-US" sz="200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3959860" y="7618095"/>
            <a:ext cx="33832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学习成果认证费用。</a:t>
            </a:r>
            <a:endParaRPr lang="zh-CN" altLang="en-US" sz="28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10730230" y="1574800"/>
            <a:ext cx="1431290" cy="1839595"/>
            <a:chOff x="13012" y="2543"/>
            <a:chExt cx="2254" cy="2897"/>
          </a:xfrm>
        </p:grpSpPr>
        <p:sp>
          <p:nvSpPr>
            <p:cNvPr id="14" name="矩形 10"/>
            <p:cNvSpPr/>
            <p:nvPr/>
          </p:nvSpPr>
          <p:spPr>
            <a:xfrm>
              <a:off x="13012" y="2543"/>
              <a:ext cx="2255" cy="2046"/>
            </a:xfrm>
            <a:custGeom>
              <a:avLst/>
              <a:gdLst>
                <a:gd name="T0" fmla="*/ 225185 h 604667"/>
                <a:gd name="T1" fmla="*/ 225185 h 604667"/>
                <a:gd name="T2" fmla="*/ 225185 h 604667"/>
                <a:gd name="T3" fmla="*/ 225185 h 604667"/>
                <a:gd name="T4" fmla="*/ 225185 h 604667"/>
                <a:gd name="T5" fmla="*/ 225185 h 604667"/>
                <a:gd name="T6" fmla="*/ 225185 h 604667"/>
                <a:gd name="T7" fmla="*/ 225185 h 604667"/>
                <a:gd name="T8" fmla="*/ 225185 h 604667"/>
                <a:gd name="T9" fmla="*/ 225185 h 604667"/>
                <a:gd name="T10" fmla="*/ 225185 h 604667"/>
                <a:gd name="T11" fmla="*/ 225185 h 604667"/>
                <a:gd name="T12" fmla="*/ 225185 h 604667"/>
                <a:gd name="T13" fmla="*/ 225185 h 604667"/>
                <a:gd name="T14" fmla="*/ 225185 h 604667"/>
                <a:gd name="T15" fmla="*/ 225185 h 604667"/>
                <a:gd name="T16" fmla="*/ 225185 h 604667"/>
                <a:gd name="T17" fmla="*/ 225185 h 604667"/>
                <a:gd name="T18" fmla="*/ 225185 h 604667"/>
                <a:gd name="T19" fmla="*/ 225185 h 604667"/>
                <a:gd name="T20" fmla="*/ 225185 h 604667"/>
                <a:gd name="T21" fmla="*/ 225185 h 604667"/>
                <a:gd name="T22" fmla="*/ 225185 h 604667"/>
                <a:gd name="T23" fmla="*/ 225185 h 604667"/>
                <a:gd name="T24" fmla="*/ 225185 h 604667"/>
                <a:gd name="T25" fmla="*/ 225185 h 604667"/>
                <a:gd name="T26" fmla="*/ 225185 h 604667"/>
                <a:gd name="T27" fmla="*/ 225185 h 604667"/>
                <a:gd name="T28" fmla="*/ 225185 h 604667"/>
                <a:gd name="T29" fmla="*/ 225185 h 604667"/>
                <a:gd name="T30" fmla="*/ 225185 h 604667"/>
                <a:gd name="T31" fmla="*/ 225185 h 604667"/>
                <a:gd name="T32" fmla="*/ 225185 h 604667"/>
                <a:gd name="T33" fmla="*/ 225185 h 604667"/>
                <a:gd name="T34" fmla="*/ 225185 h 604667"/>
                <a:gd name="T35" fmla="*/ 225185 h 604667"/>
                <a:gd name="T36" fmla="*/ 225185 h 604667"/>
                <a:gd name="T37" fmla="*/ 225185 h 604667"/>
                <a:gd name="T38" fmla="*/ 225185 h 604667"/>
                <a:gd name="T39" fmla="*/ 225185 h 604667"/>
                <a:gd name="T40" fmla="*/ 225185 h 604667"/>
                <a:gd name="T41" fmla="*/ 225185 h 604667"/>
                <a:gd name="T42" fmla="*/ 225185 h 604667"/>
                <a:gd name="T43" fmla="*/ 225185 h 604667"/>
                <a:gd name="T44" fmla="*/ 225185 h 604667"/>
                <a:gd name="T45" fmla="*/ 225185 h 604667"/>
                <a:gd name="T46" fmla="*/ 225185 h 604667"/>
                <a:gd name="T47" fmla="*/ 225185 h 604667"/>
                <a:gd name="T48" fmla="*/ 225185 h 604667"/>
                <a:gd name="T49" fmla="*/ 225185 h 604667"/>
                <a:gd name="T50" fmla="*/ 225185 h 604667"/>
                <a:gd name="T51" fmla="*/ 225185 h 604667"/>
                <a:gd name="T52" fmla="*/ 225185 h 604667"/>
                <a:gd name="T53" fmla="*/ 225185 h 604667"/>
                <a:gd name="T54" fmla="*/ 225185 h 604667"/>
                <a:gd name="T55" fmla="*/ 225185 h 604667"/>
                <a:gd name="T56" fmla="*/ 225185 h 604667"/>
                <a:gd name="T57" fmla="*/ 225185 h 604667"/>
                <a:gd name="T58" fmla="*/ 225185 h 604667"/>
                <a:gd name="T59" fmla="*/ 225185 h 604667"/>
                <a:gd name="T60" fmla="*/ 225185 h 604667"/>
                <a:gd name="T61" fmla="*/ 225185 h 604667"/>
                <a:gd name="T62" fmla="*/ 225185 h 604667"/>
                <a:gd name="T63" fmla="*/ 225185 h 604667"/>
                <a:gd name="T64" fmla="*/ 225185 h 604667"/>
                <a:gd name="T65" fmla="*/ 225185 h 604667"/>
                <a:gd name="T66" fmla="*/ 225185 h 604667"/>
                <a:gd name="T67" fmla="*/ 225185 h 604667"/>
                <a:gd name="T68" fmla="*/ 225185 h 604667"/>
                <a:gd name="T69" fmla="*/ 225185 h 604667"/>
                <a:gd name="T70" fmla="*/ 225185 h 604667"/>
                <a:gd name="T71" fmla="*/ 225185 h 604667"/>
                <a:gd name="T72" fmla="*/ 225185 h 604667"/>
                <a:gd name="T73" fmla="*/ 225185 h 604667"/>
                <a:gd name="T74" fmla="*/ 225185 h 604667"/>
                <a:gd name="T75" fmla="*/ 225185 h 604667"/>
                <a:gd name="T76" fmla="*/ 225185 h 604667"/>
                <a:gd name="T77" fmla="*/ 225185 h 604667"/>
                <a:gd name="T78" fmla="*/ 225185 h 604667"/>
                <a:gd name="T79" fmla="*/ 225185 h 604667"/>
                <a:gd name="T80" fmla="*/ 225185 h 604667"/>
                <a:gd name="T81" fmla="*/ 225185 h 604667"/>
                <a:gd name="T82" fmla="*/ 225185 h 604667"/>
                <a:gd name="T83" fmla="*/ 225185 h 604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7" h="3077">
                  <a:moveTo>
                    <a:pt x="2453" y="2690"/>
                  </a:moveTo>
                  <a:lnTo>
                    <a:pt x="2453" y="2450"/>
                  </a:lnTo>
                  <a:lnTo>
                    <a:pt x="2320" y="2450"/>
                  </a:lnTo>
                  <a:lnTo>
                    <a:pt x="2320" y="1330"/>
                  </a:lnTo>
                  <a:lnTo>
                    <a:pt x="2400" y="1330"/>
                  </a:lnTo>
                  <a:lnTo>
                    <a:pt x="2400" y="1197"/>
                  </a:lnTo>
                  <a:lnTo>
                    <a:pt x="2533" y="1197"/>
                  </a:lnTo>
                  <a:lnTo>
                    <a:pt x="2533" y="810"/>
                  </a:lnTo>
                  <a:lnTo>
                    <a:pt x="2196" y="810"/>
                  </a:lnTo>
                  <a:lnTo>
                    <a:pt x="1334" y="0"/>
                  </a:lnTo>
                  <a:lnTo>
                    <a:pt x="472" y="810"/>
                  </a:lnTo>
                  <a:lnTo>
                    <a:pt x="133" y="810"/>
                  </a:lnTo>
                  <a:lnTo>
                    <a:pt x="133" y="1197"/>
                  </a:lnTo>
                  <a:lnTo>
                    <a:pt x="267" y="1197"/>
                  </a:lnTo>
                  <a:lnTo>
                    <a:pt x="267" y="1330"/>
                  </a:lnTo>
                  <a:lnTo>
                    <a:pt x="360" y="1330"/>
                  </a:lnTo>
                  <a:lnTo>
                    <a:pt x="360" y="2450"/>
                  </a:lnTo>
                  <a:lnTo>
                    <a:pt x="213" y="2450"/>
                  </a:lnTo>
                  <a:lnTo>
                    <a:pt x="213" y="2690"/>
                  </a:lnTo>
                  <a:lnTo>
                    <a:pt x="0" y="2690"/>
                  </a:lnTo>
                  <a:lnTo>
                    <a:pt x="0" y="3077"/>
                  </a:lnTo>
                  <a:lnTo>
                    <a:pt x="2667" y="3077"/>
                  </a:lnTo>
                  <a:lnTo>
                    <a:pt x="2667" y="2690"/>
                  </a:lnTo>
                  <a:lnTo>
                    <a:pt x="2453" y="2690"/>
                  </a:lnTo>
                  <a:close/>
                  <a:moveTo>
                    <a:pt x="880" y="1197"/>
                  </a:moveTo>
                  <a:lnTo>
                    <a:pt x="1027" y="1197"/>
                  </a:lnTo>
                  <a:lnTo>
                    <a:pt x="1027" y="1330"/>
                  </a:lnTo>
                  <a:lnTo>
                    <a:pt x="1107" y="1330"/>
                  </a:lnTo>
                  <a:lnTo>
                    <a:pt x="1107" y="2450"/>
                  </a:lnTo>
                  <a:lnTo>
                    <a:pt x="800" y="2450"/>
                  </a:lnTo>
                  <a:lnTo>
                    <a:pt x="800" y="1330"/>
                  </a:lnTo>
                  <a:lnTo>
                    <a:pt x="880" y="1330"/>
                  </a:lnTo>
                  <a:lnTo>
                    <a:pt x="880" y="1197"/>
                  </a:lnTo>
                  <a:close/>
                  <a:moveTo>
                    <a:pt x="1880" y="1330"/>
                  </a:moveTo>
                  <a:lnTo>
                    <a:pt x="1880" y="2450"/>
                  </a:lnTo>
                  <a:lnTo>
                    <a:pt x="1560" y="2450"/>
                  </a:lnTo>
                  <a:lnTo>
                    <a:pt x="1560" y="1330"/>
                  </a:lnTo>
                  <a:lnTo>
                    <a:pt x="1627" y="1330"/>
                  </a:lnTo>
                  <a:lnTo>
                    <a:pt x="1627" y="1197"/>
                  </a:lnTo>
                  <a:lnTo>
                    <a:pt x="1787" y="1197"/>
                  </a:lnTo>
                  <a:lnTo>
                    <a:pt x="1787" y="1330"/>
                  </a:lnTo>
                  <a:lnTo>
                    <a:pt x="1880" y="133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indent="0" algn="ctr">
                <a:buFont typeface="Arial" panose="020B0604020202020204" pitchFamily="34" charset="0"/>
                <a:buNone/>
              </a:pPr>
              <a:endParaRPr lang="zh-CN" altLang="en-US" b="1">
                <a:solidFill>
                  <a:srgbClr val="FE0000"/>
                </a:solidFill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3150" y="4812"/>
              <a:ext cx="2028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学分银行</a:t>
              </a:r>
              <a:endParaRPr lang="zh-CN" altLang="en-US" sz="200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10722610" y="4975225"/>
            <a:ext cx="1577340" cy="1715770"/>
            <a:chOff x="16489" y="8258"/>
            <a:chExt cx="2484" cy="2702"/>
          </a:xfrm>
        </p:grpSpPr>
        <p:sp>
          <p:nvSpPr>
            <p:cNvPr id="17" name="school-house_46361"/>
            <p:cNvSpPr>
              <a:spLocks noChangeAspect="1"/>
            </p:cNvSpPr>
            <p:nvPr/>
          </p:nvSpPr>
          <p:spPr bwMode="auto">
            <a:xfrm>
              <a:off x="16599" y="8258"/>
              <a:ext cx="2093" cy="1714"/>
            </a:xfrm>
            <a:custGeom>
              <a:avLst/>
              <a:gdLst>
                <a:gd name="connsiteX0" fmla="*/ 413435 w 599763"/>
                <a:gd name="connsiteY0" fmla="*/ 242351 h 354892"/>
                <a:gd name="connsiteX1" fmla="*/ 421018 w 599763"/>
                <a:gd name="connsiteY1" fmla="*/ 246720 h 354892"/>
                <a:gd name="connsiteX2" fmla="*/ 419179 w 599763"/>
                <a:gd name="connsiteY2" fmla="*/ 273388 h 354892"/>
                <a:gd name="connsiteX3" fmla="*/ 413665 w 599763"/>
                <a:gd name="connsiteY3" fmla="*/ 301895 h 354892"/>
                <a:gd name="connsiteX4" fmla="*/ 404245 w 599763"/>
                <a:gd name="connsiteY4" fmla="*/ 299366 h 354892"/>
                <a:gd name="connsiteX5" fmla="*/ 405164 w 599763"/>
                <a:gd name="connsiteY5" fmla="*/ 263502 h 354892"/>
                <a:gd name="connsiteX6" fmla="*/ 413435 w 599763"/>
                <a:gd name="connsiteY6" fmla="*/ 242351 h 354892"/>
                <a:gd name="connsiteX7" fmla="*/ 107616 w 599763"/>
                <a:gd name="connsiteY7" fmla="*/ 239326 h 354892"/>
                <a:gd name="connsiteX8" fmla="*/ 118194 w 599763"/>
                <a:gd name="connsiteY8" fmla="*/ 239326 h 354892"/>
                <a:gd name="connsiteX9" fmla="*/ 120954 w 599763"/>
                <a:gd name="connsiteY9" fmla="*/ 264171 h 354892"/>
                <a:gd name="connsiteX10" fmla="*/ 119804 w 599763"/>
                <a:gd name="connsiteY10" fmla="*/ 289476 h 354892"/>
                <a:gd name="connsiteX11" fmla="*/ 106236 w 599763"/>
                <a:gd name="connsiteY11" fmla="*/ 289476 h 354892"/>
                <a:gd name="connsiteX12" fmla="*/ 105087 w 599763"/>
                <a:gd name="connsiteY12" fmla="*/ 260490 h 354892"/>
                <a:gd name="connsiteX13" fmla="*/ 107616 w 599763"/>
                <a:gd name="connsiteY13" fmla="*/ 239326 h 354892"/>
                <a:gd name="connsiteX14" fmla="*/ 489266 w 599763"/>
                <a:gd name="connsiteY14" fmla="*/ 239296 h 354892"/>
                <a:gd name="connsiteX15" fmla="*/ 489726 w 599763"/>
                <a:gd name="connsiteY15" fmla="*/ 239296 h 354892"/>
                <a:gd name="connsiteX16" fmla="*/ 489956 w 599763"/>
                <a:gd name="connsiteY16" fmla="*/ 239296 h 354892"/>
                <a:gd name="connsiteX17" fmla="*/ 494785 w 599763"/>
                <a:gd name="connsiteY17" fmla="*/ 241139 h 354892"/>
                <a:gd name="connsiteX18" fmla="*/ 497314 w 599763"/>
                <a:gd name="connsiteY18" fmla="*/ 262332 h 354892"/>
                <a:gd name="connsiteX19" fmla="*/ 495475 w 599763"/>
                <a:gd name="connsiteY19" fmla="*/ 289284 h 354892"/>
                <a:gd name="connsiteX20" fmla="*/ 483748 w 599763"/>
                <a:gd name="connsiteY20" fmla="*/ 289284 h 354892"/>
                <a:gd name="connsiteX21" fmla="*/ 481909 w 599763"/>
                <a:gd name="connsiteY21" fmla="*/ 262332 h 354892"/>
                <a:gd name="connsiteX22" fmla="*/ 484668 w 599763"/>
                <a:gd name="connsiteY22" fmla="*/ 241139 h 354892"/>
                <a:gd name="connsiteX23" fmla="*/ 489266 w 599763"/>
                <a:gd name="connsiteY23" fmla="*/ 239296 h 354892"/>
                <a:gd name="connsiteX24" fmla="*/ 180432 w 599763"/>
                <a:gd name="connsiteY24" fmla="*/ 237494 h 354892"/>
                <a:gd name="connsiteX25" fmla="*/ 190798 w 599763"/>
                <a:gd name="connsiteY25" fmla="*/ 237494 h 354892"/>
                <a:gd name="connsiteX26" fmla="*/ 192871 w 599763"/>
                <a:gd name="connsiteY26" fmla="*/ 264426 h 354892"/>
                <a:gd name="connsiteX27" fmla="*/ 192180 w 599763"/>
                <a:gd name="connsiteY27" fmla="*/ 290897 h 354892"/>
                <a:gd name="connsiteX28" fmla="*/ 182275 w 599763"/>
                <a:gd name="connsiteY28" fmla="*/ 292278 h 354892"/>
                <a:gd name="connsiteX29" fmla="*/ 177207 w 599763"/>
                <a:gd name="connsiteY29" fmla="*/ 264426 h 354892"/>
                <a:gd name="connsiteX30" fmla="*/ 180432 w 599763"/>
                <a:gd name="connsiteY30" fmla="*/ 237494 h 354892"/>
                <a:gd name="connsiteX31" fmla="*/ 491561 w 599763"/>
                <a:gd name="connsiteY31" fmla="*/ 162223 h 354892"/>
                <a:gd name="connsiteX32" fmla="*/ 497317 w 599763"/>
                <a:gd name="connsiteY32" fmla="*/ 169588 h 354892"/>
                <a:gd name="connsiteX33" fmla="*/ 497317 w 599763"/>
                <a:gd name="connsiteY33" fmla="*/ 172810 h 354892"/>
                <a:gd name="connsiteX34" fmla="*/ 496396 w 599763"/>
                <a:gd name="connsiteY34" fmla="*/ 177413 h 354892"/>
                <a:gd name="connsiteX35" fmla="*/ 495936 w 599763"/>
                <a:gd name="connsiteY35" fmla="*/ 190761 h 354892"/>
                <a:gd name="connsiteX36" fmla="*/ 495245 w 599763"/>
                <a:gd name="connsiteY36" fmla="*/ 216536 h 354892"/>
                <a:gd name="connsiteX37" fmla="*/ 483962 w 599763"/>
                <a:gd name="connsiteY37" fmla="*/ 216536 h 354892"/>
                <a:gd name="connsiteX38" fmla="*/ 480508 w 599763"/>
                <a:gd name="connsiteY38" fmla="*/ 181325 h 354892"/>
                <a:gd name="connsiteX39" fmla="*/ 491561 w 599763"/>
                <a:gd name="connsiteY39" fmla="*/ 162223 h 354892"/>
                <a:gd name="connsiteX40" fmla="*/ 107804 w 599763"/>
                <a:gd name="connsiteY40" fmla="*/ 161985 h 354892"/>
                <a:gd name="connsiteX41" fmla="*/ 118202 w 599763"/>
                <a:gd name="connsiteY41" fmla="*/ 161985 h 354892"/>
                <a:gd name="connsiteX42" fmla="*/ 121206 w 599763"/>
                <a:gd name="connsiteY42" fmla="*/ 185689 h 354892"/>
                <a:gd name="connsiteX43" fmla="*/ 121206 w 599763"/>
                <a:gd name="connsiteY43" fmla="*/ 210084 h 354892"/>
                <a:gd name="connsiteX44" fmla="*/ 107572 w 599763"/>
                <a:gd name="connsiteY44" fmla="*/ 211925 h 354892"/>
                <a:gd name="connsiteX45" fmla="*/ 105262 w 599763"/>
                <a:gd name="connsiteY45" fmla="*/ 185689 h 354892"/>
                <a:gd name="connsiteX46" fmla="*/ 107804 w 599763"/>
                <a:gd name="connsiteY46" fmla="*/ 161985 h 354892"/>
                <a:gd name="connsiteX47" fmla="*/ 186439 w 599763"/>
                <a:gd name="connsiteY47" fmla="*/ 161051 h 354892"/>
                <a:gd name="connsiteX48" fmla="*/ 197503 w 599763"/>
                <a:gd name="connsiteY48" fmla="*/ 162433 h 354892"/>
                <a:gd name="connsiteX49" fmla="*/ 197734 w 599763"/>
                <a:gd name="connsiteY49" fmla="*/ 186851 h 354892"/>
                <a:gd name="connsiteX50" fmla="*/ 197734 w 599763"/>
                <a:gd name="connsiteY50" fmla="*/ 213112 h 354892"/>
                <a:gd name="connsiteX51" fmla="*/ 185286 w 599763"/>
                <a:gd name="connsiteY51" fmla="*/ 214725 h 354892"/>
                <a:gd name="connsiteX52" fmla="*/ 182289 w 599763"/>
                <a:gd name="connsiteY52" fmla="*/ 184087 h 354892"/>
                <a:gd name="connsiteX53" fmla="*/ 186439 w 599763"/>
                <a:gd name="connsiteY53" fmla="*/ 161051 h 354892"/>
                <a:gd name="connsiteX54" fmla="*/ 270786 w 599763"/>
                <a:gd name="connsiteY54" fmla="*/ 160616 h 354892"/>
                <a:gd name="connsiteX55" fmla="*/ 276544 w 599763"/>
                <a:gd name="connsiteY55" fmla="*/ 162918 h 354892"/>
                <a:gd name="connsiteX56" fmla="*/ 278847 w 599763"/>
                <a:gd name="connsiteY56" fmla="*/ 170977 h 354892"/>
                <a:gd name="connsiteX57" fmla="*/ 274701 w 599763"/>
                <a:gd name="connsiteY57" fmla="*/ 215182 h 354892"/>
                <a:gd name="connsiteX58" fmla="*/ 261343 w 599763"/>
                <a:gd name="connsiteY58" fmla="*/ 215182 h 354892"/>
                <a:gd name="connsiteX59" fmla="*/ 262956 w 599763"/>
                <a:gd name="connsiteY59" fmla="*/ 166602 h 354892"/>
                <a:gd name="connsiteX60" fmla="*/ 270786 w 599763"/>
                <a:gd name="connsiteY60" fmla="*/ 160616 h 354892"/>
                <a:gd name="connsiteX61" fmla="*/ 416901 w 599763"/>
                <a:gd name="connsiteY61" fmla="*/ 160241 h 354892"/>
                <a:gd name="connsiteX62" fmla="*/ 425175 w 599763"/>
                <a:gd name="connsiteY62" fmla="*/ 168006 h 354892"/>
                <a:gd name="connsiteX63" fmla="*/ 420562 w 599763"/>
                <a:gd name="connsiteY63" fmla="*/ 216326 h 354892"/>
                <a:gd name="connsiteX64" fmla="*/ 408800 w 599763"/>
                <a:gd name="connsiteY64" fmla="*/ 213104 h 354892"/>
                <a:gd name="connsiteX65" fmla="*/ 408800 w 599763"/>
                <a:gd name="connsiteY65" fmla="*/ 168006 h 354892"/>
                <a:gd name="connsiteX66" fmla="*/ 416901 w 599763"/>
                <a:gd name="connsiteY66" fmla="*/ 160241 h 354892"/>
                <a:gd name="connsiteX67" fmla="*/ 346478 w 599763"/>
                <a:gd name="connsiteY67" fmla="*/ 159746 h 354892"/>
                <a:gd name="connsiteX68" fmla="*/ 353060 w 599763"/>
                <a:gd name="connsiteY68" fmla="*/ 163373 h 354892"/>
                <a:gd name="connsiteX69" fmla="*/ 353060 w 599763"/>
                <a:gd name="connsiteY69" fmla="*/ 186402 h 354892"/>
                <a:gd name="connsiteX70" fmla="*/ 350057 w 599763"/>
                <a:gd name="connsiteY70" fmla="*/ 213346 h 354892"/>
                <a:gd name="connsiteX71" fmla="*/ 334815 w 599763"/>
                <a:gd name="connsiteY71" fmla="*/ 211274 h 354892"/>
                <a:gd name="connsiteX72" fmla="*/ 337125 w 599763"/>
                <a:gd name="connsiteY72" fmla="*/ 184329 h 354892"/>
                <a:gd name="connsiteX73" fmla="*/ 339896 w 599763"/>
                <a:gd name="connsiteY73" fmla="*/ 163373 h 354892"/>
                <a:gd name="connsiteX74" fmla="*/ 346478 w 599763"/>
                <a:gd name="connsiteY74" fmla="*/ 159746 h 354892"/>
                <a:gd name="connsiteX75" fmla="*/ 541601 w 599763"/>
                <a:gd name="connsiteY75" fmla="*/ 132325 h 354892"/>
                <a:gd name="connsiteX76" fmla="*/ 508182 w 599763"/>
                <a:gd name="connsiteY76" fmla="*/ 132555 h 354892"/>
                <a:gd name="connsiteX77" fmla="*/ 380500 w 599763"/>
                <a:gd name="connsiteY77" fmla="*/ 136007 h 354892"/>
                <a:gd name="connsiteX78" fmla="*/ 256967 w 599763"/>
                <a:gd name="connsiteY78" fmla="*/ 136237 h 354892"/>
                <a:gd name="connsiteX79" fmla="*/ 129515 w 599763"/>
                <a:gd name="connsiteY79" fmla="*/ 139919 h 354892"/>
                <a:gd name="connsiteX80" fmla="*/ 67979 w 599763"/>
                <a:gd name="connsiteY80" fmla="*/ 142681 h 354892"/>
                <a:gd name="connsiteX81" fmla="*/ 83421 w 599763"/>
                <a:gd name="connsiteY81" fmla="*/ 333237 h 354892"/>
                <a:gd name="connsiteX82" fmla="*/ 266186 w 599763"/>
                <a:gd name="connsiteY82" fmla="*/ 335308 h 354892"/>
                <a:gd name="connsiteX83" fmla="*/ 260193 w 599763"/>
                <a:gd name="connsiteY83" fmla="*/ 297565 h 354892"/>
                <a:gd name="connsiteX84" fmla="*/ 258119 w 599763"/>
                <a:gd name="connsiteY84" fmla="*/ 244403 h 354892"/>
                <a:gd name="connsiteX85" fmla="*/ 265955 w 599763"/>
                <a:gd name="connsiteY85" fmla="*/ 236578 h 354892"/>
                <a:gd name="connsiteX86" fmla="*/ 338554 w 599763"/>
                <a:gd name="connsiteY86" fmla="*/ 232436 h 354892"/>
                <a:gd name="connsiteX87" fmla="*/ 346620 w 599763"/>
                <a:gd name="connsiteY87" fmla="*/ 240490 h 354892"/>
                <a:gd name="connsiteX88" fmla="*/ 347312 w 599763"/>
                <a:gd name="connsiteY88" fmla="*/ 303319 h 354892"/>
                <a:gd name="connsiteX89" fmla="*/ 346620 w 599763"/>
                <a:gd name="connsiteY89" fmla="*/ 333467 h 354892"/>
                <a:gd name="connsiteX90" fmla="*/ 542292 w 599763"/>
                <a:gd name="connsiteY90" fmla="*/ 330705 h 354892"/>
                <a:gd name="connsiteX91" fmla="*/ 540218 w 599763"/>
                <a:gd name="connsiteY91" fmla="*/ 219548 h 354892"/>
                <a:gd name="connsiteX92" fmla="*/ 539296 w 599763"/>
                <a:gd name="connsiteY92" fmla="*/ 177662 h 354892"/>
                <a:gd name="connsiteX93" fmla="*/ 536761 w 599763"/>
                <a:gd name="connsiteY93" fmla="*/ 146363 h 354892"/>
                <a:gd name="connsiteX94" fmla="*/ 541601 w 599763"/>
                <a:gd name="connsiteY94" fmla="*/ 132325 h 354892"/>
                <a:gd name="connsiteX95" fmla="*/ 312050 w 599763"/>
                <a:gd name="connsiteY95" fmla="*/ 16565 h 354892"/>
                <a:gd name="connsiteX96" fmla="*/ 220782 w 599763"/>
                <a:gd name="connsiteY96" fmla="*/ 54308 h 354892"/>
                <a:gd name="connsiteX97" fmla="*/ 141500 w 599763"/>
                <a:gd name="connsiteY97" fmla="*/ 94122 h 354892"/>
                <a:gd name="connsiteX98" fmla="*/ 74663 w 599763"/>
                <a:gd name="connsiteY98" fmla="*/ 124500 h 354892"/>
                <a:gd name="connsiteX99" fmla="*/ 147723 w 599763"/>
                <a:gd name="connsiteY99" fmla="*/ 122889 h 354892"/>
                <a:gd name="connsiteX100" fmla="*/ 275174 w 599763"/>
                <a:gd name="connsiteY100" fmla="*/ 119667 h 354892"/>
                <a:gd name="connsiteX101" fmla="*/ 393406 w 599763"/>
                <a:gd name="connsiteY101" fmla="*/ 119207 h 354892"/>
                <a:gd name="connsiteX102" fmla="*/ 530077 w 599763"/>
                <a:gd name="connsiteY102" fmla="*/ 115985 h 354892"/>
                <a:gd name="connsiteX103" fmla="*/ 576863 w 599763"/>
                <a:gd name="connsiteY103" fmla="*/ 115525 h 354892"/>
                <a:gd name="connsiteX104" fmla="*/ 537452 w 599763"/>
                <a:gd name="connsiteY104" fmla="*/ 100335 h 354892"/>
                <a:gd name="connsiteX105" fmla="*/ 489053 w 599763"/>
                <a:gd name="connsiteY105" fmla="*/ 84916 h 354892"/>
                <a:gd name="connsiteX106" fmla="*/ 400551 w 599763"/>
                <a:gd name="connsiteY106" fmla="*/ 49014 h 354892"/>
                <a:gd name="connsiteX107" fmla="*/ 352152 w 599763"/>
                <a:gd name="connsiteY107" fmla="*/ 28992 h 354892"/>
                <a:gd name="connsiteX108" fmla="*/ 312050 w 599763"/>
                <a:gd name="connsiteY108" fmla="*/ 16565 h 354892"/>
                <a:gd name="connsiteX109" fmla="*/ 306925 w 599763"/>
                <a:gd name="connsiteY109" fmla="*/ 99 h 354892"/>
                <a:gd name="connsiteX110" fmla="*/ 327491 w 599763"/>
                <a:gd name="connsiteY110" fmla="*/ 2526 h 354892"/>
                <a:gd name="connsiteX111" fmla="*/ 518323 w 599763"/>
                <a:gd name="connsiteY111" fmla="*/ 76861 h 354892"/>
                <a:gd name="connsiteX112" fmla="*/ 599680 w 599763"/>
                <a:gd name="connsiteY112" fmla="*/ 123119 h 354892"/>
                <a:gd name="connsiteX113" fmla="*/ 598297 w 599763"/>
                <a:gd name="connsiteY113" fmla="*/ 126801 h 354892"/>
                <a:gd name="connsiteX114" fmla="*/ 585621 w 599763"/>
                <a:gd name="connsiteY114" fmla="*/ 132325 h 354892"/>
                <a:gd name="connsiteX115" fmla="*/ 581703 w 599763"/>
                <a:gd name="connsiteY115" fmla="*/ 133936 h 354892"/>
                <a:gd name="connsiteX116" fmla="*/ 563495 w 599763"/>
                <a:gd name="connsiteY116" fmla="*/ 132785 h 354892"/>
                <a:gd name="connsiteX117" fmla="*/ 544597 w 599763"/>
                <a:gd name="connsiteY117" fmla="*/ 132325 h 354892"/>
                <a:gd name="connsiteX118" fmla="*/ 548515 w 599763"/>
                <a:gd name="connsiteY118" fmla="*/ 134856 h 354892"/>
                <a:gd name="connsiteX119" fmla="*/ 556581 w 599763"/>
                <a:gd name="connsiteY119" fmla="*/ 204589 h 354892"/>
                <a:gd name="connsiteX120" fmla="*/ 558655 w 599763"/>
                <a:gd name="connsiteY120" fmla="*/ 338530 h 354892"/>
                <a:gd name="connsiteX121" fmla="*/ 550589 w 599763"/>
                <a:gd name="connsiteY121" fmla="*/ 346815 h 354892"/>
                <a:gd name="connsiteX122" fmla="*/ 299374 w 599763"/>
                <a:gd name="connsiteY122" fmla="*/ 350727 h 354892"/>
                <a:gd name="connsiteX123" fmla="*/ 75815 w 599763"/>
                <a:gd name="connsiteY123" fmla="*/ 348656 h 354892"/>
                <a:gd name="connsiteX124" fmla="*/ 67518 w 599763"/>
                <a:gd name="connsiteY124" fmla="*/ 340371 h 354892"/>
                <a:gd name="connsiteX125" fmla="*/ 56225 w 599763"/>
                <a:gd name="connsiteY125" fmla="*/ 142911 h 354892"/>
                <a:gd name="connsiteX126" fmla="*/ 14049 w 599763"/>
                <a:gd name="connsiteY126" fmla="*/ 140840 h 354892"/>
                <a:gd name="connsiteX127" fmla="*/ 10592 w 599763"/>
                <a:gd name="connsiteY127" fmla="*/ 142681 h 354892"/>
                <a:gd name="connsiteX128" fmla="*/ 1142 w 599763"/>
                <a:gd name="connsiteY128" fmla="*/ 133245 h 354892"/>
                <a:gd name="connsiteX129" fmla="*/ 53690 w 599763"/>
                <a:gd name="connsiteY129" fmla="*/ 114604 h 354892"/>
                <a:gd name="connsiteX130" fmla="*/ 154867 w 599763"/>
                <a:gd name="connsiteY130" fmla="*/ 68806 h 354892"/>
                <a:gd name="connsiteX131" fmla="*/ 249592 w 599763"/>
                <a:gd name="connsiteY131" fmla="*/ 21167 h 354892"/>
                <a:gd name="connsiteX132" fmla="*/ 306925 w 599763"/>
                <a:gd name="connsiteY132" fmla="*/ 99 h 3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9763" h="354892">
                  <a:moveTo>
                    <a:pt x="413435" y="242351"/>
                  </a:moveTo>
                  <a:cubicBezTo>
                    <a:pt x="416422" y="241202"/>
                    <a:pt x="420328" y="243731"/>
                    <a:pt x="421018" y="246720"/>
                  </a:cubicBezTo>
                  <a:cubicBezTo>
                    <a:pt x="422856" y="254766"/>
                    <a:pt x="419869" y="265341"/>
                    <a:pt x="419179" y="273388"/>
                  </a:cubicBezTo>
                  <a:cubicBezTo>
                    <a:pt x="418490" y="283043"/>
                    <a:pt x="417801" y="293159"/>
                    <a:pt x="413665" y="301895"/>
                  </a:cubicBezTo>
                  <a:cubicBezTo>
                    <a:pt x="411367" y="306263"/>
                    <a:pt x="404015" y="304194"/>
                    <a:pt x="404245" y="299366"/>
                  </a:cubicBezTo>
                  <a:cubicBezTo>
                    <a:pt x="404704" y="287411"/>
                    <a:pt x="404704" y="275457"/>
                    <a:pt x="405164" y="263502"/>
                  </a:cubicBezTo>
                  <a:cubicBezTo>
                    <a:pt x="405393" y="255456"/>
                    <a:pt x="404704" y="245800"/>
                    <a:pt x="413435" y="242351"/>
                  </a:cubicBezTo>
                  <a:close/>
                  <a:moveTo>
                    <a:pt x="107616" y="239326"/>
                  </a:moveTo>
                  <a:cubicBezTo>
                    <a:pt x="110376" y="235415"/>
                    <a:pt x="115665" y="235415"/>
                    <a:pt x="118194" y="239326"/>
                  </a:cubicBezTo>
                  <a:cubicBezTo>
                    <a:pt x="123024" y="246457"/>
                    <a:pt x="120954" y="255889"/>
                    <a:pt x="120954" y="264171"/>
                  </a:cubicBezTo>
                  <a:cubicBezTo>
                    <a:pt x="120724" y="272683"/>
                    <a:pt x="120724" y="281194"/>
                    <a:pt x="119804" y="289476"/>
                  </a:cubicBezTo>
                  <a:cubicBezTo>
                    <a:pt x="118884" y="298218"/>
                    <a:pt x="107156" y="298218"/>
                    <a:pt x="106236" y="289476"/>
                  </a:cubicBezTo>
                  <a:cubicBezTo>
                    <a:pt x="105087" y="279814"/>
                    <a:pt x="105087" y="270152"/>
                    <a:pt x="105087" y="260490"/>
                  </a:cubicBezTo>
                  <a:cubicBezTo>
                    <a:pt x="104857" y="253129"/>
                    <a:pt x="103477" y="245767"/>
                    <a:pt x="107616" y="239326"/>
                  </a:cubicBezTo>
                  <a:close/>
                  <a:moveTo>
                    <a:pt x="489266" y="239296"/>
                  </a:moveTo>
                  <a:cubicBezTo>
                    <a:pt x="489496" y="239296"/>
                    <a:pt x="489496" y="239296"/>
                    <a:pt x="489726" y="239296"/>
                  </a:cubicBezTo>
                  <a:cubicBezTo>
                    <a:pt x="489726" y="239296"/>
                    <a:pt x="489956" y="239296"/>
                    <a:pt x="489956" y="239296"/>
                  </a:cubicBezTo>
                  <a:cubicBezTo>
                    <a:pt x="491566" y="239296"/>
                    <a:pt x="493175" y="239757"/>
                    <a:pt x="494785" y="241139"/>
                  </a:cubicBezTo>
                  <a:cubicBezTo>
                    <a:pt x="499843" y="245746"/>
                    <a:pt x="497544" y="256343"/>
                    <a:pt x="497314" y="262332"/>
                  </a:cubicBezTo>
                  <a:cubicBezTo>
                    <a:pt x="497084" y="270395"/>
                    <a:pt x="498694" y="281682"/>
                    <a:pt x="495475" y="289284"/>
                  </a:cubicBezTo>
                  <a:cubicBezTo>
                    <a:pt x="493175" y="295043"/>
                    <a:pt x="486277" y="295043"/>
                    <a:pt x="483748" y="289284"/>
                  </a:cubicBezTo>
                  <a:cubicBezTo>
                    <a:pt x="480529" y="281682"/>
                    <a:pt x="482138" y="270395"/>
                    <a:pt x="481909" y="262332"/>
                  </a:cubicBezTo>
                  <a:cubicBezTo>
                    <a:pt x="481909" y="256343"/>
                    <a:pt x="479379" y="245746"/>
                    <a:pt x="484668" y="241139"/>
                  </a:cubicBezTo>
                  <a:cubicBezTo>
                    <a:pt x="486047" y="239757"/>
                    <a:pt x="487657" y="239296"/>
                    <a:pt x="489266" y="239296"/>
                  </a:cubicBezTo>
                  <a:close/>
                  <a:moveTo>
                    <a:pt x="180432" y="237494"/>
                  </a:moveTo>
                  <a:cubicBezTo>
                    <a:pt x="182736" y="233811"/>
                    <a:pt x="188495" y="233581"/>
                    <a:pt x="190798" y="237494"/>
                  </a:cubicBezTo>
                  <a:cubicBezTo>
                    <a:pt x="195636" y="245551"/>
                    <a:pt x="193102" y="255449"/>
                    <a:pt x="192871" y="264426"/>
                  </a:cubicBezTo>
                  <a:cubicBezTo>
                    <a:pt x="192641" y="273173"/>
                    <a:pt x="193793" y="282380"/>
                    <a:pt x="192180" y="290897"/>
                  </a:cubicBezTo>
                  <a:cubicBezTo>
                    <a:pt x="191489" y="295961"/>
                    <a:pt x="184579" y="295731"/>
                    <a:pt x="182275" y="292278"/>
                  </a:cubicBezTo>
                  <a:cubicBezTo>
                    <a:pt x="176977" y="284682"/>
                    <a:pt x="177207" y="273173"/>
                    <a:pt x="177207" y="264426"/>
                  </a:cubicBezTo>
                  <a:cubicBezTo>
                    <a:pt x="177207" y="255679"/>
                    <a:pt x="175595" y="245320"/>
                    <a:pt x="180432" y="237494"/>
                  </a:cubicBezTo>
                  <a:close/>
                  <a:moveTo>
                    <a:pt x="491561" y="162223"/>
                  </a:moveTo>
                  <a:cubicBezTo>
                    <a:pt x="495706" y="161533"/>
                    <a:pt x="498008" y="166366"/>
                    <a:pt x="497317" y="169588"/>
                  </a:cubicBezTo>
                  <a:cubicBezTo>
                    <a:pt x="498008" y="166366"/>
                    <a:pt x="497317" y="172810"/>
                    <a:pt x="497317" y="172810"/>
                  </a:cubicBezTo>
                  <a:cubicBezTo>
                    <a:pt x="497087" y="174421"/>
                    <a:pt x="496627" y="175802"/>
                    <a:pt x="496396" y="177413"/>
                  </a:cubicBezTo>
                  <a:cubicBezTo>
                    <a:pt x="495936" y="181785"/>
                    <a:pt x="495936" y="186388"/>
                    <a:pt x="495936" y="190761"/>
                  </a:cubicBezTo>
                  <a:cubicBezTo>
                    <a:pt x="495936" y="199506"/>
                    <a:pt x="496627" y="208251"/>
                    <a:pt x="495245" y="216536"/>
                  </a:cubicBezTo>
                  <a:cubicBezTo>
                    <a:pt x="494324" y="222290"/>
                    <a:pt x="485114" y="222060"/>
                    <a:pt x="483962" y="216536"/>
                  </a:cubicBezTo>
                  <a:cubicBezTo>
                    <a:pt x="481890" y="205260"/>
                    <a:pt x="480739" y="192832"/>
                    <a:pt x="480508" y="181325"/>
                  </a:cubicBezTo>
                  <a:cubicBezTo>
                    <a:pt x="480508" y="172580"/>
                    <a:pt x="481429" y="163374"/>
                    <a:pt x="491561" y="162223"/>
                  </a:cubicBezTo>
                  <a:close/>
                  <a:moveTo>
                    <a:pt x="107804" y="161985"/>
                  </a:moveTo>
                  <a:cubicBezTo>
                    <a:pt x="110576" y="158993"/>
                    <a:pt x="115429" y="159223"/>
                    <a:pt x="118202" y="161985"/>
                  </a:cubicBezTo>
                  <a:cubicBezTo>
                    <a:pt x="123517" y="167278"/>
                    <a:pt x="121206" y="178785"/>
                    <a:pt x="121206" y="185689"/>
                  </a:cubicBezTo>
                  <a:cubicBezTo>
                    <a:pt x="121206" y="193744"/>
                    <a:pt x="121668" y="202029"/>
                    <a:pt x="121206" y="210084"/>
                  </a:cubicBezTo>
                  <a:cubicBezTo>
                    <a:pt x="120975" y="217909"/>
                    <a:pt x="109883" y="219750"/>
                    <a:pt x="107572" y="211925"/>
                  </a:cubicBezTo>
                  <a:cubicBezTo>
                    <a:pt x="105031" y="203640"/>
                    <a:pt x="105493" y="194204"/>
                    <a:pt x="105262" y="185689"/>
                  </a:cubicBezTo>
                  <a:cubicBezTo>
                    <a:pt x="105031" y="178785"/>
                    <a:pt x="102489" y="167278"/>
                    <a:pt x="107804" y="161985"/>
                  </a:cubicBezTo>
                  <a:close/>
                  <a:moveTo>
                    <a:pt x="186439" y="161051"/>
                  </a:moveTo>
                  <a:cubicBezTo>
                    <a:pt x="190127" y="158287"/>
                    <a:pt x="194967" y="158287"/>
                    <a:pt x="197503" y="162433"/>
                  </a:cubicBezTo>
                  <a:cubicBezTo>
                    <a:pt x="201422" y="168653"/>
                    <a:pt x="198195" y="179710"/>
                    <a:pt x="197734" y="186851"/>
                  </a:cubicBezTo>
                  <a:cubicBezTo>
                    <a:pt x="197503" y="195605"/>
                    <a:pt x="197734" y="204359"/>
                    <a:pt x="197734" y="213112"/>
                  </a:cubicBezTo>
                  <a:cubicBezTo>
                    <a:pt x="197964" y="220253"/>
                    <a:pt x="187130" y="221866"/>
                    <a:pt x="185286" y="214725"/>
                  </a:cubicBezTo>
                  <a:cubicBezTo>
                    <a:pt x="182750" y="205050"/>
                    <a:pt x="182289" y="194223"/>
                    <a:pt x="182289" y="184087"/>
                  </a:cubicBezTo>
                  <a:cubicBezTo>
                    <a:pt x="182289" y="177407"/>
                    <a:pt x="180676" y="165889"/>
                    <a:pt x="186439" y="161051"/>
                  </a:cubicBezTo>
                  <a:close/>
                  <a:moveTo>
                    <a:pt x="270786" y="160616"/>
                  </a:moveTo>
                  <a:cubicBezTo>
                    <a:pt x="273319" y="160616"/>
                    <a:pt x="274932" y="161307"/>
                    <a:pt x="276544" y="162918"/>
                  </a:cubicBezTo>
                  <a:cubicBezTo>
                    <a:pt x="278617" y="164760"/>
                    <a:pt x="279538" y="168214"/>
                    <a:pt x="278847" y="170977"/>
                  </a:cubicBezTo>
                  <a:cubicBezTo>
                    <a:pt x="274010" y="185251"/>
                    <a:pt x="275853" y="200217"/>
                    <a:pt x="274701" y="215182"/>
                  </a:cubicBezTo>
                  <a:cubicBezTo>
                    <a:pt x="274010" y="223701"/>
                    <a:pt x="262034" y="223701"/>
                    <a:pt x="261343" y="215182"/>
                  </a:cubicBezTo>
                  <a:cubicBezTo>
                    <a:pt x="259731" y="199066"/>
                    <a:pt x="258580" y="182258"/>
                    <a:pt x="262956" y="166602"/>
                  </a:cubicBezTo>
                  <a:cubicBezTo>
                    <a:pt x="264107" y="163149"/>
                    <a:pt x="267331" y="160616"/>
                    <a:pt x="270786" y="160616"/>
                  </a:cubicBezTo>
                  <a:close/>
                  <a:moveTo>
                    <a:pt x="416901" y="160241"/>
                  </a:moveTo>
                  <a:cubicBezTo>
                    <a:pt x="421023" y="160241"/>
                    <a:pt x="425175" y="162829"/>
                    <a:pt x="425175" y="168006"/>
                  </a:cubicBezTo>
                  <a:cubicBezTo>
                    <a:pt x="425175" y="184113"/>
                    <a:pt x="427020" y="201370"/>
                    <a:pt x="420562" y="216326"/>
                  </a:cubicBezTo>
                  <a:cubicBezTo>
                    <a:pt x="418025" y="222078"/>
                    <a:pt x="408108" y="219317"/>
                    <a:pt x="408800" y="213104"/>
                  </a:cubicBezTo>
                  <a:cubicBezTo>
                    <a:pt x="410183" y="197918"/>
                    <a:pt x="409261" y="183192"/>
                    <a:pt x="408800" y="168006"/>
                  </a:cubicBezTo>
                  <a:cubicBezTo>
                    <a:pt x="408685" y="162829"/>
                    <a:pt x="412778" y="160241"/>
                    <a:pt x="416901" y="160241"/>
                  </a:cubicBezTo>
                  <a:close/>
                  <a:moveTo>
                    <a:pt x="346478" y="159746"/>
                  </a:moveTo>
                  <a:cubicBezTo>
                    <a:pt x="348961" y="159631"/>
                    <a:pt x="351443" y="160725"/>
                    <a:pt x="353060" y="163373"/>
                  </a:cubicBezTo>
                  <a:cubicBezTo>
                    <a:pt x="356524" y="169360"/>
                    <a:pt x="353752" y="179954"/>
                    <a:pt x="353060" y="186402"/>
                  </a:cubicBezTo>
                  <a:cubicBezTo>
                    <a:pt x="352367" y="195383"/>
                    <a:pt x="351674" y="204365"/>
                    <a:pt x="350057" y="213346"/>
                  </a:cubicBezTo>
                  <a:cubicBezTo>
                    <a:pt x="348441" y="221867"/>
                    <a:pt x="333661" y="219794"/>
                    <a:pt x="334815" y="211274"/>
                  </a:cubicBezTo>
                  <a:cubicBezTo>
                    <a:pt x="335970" y="202292"/>
                    <a:pt x="336432" y="193311"/>
                    <a:pt x="337125" y="184329"/>
                  </a:cubicBezTo>
                  <a:cubicBezTo>
                    <a:pt x="337356" y="178572"/>
                    <a:pt x="336201" y="167979"/>
                    <a:pt x="339896" y="163373"/>
                  </a:cubicBezTo>
                  <a:cubicBezTo>
                    <a:pt x="341513" y="161185"/>
                    <a:pt x="343995" y="159861"/>
                    <a:pt x="346478" y="159746"/>
                  </a:cubicBezTo>
                  <a:close/>
                  <a:moveTo>
                    <a:pt x="541601" y="132325"/>
                  </a:moveTo>
                  <a:cubicBezTo>
                    <a:pt x="530307" y="132325"/>
                    <a:pt x="519245" y="132325"/>
                    <a:pt x="508182" y="132555"/>
                  </a:cubicBezTo>
                  <a:cubicBezTo>
                    <a:pt x="465544" y="133245"/>
                    <a:pt x="423137" y="134856"/>
                    <a:pt x="380500" y="136007"/>
                  </a:cubicBezTo>
                  <a:cubicBezTo>
                    <a:pt x="339245" y="137388"/>
                    <a:pt x="298221" y="135777"/>
                    <a:pt x="256967" y="136237"/>
                  </a:cubicBezTo>
                  <a:cubicBezTo>
                    <a:pt x="214560" y="136697"/>
                    <a:pt x="172153" y="138308"/>
                    <a:pt x="129515" y="139919"/>
                  </a:cubicBezTo>
                  <a:cubicBezTo>
                    <a:pt x="109234" y="140840"/>
                    <a:pt x="88722" y="142221"/>
                    <a:pt x="67979" y="142681"/>
                  </a:cubicBezTo>
                  <a:cubicBezTo>
                    <a:pt x="71667" y="206200"/>
                    <a:pt x="79272" y="269718"/>
                    <a:pt x="83421" y="333237"/>
                  </a:cubicBezTo>
                  <a:cubicBezTo>
                    <a:pt x="144496" y="340831"/>
                    <a:pt x="205341" y="337609"/>
                    <a:pt x="266186" y="335308"/>
                  </a:cubicBezTo>
                  <a:cubicBezTo>
                    <a:pt x="259271" y="327253"/>
                    <a:pt x="260654" y="306080"/>
                    <a:pt x="260193" y="297565"/>
                  </a:cubicBezTo>
                  <a:cubicBezTo>
                    <a:pt x="258810" y="279844"/>
                    <a:pt x="258119" y="262124"/>
                    <a:pt x="258119" y="244403"/>
                  </a:cubicBezTo>
                  <a:cubicBezTo>
                    <a:pt x="257889" y="239800"/>
                    <a:pt x="261807" y="236808"/>
                    <a:pt x="265955" y="236578"/>
                  </a:cubicBezTo>
                  <a:cubicBezTo>
                    <a:pt x="290155" y="234507"/>
                    <a:pt x="314354" y="232666"/>
                    <a:pt x="338554" y="232436"/>
                  </a:cubicBezTo>
                  <a:cubicBezTo>
                    <a:pt x="342933" y="232436"/>
                    <a:pt x="346620" y="236118"/>
                    <a:pt x="346620" y="240490"/>
                  </a:cubicBezTo>
                  <a:cubicBezTo>
                    <a:pt x="346851" y="261433"/>
                    <a:pt x="347542" y="282376"/>
                    <a:pt x="347312" y="303319"/>
                  </a:cubicBezTo>
                  <a:cubicBezTo>
                    <a:pt x="347081" y="312294"/>
                    <a:pt x="348003" y="323571"/>
                    <a:pt x="346620" y="333467"/>
                  </a:cubicBezTo>
                  <a:cubicBezTo>
                    <a:pt x="411844" y="332776"/>
                    <a:pt x="477068" y="333237"/>
                    <a:pt x="542292" y="330705"/>
                  </a:cubicBezTo>
                  <a:cubicBezTo>
                    <a:pt x="542061" y="293653"/>
                    <a:pt x="540448" y="256600"/>
                    <a:pt x="540218" y="219548"/>
                  </a:cubicBezTo>
                  <a:cubicBezTo>
                    <a:pt x="540218" y="205739"/>
                    <a:pt x="539987" y="191701"/>
                    <a:pt x="539296" y="177662"/>
                  </a:cubicBezTo>
                  <a:cubicBezTo>
                    <a:pt x="539065" y="171449"/>
                    <a:pt x="540909" y="151426"/>
                    <a:pt x="536761" y="146363"/>
                  </a:cubicBezTo>
                  <a:cubicBezTo>
                    <a:pt x="532151" y="140840"/>
                    <a:pt x="536300" y="133476"/>
                    <a:pt x="541601" y="132325"/>
                  </a:cubicBezTo>
                  <a:close/>
                  <a:moveTo>
                    <a:pt x="312050" y="16565"/>
                  </a:moveTo>
                  <a:cubicBezTo>
                    <a:pt x="279322" y="16795"/>
                    <a:pt x="249822" y="41420"/>
                    <a:pt x="220782" y="54308"/>
                  </a:cubicBezTo>
                  <a:cubicBezTo>
                    <a:pt x="193817" y="66275"/>
                    <a:pt x="168004" y="81004"/>
                    <a:pt x="141500" y="94122"/>
                  </a:cubicBezTo>
                  <a:cubicBezTo>
                    <a:pt x="119836" y="105168"/>
                    <a:pt x="97710" y="115985"/>
                    <a:pt x="74663" y="124500"/>
                  </a:cubicBezTo>
                  <a:cubicBezTo>
                    <a:pt x="99093" y="123810"/>
                    <a:pt x="123754" y="123810"/>
                    <a:pt x="147723" y="122889"/>
                  </a:cubicBezTo>
                  <a:cubicBezTo>
                    <a:pt x="190130" y="121278"/>
                    <a:pt x="232767" y="119437"/>
                    <a:pt x="275174" y="119667"/>
                  </a:cubicBezTo>
                  <a:cubicBezTo>
                    <a:pt x="314815" y="119897"/>
                    <a:pt x="353765" y="120588"/>
                    <a:pt x="393406" y="119207"/>
                  </a:cubicBezTo>
                  <a:cubicBezTo>
                    <a:pt x="439040" y="117826"/>
                    <a:pt x="484443" y="115985"/>
                    <a:pt x="530077" y="115985"/>
                  </a:cubicBezTo>
                  <a:cubicBezTo>
                    <a:pt x="539526" y="115985"/>
                    <a:pt x="560499" y="113223"/>
                    <a:pt x="576863" y="115525"/>
                  </a:cubicBezTo>
                  <a:cubicBezTo>
                    <a:pt x="565339" y="108390"/>
                    <a:pt x="542292" y="101946"/>
                    <a:pt x="537452" y="100335"/>
                  </a:cubicBezTo>
                  <a:cubicBezTo>
                    <a:pt x="521319" y="95042"/>
                    <a:pt x="504955" y="90900"/>
                    <a:pt x="489053" y="84916"/>
                  </a:cubicBezTo>
                  <a:cubicBezTo>
                    <a:pt x="459321" y="73639"/>
                    <a:pt x="430051" y="61442"/>
                    <a:pt x="400551" y="49014"/>
                  </a:cubicBezTo>
                  <a:cubicBezTo>
                    <a:pt x="384418" y="42340"/>
                    <a:pt x="368515" y="35436"/>
                    <a:pt x="352152" y="28992"/>
                  </a:cubicBezTo>
                  <a:cubicBezTo>
                    <a:pt x="339937" y="24389"/>
                    <a:pt x="325417" y="16335"/>
                    <a:pt x="312050" y="16565"/>
                  </a:cubicBezTo>
                  <a:close/>
                  <a:moveTo>
                    <a:pt x="306925" y="99"/>
                  </a:moveTo>
                  <a:cubicBezTo>
                    <a:pt x="313663" y="-279"/>
                    <a:pt x="320519" y="397"/>
                    <a:pt x="327491" y="2526"/>
                  </a:cubicBezTo>
                  <a:cubicBezTo>
                    <a:pt x="392715" y="22778"/>
                    <a:pt x="452868" y="56839"/>
                    <a:pt x="518323" y="76861"/>
                  </a:cubicBezTo>
                  <a:cubicBezTo>
                    <a:pt x="535839" y="82385"/>
                    <a:pt x="602445" y="95963"/>
                    <a:pt x="599680" y="123119"/>
                  </a:cubicBezTo>
                  <a:cubicBezTo>
                    <a:pt x="599449" y="124500"/>
                    <a:pt x="598988" y="125651"/>
                    <a:pt x="598297" y="126801"/>
                  </a:cubicBezTo>
                  <a:cubicBezTo>
                    <a:pt x="601062" y="133936"/>
                    <a:pt x="590000" y="139689"/>
                    <a:pt x="585621" y="132325"/>
                  </a:cubicBezTo>
                  <a:cubicBezTo>
                    <a:pt x="588386" y="137158"/>
                    <a:pt x="588617" y="134856"/>
                    <a:pt x="581703" y="133936"/>
                  </a:cubicBezTo>
                  <a:cubicBezTo>
                    <a:pt x="575480" y="133245"/>
                    <a:pt x="569488" y="133015"/>
                    <a:pt x="563495" y="132785"/>
                  </a:cubicBezTo>
                  <a:cubicBezTo>
                    <a:pt x="557042" y="132555"/>
                    <a:pt x="550819" y="132325"/>
                    <a:pt x="544597" y="132325"/>
                  </a:cubicBezTo>
                  <a:cubicBezTo>
                    <a:pt x="545979" y="132785"/>
                    <a:pt x="547362" y="133476"/>
                    <a:pt x="548515" y="134856"/>
                  </a:cubicBezTo>
                  <a:cubicBezTo>
                    <a:pt x="561191" y="150046"/>
                    <a:pt x="556351" y="186177"/>
                    <a:pt x="556581" y="204589"/>
                  </a:cubicBezTo>
                  <a:cubicBezTo>
                    <a:pt x="557042" y="249236"/>
                    <a:pt x="558655" y="293883"/>
                    <a:pt x="558655" y="338530"/>
                  </a:cubicBezTo>
                  <a:cubicBezTo>
                    <a:pt x="558655" y="343133"/>
                    <a:pt x="554968" y="346585"/>
                    <a:pt x="550589" y="346815"/>
                  </a:cubicBezTo>
                  <a:cubicBezTo>
                    <a:pt x="466927" y="350497"/>
                    <a:pt x="382805" y="346124"/>
                    <a:pt x="299374" y="350727"/>
                  </a:cubicBezTo>
                  <a:cubicBezTo>
                    <a:pt x="224931" y="354640"/>
                    <a:pt x="149797" y="358552"/>
                    <a:pt x="75815" y="348656"/>
                  </a:cubicBezTo>
                  <a:cubicBezTo>
                    <a:pt x="70975" y="347966"/>
                    <a:pt x="67749" y="345434"/>
                    <a:pt x="67518" y="340371"/>
                  </a:cubicBezTo>
                  <a:cubicBezTo>
                    <a:pt x="63370" y="274551"/>
                    <a:pt x="54612" y="208961"/>
                    <a:pt x="56225" y="142911"/>
                  </a:cubicBezTo>
                  <a:cubicBezTo>
                    <a:pt x="42166" y="142911"/>
                    <a:pt x="27877" y="142451"/>
                    <a:pt x="14049" y="140840"/>
                  </a:cubicBezTo>
                  <a:cubicBezTo>
                    <a:pt x="12896" y="141530"/>
                    <a:pt x="11514" y="141991"/>
                    <a:pt x="10592" y="142681"/>
                  </a:cubicBezTo>
                  <a:cubicBezTo>
                    <a:pt x="5060" y="145903"/>
                    <a:pt x="-3006" y="138999"/>
                    <a:pt x="1142" y="133245"/>
                  </a:cubicBezTo>
                  <a:cubicBezTo>
                    <a:pt x="11744" y="119667"/>
                    <a:pt x="38479" y="119897"/>
                    <a:pt x="53690" y="114604"/>
                  </a:cubicBezTo>
                  <a:cubicBezTo>
                    <a:pt x="88952" y="102407"/>
                    <a:pt x="121910" y="85837"/>
                    <a:pt x="154867" y="68806"/>
                  </a:cubicBezTo>
                  <a:cubicBezTo>
                    <a:pt x="186212" y="52466"/>
                    <a:pt x="218247" y="37507"/>
                    <a:pt x="249592" y="21167"/>
                  </a:cubicBezTo>
                  <a:cubicBezTo>
                    <a:pt x="267569" y="11847"/>
                    <a:pt x="286712" y="1232"/>
                    <a:pt x="306925" y="9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18" name="文本框 17"/>
            <p:cNvSpPr txBox="1"/>
            <p:nvPr/>
          </p:nvSpPr>
          <p:spPr>
            <a:xfrm>
              <a:off x="16489" y="10332"/>
              <a:ext cx="2484" cy="628"/>
            </a:xfrm>
            <a:custGeom>
              <a:avLst/>
              <a:gdLst>
                <a:gd name="connsiteX0" fmla="*/ 413435 w 599763"/>
                <a:gd name="connsiteY0" fmla="*/ 242351 h 354892"/>
                <a:gd name="connsiteX1" fmla="*/ 421018 w 599763"/>
                <a:gd name="connsiteY1" fmla="*/ 246720 h 354892"/>
                <a:gd name="connsiteX2" fmla="*/ 419179 w 599763"/>
                <a:gd name="connsiteY2" fmla="*/ 273388 h 354892"/>
                <a:gd name="connsiteX3" fmla="*/ 413665 w 599763"/>
                <a:gd name="connsiteY3" fmla="*/ 301895 h 354892"/>
                <a:gd name="connsiteX4" fmla="*/ 404245 w 599763"/>
                <a:gd name="connsiteY4" fmla="*/ 299366 h 354892"/>
                <a:gd name="connsiteX5" fmla="*/ 405164 w 599763"/>
                <a:gd name="connsiteY5" fmla="*/ 263502 h 354892"/>
                <a:gd name="connsiteX6" fmla="*/ 413435 w 599763"/>
                <a:gd name="connsiteY6" fmla="*/ 242351 h 354892"/>
                <a:gd name="connsiteX7" fmla="*/ 107616 w 599763"/>
                <a:gd name="connsiteY7" fmla="*/ 239326 h 354892"/>
                <a:gd name="connsiteX8" fmla="*/ 118194 w 599763"/>
                <a:gd name="connsiteY8" fmla="*/ 239326 h 354892"/>
                <a:gd name="connsiteX9" fmla="*/ 120954 w 599763"/>
                <a:gd name="connsiteY9" fmla="*/ 264171 h 354892"/>
                <a:gd name="connsiteX10" fmla="*/ 119804 w 599763"/>
                <a:gd name="connsiteY10" fmla="*/ 289476 h 354892"/>
                <a:gd name="connsiteX11" fmla="*/ 106236 w 599763"/>
                <a:gd name="connsiteY11" fmla="*/ 289476 h 354892"/>
                <a:gd name="connsiteX12" fmla="*/ 105087 w 599763"/>
                <a:gd name="connsiteY12" fmla="*/ 260490 h 354892"/>
                <a:gd name="connsiteX13" fmla="*/ 107616 w 599763"/>
                <a:gd name="connsiteY13" fmla="*/ 239326 h 354892"/>
                <a:gd name="connsiteX14" fmla="*/ 489266 w 599763"/>
                <a:gd name="connsiteY14" fmla="*/ 239296 h 354892"/>
                <a:gd name="connsiteX15" fmla="*/ 489726 w 599763"/>
                <a:gd name="connsiteY15" fmla="*/ 239296 h 354892"/>
                <a:gd name="connsiteX16" fmla="*/ 489956 w 599763"/>
                <a:gd name="connsiteY16" fmla="*/ 239296 h 354892"/>
                <a:gd name="connsiteX17" fmla="*/ 494785 w 599763"/>
                <a:gd name="connsiteY17" fmla="*/ 241139 h 354892"/>
                <a:gd name="connsiteX18" fmla="*/ 497314 w 599763"/>
                <a:gd name="connsiteY18" fmla="*/ 262332 h 354892"/>
                <a:gd name="connsiteX19" fmla="*/ 495475 w 599763"/>
                <a:gd name="connsiteY19" fmla="*/ 289284 h 354892"/>
                <a:gd name="connsiteX20" fmla="*/ 483748 w 599763"/>
                <a:gd name="connsiteY20" fmla="*/ 289284 h 354892"/>
                <a:gd name="connsiteX21" fmla="*/ 481909 w 599763"/>
                <a:gd name="connsiteY21" fmla="*/ 262332 h 354892"/>
                <a:gd name="connsiteX22" fmla="*/ 484668 w 599763"/>
                <a:gd name="connsiteY22" fmla="*/ 241139 h 354892"/>
                <a:gd name="connsiteX23" fmla="*/ 489266 w 599763"/>
                <a:gd name="connsiteY23" fmla="*/ 239296 h 354892"/>
                <a:gd name="connsiteX24" fmla="*/ 180432 w 599763"/>
                <a:gd name="connsiteY24" fmla="*/ 237494 h 354892"/>
                <a:gd name="connsiteX25" fmla="*/ 190798 w 599763"/>
                <a:gd name="connsiteY25" fmla="*/ 237494 h 354892"/>
                <a:gd name="connsiteX26" fmla="*/ 192871 w 599763"/>
                <a:gd name="connsiteY26" fmla="*/ 264426 h 354892"/>
                <a:gd name="connsiteX27" fmla="*/ 192180 w 599763"/>
                <a:gd name="connsiteY27" fmla="*/ 290897 h 354892"/>
                <a:gd name="connsiteX28" fmla="*/ 182275 w 599763"/>
                <a:gd name="connsiteY28" fmla="*/ 292278 h 354892"/>
                <a:gd name="connsiteX29" fmla="*/ 177207 w 599763"/>
                <a:gd name="connsiteY29" fmla="*/ 264426 h 354892"/>
                <a:gd name="connsiteX30" fmla="*/ 180432 w 599763"/>
                <a:gd name="connsiteY30" fmla="*/ 237494 h 354892"/>
                <a:gd name="connsiteX31" fmla="*/ 491561 w 599763"/>
                <a:gd name="connsiteY31" fmla="*/ 162223 h 354892"/>
                <a:gd name="connsiteX32" fmla="*/ 497317 w 599763"/>
                <a:gd name="connsiteY32" fmla="*/ 169588 h 354892"/>
                <a:gd name="connsiteX33" fmla="*/ 497317 w 599763"/>
                <a:gd name="connsiteY33" fmla="*/ 172810 h 354892"/>
                <a:gd name="connsiteX34" fmla="*/ 496396 w 599763"/>
                <a:gd name="connsiteY34" fmla="*/ 177413 h 354892"/>
                <a:gd name="connsiteX35" fmla="*/ 495936 w 599763"/>
                <a:gd name="connsiteY35" fmla="*/ 190761 h 354892"/>
                <a:gd name="connsiteX36" fmla="*/ 495245 w 599763"/>
                <a:gd name="connsiteY36" fmla="*/ 216536 h 354892"/>
                <a:gd name="connsiteX37" fmla="*/ 483962 w 599763"/>
                <a:gd name="connsiteY37" fmla="*/ 216536 h 354892"/>
                <a:gd name="connsiteX38" fmla="*/ 480508 w 599763"/>
                <a:gd name="connsiteY38" fmla="*/ 181325 h 354892"/>
                <a:gd name="connsiteX39" fmla="*/ 491561 w 599763"/>
                <a:gd name="connsiteY39" fmla="*/ 162223 h 354892"/>
                <a:gd name="connsiteX40" fmla="*/ 107804 w 599763"/>
                <a:gd name="connsiteY40" fmla="*/ 161985 h 354892"/>
                <a:gd name="connsiteX41" fmla="*/ 118202 w 599763"/>
                <a:gd name="connsiteY41" fmla="*/ 161985 h 354892"/>
                <a:gd name="connsiteX42" fmla="*/ 121206 w 599763"/>
                <a:gd name="connsiteY42" fmla="*/ 185689 h 354892"/>
                <a:gd name="connsiteX43" fmla="*/ 121206 w 599763"/>
                <a:gd name="connsiteY43" fmla="*/ 210084 h 354892"/>
                <a:gd name="connsiteX44" fmla="*/ 107572 w 599763"/>
                <a:gd name="connsiteY44" fmla="*/ 211925 h 354892"/>
                <a:gd name="connsiteX45" fmla="*/ 105262 w 599763"/>
                <a:gd name="connsiteY45" fmla="*/ 185689 h 354892"/>
                <a:gd name="connsiteX46" fmla="*/ 107804 w 599763"/>
                <a:gd name="connsiteY46" fmla="*/ 161985 h 354892"/>
                <a:gd name="connsiteX47" fmla="*/ 186439 w 599763"/>
                <a:gd name="connsiteY47" fmla="*/ 161051 h 354892"/>
                <a:gd name="connsiteX48" fmla="*/ 197503 w 599763"/>
                <a:gd name="connsiteY48" fmla="*/ 162433 h 354892"/>
                <a:gd name="connsiteX49" fmla="*/ 197734 w 599763"/>
                <a:gd name="connsiteY49" fmla="*/ 186851 h 354892"/>
                <a:gd name="connsiteX50" fmla="*/ 197734 w 599763"/>
                <a:gd name="connsiteY50" fmla="*/ 213112 h 354892"/>
                <a:gd name="connsiteX51" fmla="*/ 185286 w 599763"/>
                <a:gd name="connsiteY51" fmla="*/ 214725 h 354892"/>
                <a:gd name="connsiteX52" fmla="*/ 182289 w 599763"/>
                <a:gd name="connsiteY52" fmla="*/ 184087 h 354892"/>
                <a:gd name="connsiteX53" fmla="*/ 186439 w 599763"/>
                <a:gd name="connsiteY53" fmla="*/ 161051 h 354892"/>
                <a:gd name="connsiteX54" fmla="*/ 270786 w 599763"/>
                <a:gd name="connsiteY54" fmla="*/ 160616 h 354892"/>
                <a:gd name="connsiteX55" fmla="*/ 276544 w 599763"/>
                <a:gd name="connsiteY55" fmla="*/ 162918 h 354892"/>
                <a:gd name="connsiteX56" fmla="*/ 278847 w 599763"/>
                <a:gd name="connsiteY56" fmla="*/ 170977 h 354892"/>
                <a:gd name="connsiteX57" fmla="*/ 274701 w 599763"/>
                <a:gd name="connsiteY57" fmla="*/ 215182 h 354892"/>
                <a:gd name="connsiteX58" fmla="*/ 261343 w 599763"/>
                <a:gd name="connsiteY58" fmla="*/ 215182 h 354892"/>
                <a:gd name="connsiteX59" fmla="*/ 262956 w 599763"/>
                <a:gd name="connsiteY59" fmla="*/ 166602 h 354892"/>
                <a:gd name="connsiteX60" fmla="*/ 270786 w 599763"/>
                <a:gd name="connsiteY60" fmla="*/ 160616 h 354892"/>
                <a:gd name="connsiteX61" fmla="*/ 416901 w 599763"/>
                <a:gd name="connsiteY61" fmla="*/ 160241 h 354892"/>
                <a:gd name="connsiteX62" fmla="*/ 425175 w 599763"/>
                <a:gd name="connsiteY62" fmla="*/ 168006 h 354892"/>
                <a:gd name="connsiteX63" fmla="*/ 420562 w 599763"/>
                <a:gd name="connsiteY63" fmla="*/ 216326 h 354892"/>
                <a:gd name="connsiteX64" fmla="*/ 408800 w 599763"/>
                <a:gd name="connsiteY64" fmla="*/ 213104 h 354892"/>
                <a:gd name="connsiteX65" fmla="*/ 408800 w 599763"/>
                <a:gd name="connsiteY65" fmla="*/ 168006 h 354892"/>
                <a:gd name="connsiteX66" fmla="*/ 416901 w 599763"/>
                <a:gd name="connsiteY66" fmla="*/ 160241 h 354892"/>
                <a:gd name="connsiteX67" fmla="*/ 346478 w 599763"/>
                <a:gd name="connsiteY67" fmla="*/ 159746 h 354892"/>
                <a:gd name="connsiteX68" fmla="*/ 353060 w 599763"/>
                <a:gd name="connsiteY68" fmla="*/ 163373 h 354892"/>
                <a:gd name="connsiteX69" fmla="*/ 353060 w 599763"/>
                <a:gd name="connsiteY69" fmla="*/ 186402 h 354892"/>
                <a:gd name="connsiteX70" fmla="*/ 350057 w 599763"/>
                <a:gd name="connsiteY70" fmla="*/ 213346 h 354892"/>
                <a:gd name="connsiteX71" fmla="*/ 334815 w 599763"/>
                <a:gd name="connsiteY71" fmla="*/ 211274 h 354892"/>
                <a:gd name="connsiteX72" fmla="*/ 337125 w 599763"/>
                <a:gd name="connsiteY72" fmla="*/ 184329 h 354892"/>
                <a:gd name="connsiteX73" fmla="*/ 339896 w 599763"/>
                <a:gd name="connsiteY73" fmla="*/ 163373 h 354892"/>
                <a:gd name="connsiteX74" fmla="*/ 346478 w 599763"/>
                <a:gd name="connsiteY74" fmla="*/ 159746 h 354892"/>
                <a:gd name="connsiteX75" fmla="*/ 541601 w 599763"/>
                <a:gd name="connsiteY75" fmla="*/ 132325 h 354892"/>
                <a:gd name="connsiteX76" fmla="*/ 508182 w 599763"/>
                <a:gd name="connsiteY76" fmla="*/ 132555 h 354892"/>
                <a:gd name="connsiteX77" fmla="*/ 380500 w 599763"/>
                <a:gd name="connsiteY77" fmla="*/ 136007 h 354892"/>
                <a:gd name="connsiteX78" fmla="*/ 256967 w 599763"/>
                <a:gd name="connsiteY78" fmla="*/ 136237 h 354892"/>
                <a:gd name="connsiteX79" fmla="*/ 129515 w 599763"/>
                <a:gd name="connsiteY79" fmla="*/ 139919 h 354892"/>
                <a:gd name="connsiteX80" fmla="*/ 67979 w 599763"/>
                <a:gd name="connsiteY80" fmla="*/ 142681 h 354892"/>
                <a:gd name="connsiteX81" fmla="*/ 83421 w 599763"/>
                <a:gd name="connsiteY81" fmla="*/ 333237 h 354892"/>
                <a:gd name="connsiteX82" fmla="*/ 266186 w 599763"/>
                <a:gd name="connsiteY82" fmla="*/ 335308 h 354892"/>
                <a:gd name="connsiteX83" fmla="*/ 260193 w 599763"/>
                <a:gd name="connsiteY83" fmla="*/ 297565 h 354892"/>
                <a:gd name="connsiteX84" fmla="*/ 258119 w 599763"/>
                <a:gd name="connsiteY84" fmla="*/ 244403 h 354892"/>
                <a:gd name="connsiteX85" fmla="*/ 265955 w 599763"/>
                <a:gd name="connsiteY85" fmla="*/ 236578 h 354892"/>
                <a:gd name="connsiteX86" fmla="*/ 338554 w 599763"/>
                <a:gd name="connsiteY86" fmla="*/ 232436 h 354892"/>
                <a:gd name="connsiteX87" fmla="*/ 346620 w 599763"/>
                <a:gd name="connsiteY87" fmla="*/ 240490 h 354892"/>
                <a:gd name="connsiteX88" fmla="*/ 347312 w 599763"/>
                <a:gd name="connsiteY88" fmla="*/ 303319 h 354892"/>
                <a:gd name="connsiteX89" fmla="*/ 346620 w 599763"/>
                <a:gd name="connsiteY89" fmla="*/ 333467 h 354892"/>
                <a:gd name="connsiteX90" fmla="*/ 542292 w 599763"/>
                <a:gd name="connsiteY90" fmla="*/ 330705 h 354892"/>
                <a:gd name="connsiteX91" fmla="*/ 540218 w 599763"/>
                <a:gd name="connsiteY91" fmla="*/ 219548 h 354892"/>
                <a:gd name="connsiteX92" fmla="*/ 539296 w 599763"/>
                <a:gd name="connsiteY92" fmla="*/ 177662 h 354892"/>
                <a:gd name="connsiteX93" fmla="*/ 536761 w 599763"/>
                <a:gd name="connsiteY93" fmla="*/ 146363 h 354892"/>
                <a:gd name="connsiteX94" fmla="*/ 541601 w 599763"/>
                <a:gd name="connsiteY94" fmla="*/ 132325 h 354892"/>
                <a:gd name="connsiteX95" fmla="*/ 312050 w 599763"/>
                <a:gd name="connsiteY95" fmla="*/ 16565 h 354892"/>
                <a:gd name="connsiteX96" fmla="*/ 220782 w 599763"/>
                <a:gd name="connsiteY96" fmla="*/ 54308 h 354892"/>
                <a:gd name="connsiteX97" fmla="*/ 141500 w 599763"/>
                <a:gd name="connsiteY97" fmla="*/ 94122 h 354892"/>
                <a:gd name="connsiteX98" fmla="*/ 74663 w 599763"/>
                <a:gd name="connsiteY98" fmla="*/ 124500 h 354892"/>
                <a:gd name="connsiteX99" fmla="*/ 147723 w 599763"/>
                <a:gd name="connsiteY99" fmla="*/ 122889 h 354892"/>
                <a:gd name="connsiteX100" fmla="*/ 275174 w 599763"/>
                <a:gd name="connsiteY100" fmla="*/ 119667 h 354892"/>
                <a:gd name="connsiteX101" fmla="*/ 393406 w 599763"/>
                <a:gd name="connsiteY101" fmla="*/ 119207 h 354892"/>
                <a:gd name="connsiteX102" fmla="*/ 530077 w 599763"/>
                <a:gd name="connsiteY102" fmla="*/ 115985 h 354892"/>
                <a:gd name="connsiteX103" fmla="*/ 576863 w 599763"/>
                <a:gd name="connsiteY103" fmla="*/ 115525 h 354892"/>
                <a:gd name="connsiteX104" fmla="*/ 537452 w 599763"/>
                <a:gd name="connsiteY104" fmla="*/ 100335 h 354892"/>
                <a:gd name="connsiteX105" fmla="*/ 489053 w 599763"/>
                <a:gd name="connsiteY105" fmla="*/ 84916 h 354892"/>
                <a:gd name="connsiteX106" fmla="*/ 400551 w 599763"/>
                <a:gd name="connsiteY106" fmla="*/ 49014 h 354892"/>
                <a:gd name="connsiteX107" fmla="*/ 352152 w 599763"/>
                <a:gd name="connsiteY107" fmla="*/ 28992 h 354892"/>
                <a:gd name="connsiteX108" fmla="*/ 312050 w 599763"/>
                <a:gd name="connsiteY108" fmla="*/ 16565 h 354892"/>
                <a:gd name="connsiteX109" fmla="*/ 306925 w 599763"/>
                <a:gd name="connsiteY109" fmla="*/ 99 h 354892"/>
                <a:gd name="connsiteX110" fmla="*/ 327491 w 599763"/>
                <a:gd name="connsiteY110" fmla="*/ 2526 h 354892"/>
                <a:gd name="connsiteX111" fmla="*/ 518323 w 599763"/>
                <a:gd name="connsiteY111" fmla="*/ 76861 h 354892"/>
                <a:gd name="connsiteX112" fmla="*/ 599680 w 599763"/>
                <a:gd name="connsiteY112" fmla="*/ 123119 h 354892"/>
                <a:gd name="connsiteX113" fmla="*/ 598297 w 599763"/>
                <a:gd name="connsiteY113" fmla="*/ 126801 h 354892"/>
                <a:gd name="connsiteX114" fmla="*/ 585621 w 599763"/>
                <a:gd name="connsiteY114" fmla="*/ 132325 h 354892"/>
                <a:gd name="connsiteX115" fmla="*/ 581703 w 599763"/>
                <a:gd name="connsiteY115" fmla="*/ 133936 h 354892"/>
                <a:gd name="connsiteX116" fmla="*/ 563495 w 599763"/>
                <a:gd name="connsiteY116" fmla="*/ 132785 h 354892"/>
                <a:gd name="connsiteX117" fmla="*/ 544597 w 599763"/>
                <a:gd name="connsiteY117" fmla="*/ 132325 h 354892"/>
                <a:gd name="connsiteX118" fmla="*/ 548515 w 599763"/>
                <a:gd name="connsiteY118" fmla="*/ 134856 h 354892"/>
                <a:gd name="connsiteX119" fmla="*/ 556581 w 599763"/>
                <a:gd name="connsiteY119" fmla="*/ 204589 h 354892"/>
                <a:gd name="connsiteX120" fmla="*/ 558655 w 599763"/>
                <a:gd name="connsiteY120" fmla="*/ 338530 h 354892"/>
                <a:gd name="connsiteX121" fmla="*/ 550589 w 599763"/>
                <a:gd name="connsiteY121" fmla="*/ 346815 h 354892"/>
                <a:gd name="connsiteX122" fmla="*/ 299374 w 599763"/>
                <a:gd name="connsiteY122" fmla="*/ 350727 h 354892"/>
                <a:gd name="connsiteX123" fmla="*/ 75815 w 599763"/>
                <a:gd name="connsiteY123" fmla="*/ 348656 h 354892"/>
                <a:gd name="connsiteX124" fmla="*/ 67518 w 599763"/>
                <a:gd name="connsiteY124" fmla="*/ 340371 h 354892"/>
                <a:gd name="connsiteX125" fmla="*/ 56225 w 599763"/>
                <a:gd name="connsiteY125" fmla="*/ 142911 h 354892"/>
                <a:gd name="connsiteX126" fmla="*/ 14049 w 599763"/>
                <a:gd name="connsiteY126" fmla="*/ 140840 h 354892"/>
                <a:gd name="connsiteX127" fmla="*/ 10592 w 599763"/>
                <a:gd name="connsiteY127" fmla="*/ 142681 h 354892"/>
                <a:gd name="connsiteX128" fmla="*/ 1142 w 599763"/>
                <a:gd name="connsiteY128" fmla="*/ 133245 h 354892"/>
                <a:gd name="connsiteX129" fmla="*/ 53690 w 599763"/>
                <a:gd name="connsiteY129" fmla="*/ 114604 h 354892"/>
                <a:gd name="connsiteX130" fmla="*/ 154867 w 599763"/>
                <a:gd name="connsiteY130" fmla="*/ 68806 h 354892"/>
                <a:gd name="connsiteX131" fmla="*/ 249592 w 599763"/>
                <a:gd name="connsiteY131" fmla="*/ 21167 h 354892"/>
                <a:gd name="connsiteX132" fmla="*/ 306925 w 599763"/>
                <a:gd name="connsiteY132" fmla="*/ 99 h 3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9763" h="354892">
                  <a:moveTo>
                    <a:pt x="413435" y="242351"/>
                  </a:moveTo>
                  <a:cubicBezTo>
                    <a:pt x="416422" y="241202"/>
                    <a:pt x="420328" y="243731"/>
                    <a:pt x="421018" y="246720"/>
                  </a:cubicBezTo>
                  <a:cubicBezTo>
                    <a:pt x="422856" y="254766"/>
                    <a:pt x="419869" y="265341"/>
                    <a:pt x="419179" y="273388"/>
                  </a:cubicBezTo>
                  <a:cubicBezTo>
                    <a:pt x="418490" y="283043"/>
                    <a:pt x="417801" y="293159"/>
                    <a:pt x="413665" y="301895"/>
                  </a:cubicBezTo>
                  <a:cubicBezTo>
                    <a:pt x="411367" y="306263"/>
                    <a:pt x="404015" y="304194"/>
                    <a:pt x="404245" y="299366"/>
                  </a:cubicBezTo>
                  <a:cubicBezTo>
                    <a:pt x="404704" y="287411"/>
                    <a:pt x="404704" y="275457"/>
                    <a:pt x="405164" y="263502"/>
                  </a:cubicBezTo>
                  <a:cubicBezTo>
                    <a:pt x="405393" y="255456"/>
                    <a:pt x="404704" y="245800"/>
                    <a:pt x="413435" y="242351"/>
                  </a:cubicBezTo>
                  <a:close/>
                  <a:moveTo>
                    <a:pt x="107616" y="239326"/>
                  </a:moveTo>
                  <a:cubicBezTo>
                    <a:pt x="110376" y="235415"/>
                    <a:pt x="115665" y="235415"/>
                    <a:pt x="118194" y="239326"/>
                  </a:cubicBezTo>
                  <a:cubicBezTo>
                    <a:pt x="123024" y="246457"/>
                    <a:pt x="120954" y="255889"/>
                    <a:pt x="120954" y="264171"/>
                  </a:cubicBezTo>
                  <a:cubicBezTo>
                    <a:pt x="120724" y="272683"/>
                    <a:pt x="120724" y="281194"/>
                    <a:pt x="119804" y="289476"/>
                  </a:cubicBezTo>
                  <a:cubicBezTo>
                    <a:pt x="118884" y="298218"/>
                    <a:pt x="107156" y="298218"/>
                    <a:pt x="106236" y="289476"/>
                  </a:cubicBezTo>
                  <a:cubicBezTo>
                    <a:pt x="105087" y="279814"/>
                    <a:pt x="105087" y="270152"/>
                    <a:pt x="105087" y="260490"/>
                  </a:cubicBezTo>
                  <a:cubicBezTo>
                    <a:pt x="104857" y="253129"/>
                    <a:pt x="103477" y="245767"/>
                    <a:pt x="107616" y="239326"/>
                  </a:cubicBezTo>
                  <a:close/>
                  <a:moveTo>
                    <a:pt x="489266" y="239296"/>
                  </a:moveTo>
                  <a:cubicBezTo>
                    <a:pt x="489496" y="239296"/>
                    <a:pt x="489496" y="239296"/>
                    <a:pt x="489726" y="239296"/>
                  </a:cubicBezTo>
                  <a:cubicBezTo>
                    <a:pt x="489726" y="239296"/>
                    <a:pt x="489956" y="239296"/>
                    <a:pt x="489956" y="239296"/>
                  </a:cubicBezTo>
                  <a:cubicBezTo>
                    <a:pt x="491566" y="239296"/>
                    <a:pt x="493175" y="239757"/>
                    <a:pt x="494785" y="241139"/>
                  </a:cubicBezTo>
                  <a:cubicBezTo>
                    <a:pt x="499843" y="245746"/>
                    <a:pt x="497544" y="256343"/>
                    <a:pt x="497314" y="262332"/>
                  </a:cubicBezTo>
                  <a:cubicBezTo>
                    <a:pt x="497084" y="270395"/>
                    <a:pt x="498694" y="281682"/>
                    <a:pt x="495475" y="289284"/>
                  </a:cubicBezTo>
                  <a:cubicBezTo>
                    <a:pt x="493175" y="295043"/>
                    <a:pt x="486277" y="295043"/>
                    <a:pt x="483748" y="289284"/>
                  </a:cubicBezTo>
                  <a:cubicBezTo>
                    <a:pt x="480529" y="281682"/>
                    <a:pt x="482138" y="270395"/>
                    <a:pt x="481909" y="262332"/>
                  </a:cubicBezTo>
                  <a:cubicBezTo>
                    <a:pt x="481909" y="256343"/>
                    <a:pt x="479379" y="245746"/>
                    <a:pt x="484668" y="241139"/>
                  </a:cubicBezTo>
                  <a:cubicBezTo>
                    <a:pt x="486047" y="239757"/>
                    <a:pt x="487657" y="239296"/>
                    <a:pt x="489266" y="239296"/>
                  </a:cubicBezTo>
                  <a:close/>
                  <a:moveTo>
                    <a:pt x="180432" y="237494"/>
                  </a:moveTo>
                  <a:cubicBezTo>
                    <a:pt x="182736" y="233811"/>
                    <a:pt x="188495" y="233581"/>
                    <a:pt x="190798" y="237494"/>
                  </a:cubicBezTo>
                  <a:cubicBezTo>
                    <a:pt x="195636" y="245551"/>
                    <a:pt x="193102" y="255449"/>
                    <a:pt x="192871" y="264426"/>
                  </a:cubicBezTo>
                  <a:cubicBezTo>
                    <a:pt x="192641" y="273173"/>
                    <a:pt x="193793" y="282380"/>
                    <a:pt x="192180" y="290897"/>
                  </a:cubicBezTo>
                  <a:cubicBezTo>
                    <a:pt x="191489" y="295961"/>
                    <a:pt x="184579" y="295731"/>
                    <a:pt x="182275" y="292278"/>
                  </a:cubicBezTo>
                  <a:cubicBezTo>
                    <a:pt x="176977" y="284682"/>
                    <a:pt x="177207" y="273173"/>
                    <a:pt x="177207" y="264426"/>
                  </a:cubicBezTo>
                  <a:cubicBezTo>
                    <a:pt x="177207" y="255679"/>
                    <a:pt x="175595" y="245320"/>
                    <a:pt x="180432" y="237494"/>
                  </a:cubicBezTo>
                  <a:close/>
                  <a:moveTo>
                    <a:pt x="491561" y="162223"/>
                  </a:moveTo>
                  <a:cubicBezTo>
                    <a:pt x="495706" y="161533"/>
                    <a:pt x="498008" y="166366"/>
                    <a:pt x="497317" y="169588"/>
                  </a:cubicBezTo>
                  <a:cubicBezTo>
                    <a:pt x="498008" y="166366"/>
                    <a:pt x="497317" y="172810"/>
                    <a:pt x="497317" y="172810"/>
                  </a:cubicBezTo>
                  <a:cubicBezTo>
                    <a:pt x="497087" y="174421"/>
                    <a:pt x="496627" y="175802"/>
                    <a:pt x="496396" y="177413"/>
                  </a:cubicBezTo>
                  <a:cubicBezTo>
                    <a:pt x="495936" y="181785"/>
                    <a:pt x="495936" y="186388"/>
                    <a:pt x="495936" y="190761"/>
                  </a:cubicBezTo>
                  <a:cubicBezTo>
                    <a:pt x="495936" y="199506"/>
                    <a:pt x="496627" y="208251"/>
                    <a:pt x="495245" y="216536"/>
                  </a:cubicBezTo>
                  <a:cubicBezTo>
                    <a:pt x="494324" y="222290"/>
                    <a:pt x="485114" y="222060"/>
                    <a:pt x="483962" y="216536"/>
                  </a:cubicBezTo>
                  <a:cubicBezTo>
                    <a:pt x="481890" y="205260"/>
                    <a:pt x="480739" y="192832"/>
                    <a:pt x="480508" y="181325"/>
                  </a:cubicBezTo>
                  <a:cubicBezTo>
                    <a:pt x="480508" y="172580"/>
                    <a:pt x="481429" y="163374"/>
                    <a:pt x="491561" y="162223"/>
                  </a:cubicBezTo>
                  <a:close/>
                  <a:moveTo>
                    <a:pt x="107804" y="161985"/>
                  </a:moveTo>
                  <a:cubicBezTo>
                    <a:pt x="110576" y="158993"/>
                    <a:pt x="115429" y="159223"/>
                    <a:pt x="118202" y="161985"/>
                  </a:cubicBezTo>
                  <a:cubicBezTo>
                    <a:pt x="123517" y="167278"/>
                    <a:pt x="121206" y="178785"/>
                    <a:pt x="121206" y="185689"/>
                  </a:cubicBezTo>
                  <a:cubicBezTo>
                    <a:pt x="121206" y="193744"/>
                    <a:pt x="121668" y="202029"/>
                    <a:pt x="121206" y="210084"/>
                  </a:cubicBezTo>
                  <a:cubicBezTo>
                    <a:pt x="120975" y="217909"/>
                    <a:pt x="109883" y="219750"/>
                    <a:pt x="107572" y="211925"/>
                  </a:cubicBezTo>
                  <a:cubicBezTo>
                    <a:pt x="105031" y="203640"/>
                    <a:pt x="105493" y="194204"/>
                    <a:pt x="105262" y="185689"/>
                  </a:cubicBezTo>
                  <a:cubicBezTo>
                    <a:pt x="105031" y="178785"/>
                    <a:pt x="102489" y="167278"/>
                    <a:pt x="107804" y="161985"/>
                  </a:cubicBezTo>
                  <a:close/>
                  <a:moveTo>
                    <a:pt x="186439" y="161051"/>
                  </a:moveTo>
                  <a:cubicBezTo>
                    <a:pt x="190127" y="158287"/>
                    <a:pt x="194967" y="158287"/>
                    <a:pt x="197503" y="162433"/>
                  </a:cubicBezTo>
                  <a:cubicBezTo>
                    <a:pt x="201422" y="168653"/>
                    <a:pt x="198195" y="179710"/>
                    <a:pt x="197734" y="186851"/>
                  </a:cubicBezTo>
                  <a:cubicBezTo>
                    <a:pt x="197503" y="195605"/>
                    <a:pt x="197734" y="204359"/>
                    <a:pt x="197734" y="213112"/>
                  </a:cubicBezTo>
                  <a:cubicBezTo>
                    <a:pt x="197964" y="220253"/>
                    <a:pt x="187130" y="221866"/>
                    <a:pt x="185286" y="214725"/>
                  </a:cubicBezTo>
                  <a:cubicBezTo>
                    <a:pt x="182750" y="205050"/>
                    <a:pt x="182289" y="194223"/>
                    <a:pt x="182289" y="184087"/>
                  </a:cubicBezTo>
                  <a:cubicBezTo>
                    <a:pt x="182289" y="177407"/>
                    <a:pt x="180676" y="165889"/>
                    <a:pt x="186439" y="161051"/>
                  </a:cubicBezTo>
                  <a:close/>
                  <a:moveTo>
                    <a:pt x="270786" y="160616"/>
                  </a:moveTo>
                  <a:cubicBezTo>
                    <a:pt x="273319" y="160616"/>
                    <a:pt x="274932" y="161307"/>
                    <a:pt x="276544" y="162918"/>
                  </a:cubicBezTo>
                  <a:cubicBezTo>
                    <a:pt x="278617" y="164760"/>
                    <a:pt x="279538" y="168214"/>
                    <a:pt x="278847" y="170977"/>
                  </a:cubicBezTo>
                  <a:cubicBezTo>
                    <a:pt x="274010" y="185251"/>
                    <a:pt x="275853" y="200217"/>
                    <a:pt x="274701" y="215182"/>
                  </a:cubicBezTo>
                  <a:cubicBezTo>
                    <a:pt x="274010" y="223701"/>
                    <a:pt x="262034" y="223701"/>
                    <a:pt x="261343" y="215182"/>
                  </a:cubicBezTo>
                  <a:cubicBezTo>
                    <a:pt x="259731" y="199066"/>
                    <a:pt x="258580" y="182258"/>
                    <a:pt x="262956" y="166602"/>
                  </a:cubicBezTo>
                  <a:cubicBezTo>
                    <a:pt x="264107" y="163149"/>
                    <a:pt x="267331" y="160616"/>
                    <a:pt x="270786" y="160616"/>
                  </a:cubicBezTo>
                  <a:close/>
                  <a:moveTo>
                    <a:pt x="416901" y="160241"/>
                  </a:moveTo>
                  <a:cubicBezTo>
                    <a:pt x="421023" y="160241"/>
                    <a:pt x="425175" y="162829"/>
                    <a:pt x="425175" y="168006"/>
                  </a:cubicBezTo>
                  <a:cubicBezTo>
                    <a:pt x="425175" y="184113"/>
                    <a:pt x="427020" y="201370"/>
                    <a:pt x="420562" y="216326"/>
                  </a:cubicBezTo>
                  <a:cubicBezTo>
                    <a:pt x="418025" y="222078"/>
                    <a:pt x="408108" y="219317"/>
                    <a:pt x="408800" y="213104"/>
                  </a:cubicBezTo>
                  <a:cubicBezTo>
                    <a:pt x="410183" y="197918"/>
                    <a:pt x="409261" y="183192"/>
                    <a:pt x="408800" y="168006"/>
                  </a:cubicBezTo>
                  <a:cubicBezTo>
                    <a:pt x="408685" y="162829"/>
                    <a:pt x="412778" y="160241"/>
                    <a:pt x="416901" y="160241"/>
                  </a:cubicBezTo>
                  <a:close/>
                  <a:moveTo>
                    <a:pt x="346478" y="159746"/>
                  </a:moveTo>
                  <a:cubicBezTo>
                    <a:pt x="348961" y="159631"/>
                    <a:pt x="351443" y="160725"/>
                    <a:pt x="353060" y="163373"/>
                  </a:cubicBezTo>
                  <a:cubicBezTo>
                    <a:pt x="356524" y="169360"/>
                    <a:pt x="353752" y="179954"/>
                    <a:pt x="353060" y="186402"/>
                  </a:cubicBezTo>
                  <a:cubicBezTo>
                    <a:pt x="352367" y="195383"/>
                    <a:pt x="351674" y="204365"/>
                    <a:pt x="350057" y="213346"/>
                  </a:cubicBezTo>
                  <a:cubicBezTo>
                    <a:pt x="348441" y="221867"/>
                    <a:pt x="333661" y="219794"/>
                    <a:pt x="334815" y="211274"/>
                  </a:cubicBezTo>
                  <a:cubicBezTo>
                    <a:pt x="335970" y="202292"/>
                    <a:pt x="336432" y="193311"/>
                    <a:pt x="337125" y="184329"/>
                  </a:cubicBezTo>
                  <a:cubicBezTo>
                    <a:pt x="337356" y="178572"/>
                    <a:pt x="336201" y="167979"/>
                    <a:pt x="339896" y="163373"/>
                  </a:cubicBezTo>
                  <a:cubicBezTo>
                    <a:pt x="341513" y="161185"/>
                    <a:pt x="343995" y="159861"/>
                    <a:pt x="346478" y="159746"/>
                  </a:cubicBezTo>
                  <a:close/>
                  <a:moveTo>
                    <a:pt x="541601" y="132325"/>
                  </a:moveTo>
                  <a:cubicBezTo>
                    <a:pt x="530307" y="132325"/>
                    <a:pt x="519245" y="132325"/>
                    <a:pt x="508182" y="132555"/>
                  </a:cubicBezTo>
                  <a:cubicBezTo>
                    <a:pt x="465544" y="133245"/>
                    <a:pt x="423137" y="134856"/>
                    <a:pt x="380500" y="136007"/>
                  </a:cubicBezTo>
                  <a:cubicBezTo>
                    <a:pt x="339245" y="137388"/>
                    <a:pt x="298221" y="135777"/>
                    <a:pt x="256967" y="136237"/>
                  </a:cubicBezTo>
                  <a:cubicBezTo>
                    <a:pt x="214560" y="136697"/>
                    <a:pt x="172153" y="138308"/>
                    <a:pt x="129515" y="139919"/>
                  </a:cubicBezTo>
                  <a:cubicBezTo>
                    <a:pt x="109234" y="140840"/>
                    <a:pt x="88722" y="142221"/>
                    <a:pt x="67979" y="142681"/>
                  </a:cubicBezTo>
                  <a:cubicBezTo>
                    <a:pt x="71667" y="206200"/>
                    <a:pt x="79272" y="269718"/>
                    <a:pt x="83421" y="333237"/>
                  </a:cubicBezTo>
                  <a:cubicBezTo>
                    <a:pt x="144496" y="340831"/>
                    <a:pt x="205341" y="337609"/>
                    <a:pt x="266186" y="335308"/>
                  </a:cubicBezTo>
                  <a:cubicBezTo>
                    <a:pt x="259271" y="327253"/>
                    <a:pt x="260654" y="306080"/>
                    <a:pt x="260193" y="297565"/>
                  </a:cubicBezTo>
                  <a:cubicBezTo>
                    <a:pt x="258810" y="279844"/>
                    <a:pt x="258119" y="262124"/>
                    <a:pt x="258119" y="244403"/>
                  </a:cubicBezTo>
                  <a:cubicBezTo>
                    <a:pt x="257889" y="239800"/>
                    <a:pt x="261807" y="236808"/>
                    <a:pt x="265955" y="236578"/>
                  </a:cubicBezTo>
                  <a:cubicBezTo>
                    <a:pt x="290155" y="234507"/>
                    <a:pt x="314354" y="232666"/>
                    <a:pt x="338554" y="232436"/>
                  </a:cubicBezTo>
                  <a:cubicBezTo>
                    <a:pt x="342933" y="232436"/>
                    <a:pt x="346620" y="236118"/>
                    <a:pt x="346620" y="240490"/>
                  </a:cubicBezTo>
                  <a:cubicBezTo>
                    <a:pt x="346851" y="261433"/>
                    <a:pt x="347542" y="282376"/>
                    <a:pt x="347312" y="303319"/>
                  </a:cubicBezTo>
                  <a:cubicBezTo>
                    <a:pt x="347081" y="312294"/>
                    <a:pt x="348003" y="323571"/>
                    <a:pt x="346620" y="333467"/>
                  </a:cubicBezTo>
                  <a:cubicBezTo>
                    <a:pt x="411844" y="332776"/>
                    <a:pt x="477068" y="333237"/>
                    <a:pt x="542292" y="330705"/>
                  </a:cubicBezTo>
                  <a:cubicBezTo>
                    <a:pt x="542061" y="293653"/>
                    <a:pt x="540448" y="256600"/>
                    <a:pt x="540218" y="219548"/>
                  </a:cubicBezTo>
                  <a:cubicBezTo>
                    <a:pt x="540218" y="205739"/>
                    <a:pt x="539987" y="191701"/>
                    <a:pt x="539296" y="177662"/>
                  </a:cubicBezTo>
                  <a:cubicBezTo>
                    <a:pt x="539065" y="171449"/>
                    <a:pt x="540909" y="151426"/>
                    <a:pt x="536761" y="146363"/>
                  </a:cubicBezTo>
                  <a:cubicBezTo>
                    <a:pt x="532151" y="140840"/>
                    <a:pt x="536300" y="133476"/>
                    <a:pt x="541601" y="132325"/>
                  </a:cubicBezTo>
                  <a:close/>
                  <a:moveTo>
                    <a:pt x="312050" y="16565"/>
                  </a:moveTo>
                  <a:cubicBezTo>
                    <a:pt x="279322" y="16795"/>
                    <a:pt x="249822" y="41420"/>
                    <a:pt x="220782" y="54308"/>
                  </a:cubicBezTo>
                  <a:cubicBezTo>
                    <a:pt x="193817" y="66275"/>
                    <a:pt x="168004" y="81004"/>
                    <a:pt x="141500" y="94122"/>
                  </a:cubicBezTo>
                  <a:cubicBezTo>
                    <a:pt x="119836" y="105168"/>
                    <a:pt x="97710" y="115985"/>
                    <a:pt x="74663" y="124500"/>
                  </a:cubicBezTo>
                  <a:cubicBezTo>
                    <a:pt x="99093" y="123810"/>
                    <a:pt x="123754" y="123810"/>
                    <a:pt x="147723" y="122889"/>
                  </a:cubicBezTo>
                  <a:cubicBezTo>
                    <a:pt x="190130" y="121278"/>
                    <a:pt x="232767" y="119437"/>
                    <a:pt x="275174" y="119667"/>
                  </a:cubicBezTo>
                  <a:cubicBezTo>
                    <a:pt x="314815" y="119897"/>
                    <a:pt x="353765" y="120588"/>
                    <a:pt x="393406" y="119207"/>
                  </a:cubicBezTo>
                  <a:cubicBezTo>
                    <a:pt x="439040" y="117826"/>
                    <a:pt x="484443" y="115985"/>
                    <a:pt x="530077" y="115985"/>
                  </a:cubicBezTo>
                  <a:cubicBezTo>
                    <a:pt x="539526" y="115985"/>
                    <a:pt x="560499" y="113223"/>
                    <a:pt x="576863" y="115525"/>
                  </a:cubicBezTo>
                  <a:cubicBezTo>
                    <a:pt x="565339" y="108390"/>
                    <a:pt x="542292" y="101946"/>
                    <a:pt x="537452" y="100335"/>
                  </a:cubicBezTo>
                  <a:cubicBezTo>
                    <a:pt x="521319" y="95042"/>
                    <a:pt x="504955" y="90900"/>
                    <a:pt x="489053" y="84916"/>
                  </a:cubicBezTo>
                  <a:cubicBezTo>
                    <a:pt x="459321" y="73639"/>
                    <a:pt x="430051" y="61442"/>
                    <a:pt x="400551" y="49014"/>
                  </a:cubicBezTo>
                  <a:cubicBezTo>
                    <a:pt x="384418" y="42340"/>
                    <a:pt x="368515" y="35436"/>
                    <a:pt x="352152" y="28992"/>
                  </a:cubicBezTo>
                  <a:cubicBezTo>
                    <a:pt x="339937" y="24389"/>
                    <a:pt x="325417" y="16335"/>
                    <a:pt x="312050" y="16565"/>
                  </a:cubicBezTo>
                  <a:close/>
                  <a:moveTo>
                    <a:pt x="306925" y="99"/>
                  </a:moveTo>
                  <a:cubicBezTo>
                    <a:pt x="313663" y="-279"/>
                    <a:pt x="320519" y="397"/>
                    <a:pt x="327491" y="2526"/>
                  </a:cubicBezTo>
                  <a:cubicBezTo>
                    <a:pt x="392715" y="22778"/>
                    <a:pt x="452868" y="56839"/>
                    <a:pt x="518323" y="76861"/>
                  </a:cubicBezTo>
                  <a:cubicBezTo>
                    <a:pt x="535839" y="82385"/>
                    <a:pt x="602445" y="95963"/>
                    <a:pt x="599680" y="123119"/>
                  </a:cubicBezTo>
                  <a:cubicBezTo>
                    <a:pt x="599449" y="124500"/>
                    <a:pt x="598988" y="125651"/>
                    <a:pt x="598297" y="126801"/>
                  </a:cubicBezTo>
                  <a:cubicBezTo>
                    <a:pt x="601062" y="133936"/>
                    <a:pt x="590000" y="139689"/>
                    <a:pt x="585621" y="132325"/>
                  </a:cubicBezTo>
                  <a:cubicBezTo>
                    <a:pt x="588386" y="137158"/>
                    <a:pt x="588617" y="134856"/>
                    <a:pt x="581703" y="133936"/>
                  </a:cubicBezTo>
                  <a:cubicBezTo>
                    <a:pt x="575480" y="133245"/>
                    <a:pt x="569488" y="133015"/>
                    <a:pt x="563495" y="132785"/>
                  </a:cubicBezTo>
                  <a:cubicBezTo>
                    <a:pt x="557042" y="132555"/>
                    <a:pt x="550819" y="132325"/>
                    <a:pt x="544597" y="132325"/>
                  </a:cubicBezTo>
                  <a:cubicBezTo>
                    <a:pt x="545979" y="132785"/>
                    <a:pt x="547362" y="133476"/>
                    <a:pt x="548515" y="134856"/>
                  </a:cubicBezTo>
                  <a:cubicBezTo>
                    <a:pt x="561191" y="150046"/>
                    <a:pt x="556351" y="186177"/>
                    <a:pt x="556581" y="204589"/>
                  </a:cubicBezTo>
                  <a:cubicBezTo>
                    <a:pt x="557042" y="249236"/>
                    <a:pt x="558655" y="293883"/>
                    <a:pt x="558655" y="338530"/>
                  </a:cubicBezTo>
                  <a:cubicBezTo>
                    <a:pt x="558655" y="343133"/>
                    <a:pt x="554968" y="346585"/>
                    <a:pt x="550589" y="346815"/>
                  </a:cubicBezTo>
                  <a:cubicBezTo>
                    <a:pt x="466927" y="350497"/>
                    <a:pt x="382805" y="346124"/>
                    <a:pt x="299374" y="350727"/>
                  </a:cubicBezTo>
                  <a:cubicBezTo>
                    <a:pt x="224931" y="354640"/>
                    <a:pt x="149797" y="358552"/>
                    <a:pt x="75815" y="348656"/>
                  </a:cubicBezTo>
                  <a:cubicBezTo>
                    <a:pt x="70975" y="347966"/>
                    <a:pt x="67749" y="345434"/>
                    <a:pt x="67518" y="340371"/>
                  </a:cubicBezTo>
                  <a:cubicBezTo>
                    <a:pt x="63370" y="274551"/>
                    <a:pt x="54612" y="208961"/>
                    <a:pt x="56225" y="142911"/>
                  </a:cubicBezTo>
                  <a:cubicBezTo>
                    <a:pt x="42166" y="142911"/>
                    <a:pt x="27877" y="142451"/>
                    <a:pt x="14049" y="140840"/>
                  </a:cubicBezTo>
                  <a:cubicBezTo>
                    <a:pt x="12896" y="141530"/>
                    <a:pt x="11514" y="141991"/>
                    <a:pt x="10592" y="142681"/>
                  </a:cubicBezTo>
                  <a:cubicBezTo>
                    <a:pt x="5060" y="145903"/>
                    <a:pt x="-3006" y="138999"/>
                    <a:pt x="1142" y="133245"/>
                  </a:cubicBezTo>
                  <a:cubicBezTo>
                    <a:pt x="11744" y="119667"/>
                    <a:pt x="38479" y="119897"/>
                    <a:pt x="53690" y="114604"/>
                  </a:cubicBezTo>
                  <a:cubicBezTo>
                    <a:pt x="88952" y="102407"/>
                    <a:pt x="121910" y="85837"/>
                    <a:pt x="154867" y="68806"/>
                  </a:cubicBezTo>
                  <a:cubicBezTo>
                    <a:pt x="186212" y="52466"/>
                    <a:pt x="218247" y="37507"/>
                    <a:pt x="249592" y="21167"/>
                  </a:cubicBezTo>
                  <a:cubicBezTo>
                    <a:pt x="267569" y="11847"/>
                    <a:pt x="286712" y="1232"/>
                    <a:pt x="306925" y="99"/>
                  </a:cubicBezTo>
                  <a:close/>
                </a:path>
              </a:pathLst>
            </a:custGeom>
            <a:noFill/>
          </p:spPr>
          <p:txBody>
            <a:bodyPr wrap="square" rtlCol="0" anchor="t">
              <a:spAutoFit/>
            </a:bodyPr>
            <a:p>
              <a:r>
                <a:rPr lang="en-US" altLang="zh-CN" sz="20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  </a:t>
              </a:r>
              <a:r>
                <a: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教育机构</a:t>
              </a:r>
              <a:endParaRPr lang="zh-CN" altLang="en-US" sz="20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endParaRPr>
            </a:p>
          </p:txBody>
        </p:sp>
      </p:grpSp>
      <p:sp>
        <p:nvSpPr>
          <p:cNvPr id="19" name="文本框 18"/>
          <p:cNvSpPr txBox="1"/>
          <p:nvPr/>
        </p:nvSpPr>
        <p:spPr>
          <a:xfrm>
            <a:off x="8721725" y="7618095"/>
            <a:ext cx="5516880" cy="95313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精准营销服务费、资源平台运营费</a:t>
            </a:r>
            <a:endParaRPr lang="zh-CN" altLang="en-US" sz="28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、教育机构广告费。</a:t>
            </a:r>
            <a:endParaRPr lang="zh-CN" altLang="en-US" sz="28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16607155" y="5045075"/>
            <a:ext cx="1577340" cy="1714500"/>
            <a:chOff x="16822" y="12937"/>
            <a:chExt cx="2484" cy="2700"/>
          </a:xfrm>
        </p:grpSpPr>
        <p:sp>
          <p:nvSpPr>
            <p:cNvPr id="36" name="iconfont-1191-801512"/>
            <p:cNvSpPr>
              <a:spLocks noChangeAspect="1"/>
            </p:cNvSpPr>
            <p:nvPr/>
          </p:nvSpPr>
          <p:spPr bwMode="auto">
            <a:xfrm>
              <a:off x="17250" y="12937"/>
              <a:ext cx="1520" cy="1568"/>
            </a:xfrm>
            <a:custGeom>
              <a:avLst/>
              <a:gdLst>
                <a:gd name="T0" fmla="*/ 40 w 7790"/>
                <a:gd name="T1" fmla="*/ 0 h 8036"/>
                <a:gd name="T2" fmla="*/ 3458 w 7790"/>
                <a:gd name="T3" fmla="*/ 0 h 8036"/>
                <a:gd name="T4" fmla="*/ 3458 w 7790"/>
                <a:gd name="T5" fmla="*/ 3418 h 8036"/>
                <a:gd name="T6" fmla="*/ 40 w 7790"/>
                <a:gd name="T7" fmla="*/ 3418 h 8036"/>
                <a:gd name="T8" fmla="*/ 40 w 7790"/>
                <a:gd name="T9" fmla="*/ 0 h 8036"/>
                <a:gd name="T10" fmla="*/ 7790 w 7790"/>
                <a:gd name="T11" fmla="*/ 1695 h 8036"/>
                <a:gd name="T12" fmla="*/ 6170 w 7790"/>
                <a:gd name="T13" fmla="*/ 103 h 8036"/>
                <a:gd name="T14" fmla="*/ 4577 w 7790"/>
                <a:gd name="T15" fmla="*/ 1723 h 8036"/>
                <a:gd name="T16" fmla="*/ 6198 w 7790"/>
                <a:gd name="T17" fmla="*/ 3316 h 8036"/>
                <a:gd name="T18" fmla="*/ 7790 w 7790"/>
                <a:gd name="T19" fmla="*/ 1695 h 8036"/>
                <a:gd name="T20" fmla="*/ 0 w 7790"/>
                <a:gd name="T21" fmla="*/ 4618 h 8036"/>
                <a:gd name="T22" fmla="*/ 3417 w 7790"/>
                <a:gd name="T23" fmla="*/ 4618 h 8036"/>
                <a:gd name="T24" fmla="*/ 3417 w 7790"/>
                <a:gd name="T25" fmla="*/ 8036 h 8036"/>
                <a:gd name="T26" fmla="*/ 0 w 7790"/>
                <a:gd name="T27" fmla="*/ 8036 h 8036"/>
                <a:gd name="T28" fmla="*/ 0 w 7790"/>
                <a:gd name="T29" fmla="*/ 4618 h 8036"/>
                <a:gd name="T30" fmla="*/ 4353 w 7790"/>
                <a:gd name="T31" fmla="*/ 4618 h 8036"/>
                <a:gd name="T32" fmla="*/ 7770 w 7790"/>
                <a:gd name="T33" fmla="*/ 4618 h 8036"/>
                <a:gd name="T34" fmla="*/ 7770 w 7790"/>
                <a:gd name="T35" fmla="*/ 8036 h 8036"/>
                <a:gd name="T36" fmla="*/ 4353 w 7790"/>
                <a:gd name="T37" fmla="*/ 8036 h 8036"/>
                <a:gd name="T38" fmla="*/ 4353 w 7790"/>
                <a:gd name="T39" fmla="*/ 4618 h 8036"/>
                <a:gd name="T40" fmla="*/ 4353 w 7790"/>
                <a:gd name="T41" fmla="*/ 4618 h 8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90" h="8036">
                  <a:moveTo>
                    <a:pt x="40" y="0"/>
                  </a:moveTo>
                  <a:lnTo>
                    <a:pt x="3458" y="0"/>
                  </a:lnTo>
                  <a:lnTo>
                    <a:pt x="3458" y="3418"/>
                  </a:lnTo>
                  <a:lnTo>
                    <a:pt x="40" y="3418"/>
                  </a:lnTo>
                  <a:lnTo>
                    <a:pt x="40" y="0"/>
                  </a:lnTo>
                  <a:close/>
                  <a:moveTo>
                    <a:pt x="7790" y="1695"/>
                  </a:moveTo>
                  <a:lnTo>
                    <a:pt x="6170" y="103"/>
                  </a:lnTo>
                  <a:lnTo>
                    <a:pt x="4577" y="1723"/>
                  </a:lnTo>
                  <a:lnTo>
                    <a:pt x="6198" y="3316"/>
                  </a:lnTo>
                  <a:lnTo>
                    <a:pt x="7790" y="1695"/>
                  </a:lnTo>
                  <a:close/>
                  <a:moveTo>
                    <a:pt x="0" y="4618"/>
                  </a:moveTo>
                  <a:lnTo>
                    <a:pt x="3417" y="4618"/>
                  </a:lnTo>
                  <a:lnTo>
                    <a:pt x="3417" y="8036"/>
                  </a:lnTo>
                  <a:lnTo>
                    <a:pt x="0" y="8036"/>
                  </a:lnTo>
                  <a:lnTo>
                    <a:pt x="0" y="4618"/>
                  </a:lnTo>
                  <a:close/>
                  <a:moveTo>
                    <a:pt x="4353" y="4618"/>
                  </a:moveTo>
                  <a:lnTo>
                    <a:pt x="7770" y="4618"/>
                  </a:lnTo>
                  <a:lnTo>
                    <a:pt x="7770" y="8036"/>
                  </a:lnTo>
                  <a:lnTo>
                    <a:pt x="4353" y="8036"/>
                  </a:lnTo>
                  <a:lnTo>
                    <a:pt x="4353" y="4618"/>
                  </a:lnTo>
                  <a:close/>
                  <a:moveTo>
                    <a:pt x="4353" y="4618"/>
                  </a:move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37" name="文本框 36"/>
            <p:cNvSpPr txBox="1"/>
            <p:nvPr/>
          </p:nvSpPr>
          <p:spPr>
            <a:xfrm>
              <a:off x="16822" y="15009"/>
              <a:ext cx="2484" cy="628"/>
            </a:xfrm>
            <a:custGeom>
              <a:avLst/>
              <a:gdLst>
                <a:gd name="connsiteX0" fmla="*/ 413435 w 599763"/>
                <a:gd name="connsiteY0" fmla="*/ 242351 h 354892"/>
                <a:gd name="connsiteX1" fmla="*/ 421018 w 599763"/>
                <a:gd name="connsiteY1" fmla="*/ 246720 h 354892"/>
                <a:gd name="connsiteX2" fmla="*/ 419179 w 599763"/>
                <a:gd name="connsiteY2" fmla="*/ 273388 h 354892"/>
                <a:gd name="connsiteX3" fmla="*/ 413665 w 599763"/>
                <a:gd name="connsiteY3" fmla="*/ 301895 h 354892"/>
                <a:gd name="connsiteX4" fmla="*/ 404245 w 599763"/>
                <a:gd name="connsiteY4" fmla="*/ 299366 h 354892"/>
                <a:gd name="connsiteX5" fmla="*/ 405164 w 599763"/>
                <a:gd name="connsiteY5" fmla="*/ 263502 h 354892"/>
                <a:gd name="connsiteX6" fmla="*/ 413435 w 599763"/>
                <a:gd name="connsiteY6" fmla="*/ 242351 h 354892"/>
                <a:gd name="connsiteX7" fmla="*/ 107616 w 599763"/>
                <a:gd name="connsiteY7" fmla="*/ 239326 h 354892"/>
                <a:gd name="connsiteX8" fmla="*/ 118194 w 599763"/>
                <a:gd name="connsiteY8" fmla="*/ 239326 h 354892"/>
                <a:gd name="connsiteX9" fmla="*/ 120954 w 599763"/>
                <a:gd name="connsiteY9" fmla="*/ 264171 h 354892"/>
                <a:gd name="connsiteX10" fmla="*/ 119804 w 599763"/>
                <a:gd name="connsiteY10" fmla="*/ 289476 h 354892"/>
                <a:gd name="connsiteX11" fmla="*/ 106236 w 599763"/>
                <a:gd name="connsiteY11" fmla="*/ 289476 h 354892"/>
                <a:gd name="connsiteX12" fmla="*/ 105087 w 599763"/>
                <a:gd name="connsiteY12" fmla="*/ 260490 h 354892"/>
                <a:gd name="connsiteX13" fmla="*/ 107616 w 599763"/>
                <a:gd name="connsiteY13" fmla="*/ 239326 h 354892"/>
                <a:gd name="connsiteX14" fmla="*/ 489266 w 599763"/>
                <a:gd name="connsiteY14" fmla="*/ 239296 h 354892"/>
                <a:gd name="connsiteX15" fmla="*/ 489726 w 599763"/>
                <a:gd name="connsiteY15" fmla="*/ 239296 h 354892"/>
                <a:gd name="connsiteX16" fmla="*/ 489956 w 599763"/>
                <a:gd name="connsiteY16" fmla="*/ 239296 h 354892"/>
                <a:gd name="connsiteX17" fmla="*/ 494785 w 599763"/>
                <a:gd name="connsiteY17" fmla="*/ 241139 h 354892"/>
                <a:gd name="connsiteX18" fmla="*/ 497314 w 599763"/>
                <a:gd name="connsiteY18" fmla="*/ 262332 h 354892"/>
                <a:gd name="connsiteX19" fmla="*/ 495475 w 599763"/>
                <a:gd name="connsiteY19" fmla="*/ 289284 h 354892"/>
                <a:gd name="connsiteX20" fmla="*/ 483748 w 599763"/>
                <a:gd name="connsiteY20" fmla="*/ 289284 h 354892"/>
                <a:gd name="connsiteX21" fmla="*/ 481909 w 599763"/>
                <a:gd name="connsiteY21" fmla="*/ 262332 h 354892"/>
                <a:gd name="connsiteX22" fmla="*/ 484668 w 599763"/>
                <a:gd name="connsiteY22" fmla="*/ 241139 h 354892"/>
                <a:gd name="connsiteX23" fmla="*/ 489266 w 599763"/>
                <a:gd name="connsiteY23" fmla="*/ 239296 h 354892"/>
                <a:gd name="connsiteX24" fmla="*/ 180432 w 599763"/>
                <a:gd name="connsiteY24" fmla="*/ 237494 h 354892"/>
                <a:gd name="connsiteX25" fmla="*/ 190798 w 599763"/>
                <a:gd name="connsiteY25" fmla="*/ 237494 h 354892"/>
                <a:gd name="connsiteX26" fmla="*/ 192871 w 599763"/>
                <a:gd name="connsiteY26" fmla="*/ 264426 h 354892"/>
                <a:gd name="connsiteX27" fmla="*/ 192180 w 599763"/>
                <a:gd name="connsiteY27" fmla="*/ 290897 h 354892"/>
                <a:gd name="connsiteX28" fmla="*/ 182275 w 599763"/>
                <a:gd name="connsiteY28" fmla="*/ 292278 h 354892"/>
                <a:gd name="connsiteX29" fmla="*/ 177207 w 599763"/>
                <a:gd name="connsiteY29" fmla="*/ 264426 h 354892"/>
                <a:gd name="connsiteX30" fmla="*/ 180432 w 599763"/>
                <a:gd name="connsiteY30" fmla="*/ 237494 h 354892"/>
                <a:gd name="connsiteX31" fmla="*/ 491561 w 599763"/>
                <a:gd name="connsiteY31" fmla="*/ 162223 h 354892"/>
                <a:gd name="connsiteX32" fmla="*/ 497317 w 599763"/>
                <a:gd name="connsiteY32" fmla="*/ 169588 h 354892"/>
                <a:gd name="connsiteX33" fmla="*/ 497317 w 599763"/>
                <a:gd name="connsiteY33" fmla="*/ 172810 h 354892"/>
                <a:gd name="connsiteX34" fmla="*/ 496396 w 599763"/>
                <a:gd name="connsiteY34" fmla="*/ 177413 h 354892"/>
                <a:gd name="connsiteX35" fmla="*/ 495936 w 599763"/>
                <a:gd name="connsiteY35" fmla="*/ 190761 h 354892"/>
                <a:gd name="connsiteX36" fmla="*/ 495245 w 599763"/>
                <a:gd name="connsiteY36" fmla="*/ 216536 h 354892"/>
                <a:gd name="connsiteX37" fmla="*/ 483962 w 599763"/>
                <a:gd name="connsiteY37" fmla="*/ 216536 h 354892"/>
                <a:gd name="connsiteX38" fmla="*/ 480508 w 599763"/>
                <a:gd name="connsiteY38" fmla="*/ 181325 h 354892"/>
                <a:gd name="connsiteX39" fmla="*/ 491561 w 599763"/>
                <a:gd name="connsiteY39" fmla="*/ 162223 h 354892"/>
                <a:gd name="connsiteX40" fmla="*/ 107804 w 599763"/>
                <a:gd name="connsiteY40" fmla="*/ 161985 h 354892"/>
                <a:gd name="connsiteX41" fmla="*/ 118202 w 599763"/>
                <a:gd name="connsiteY41" fmla="*/ 161985 h 354892"/>
                <a:gd name="connsiteX42" fmla="*/ 121206 w 599763"/>
                <a:gd name="connsiteY42" fmla="*/ 185689 h 354892"/>
                <a:gd name="connsiteX43" fmla="*/ 121206 w 599763"/>
                <a:gd name="connsiteY43" fmla="*/ 210084 h 354892"/>
                <a:gd name="connsiteX44" fmla="*/ 107572 w 599763"/>
                <a:gd name="connsiteY44" fmla="*/ 211925 h 354892"/>
                <a:gd name="connsiteX45" fmla="*/ 105262 w 599763"/>
                <a:gd name="connsiteY45" fmla="*/ 185689 h 354892"/>
                <a:gd name="connsiteX46" fmla="*/ 107804 w 599763"/>
                <a:gd name="connsiteY46" fmla="*/ 161985 h 354892"/>
                <a:gd name="connsiteX47" fmla="*/ 186439 w 599763"/>
                <a:gd name="connsiteY47" fmla="*/ 161051 h 354892"/>
                <a:gd name="connsiteX48" fmla="*/ 197503 w 599763"/>
                <a:gd name="connsiteY48" fmla="*/ 162433 h 354892"/>
                <a:gd name="connsiteX49" fmla="*/ 197734 w 599763"/>
                <a:gd name="connsiteY49" fmla="*/ 186851 h 354892"/>
                <a:gd name="connsiteX50" fmla="*/ 197734 w 599763"/>
                <a:gd name="connsiteY50" fmla="*/ 213112 h 354892"/>
                <a:gd name="connsiteX51" fmla="*/ 185286 w 599763"/>
                <a:gd name="connsiteY51" fmla="*/ 214725 h 354892"/>
                <a:gd name="connsiteX52" fmla="*/ 182289 w 599763"/>
                <a:gd name="connsiteY52" fmla="*/ 184087 h 354892"/>
                <a:gd name="connsiteX53" fmla="*/ 186439 w 599763"/>
                <a:gd name="connsiteY53" fmla="*/ 161051 h 354892"/>
                <a:gd name="connsiteX54" fmla="*/ 270786 w 599763"/>
                <a:gd name="connsiteY54" fmla="*/ 160616 h 354892"/>
                <a:gd name="connsiteX55" fmla="*/ 276544 w 599763"/>
                <a:gd name="connsiteY55" fmla="*/ 162918 h 354892"/>
                <a:gd name="connsiteX56" fmla="*/ 278847 w 599763"/>
                <a:gd name="connsiteY56" fmla="*/ 170977 h 354892"/>
                <a:gd name="connsiteX57" fmla="*/ 274701 w 599763"/>
                <a:gd name="connsiteY57" fmla="*/ 215182 h 354892"/>
                <a:gd name="connsiteX58" fmla="*/ 261343 w 599763"/>
                <a:gd name="connsiteY58" fmla="*/ 215182 h 354892"/>
                <a:gd name="connsiteX59" fmla="*/ 262956 w 599763"/>
                <a:gd name="connsiteY59" fmla="*/ 166602 h 354892"/>
                <a:gd name="connsiteX60" fmla="*/ 270786 w 599763"/>
                <a:gd name="connsiteY60" fmla="*/ 160616 h 354892"/>
                <a:gd name="connsiteX61" fmla="*/ 416901 w 599763"/>
                <a:gd name="connsiteY61" fmla="*/ 160241 h 354892"/>
                <a:gd name="connsiteX62" fmla="*/ 425175 w 599763"/>
                <a:gd name="connsiteY62" fmla="*/ 168006 h 354892"/>
                <a:gd name="connsiteX63" fmla="*/ 420562 w 599763"/>
                <a:gd name="connsiteY63" fmla="*/ 216326 h 354892"/>
                <a:gd name="connsiteX64" fmla="*/ 408800 w 599763"/>
                <a:gd name="connsiteY64" fmla="*/ 213104 h 354892"/>
                <a:gd name="connsiteX65" fmla="*/ 408800 w 599763"/>
                <a:gd name="connsiteY65" fmla="*/ 168006 h 354892"/>
                <a:gd name="connsiteX66" fmla="*/ 416901 w 599763"/>
                <a:gd name="connsiteY66" fmla="*/ 160241 h 354892"/>
                <a:gd name="connsiteX67" fmla="*/ 346478 w 599763"/>
                <a:gd name="connsiteY67" fmla="*/ 159746 h 354892"/>
                <a:gd name="connsiteX68" fmla="*/ 353060 w 599763"/>
                <a:gd name="connsiteY68" fmla="*/ 163373 h 354892"/>
                <a:gd name="connsiteX69" fmla="*/ 353060 w 599763"/>
                <a:gd name="connsiteY69" fmla="*/ 186402 h 354892"/>
                <a:gd name="connsiteX70" fmla="*/ 350057 w 599763"/>
                <a:gd name="connsiteY70" fmla="*/ 213346 h 354892"/>
                <a:gd name="connsiteX71" fmla="*/ 334815 w 599763"/>
                <a:gd name="connsiteY71" fmla="*/ 211274 h 354892"/>
                <a:gd name="connsiteX72" fmla="*/ 337125 w 599763"/>
                <a:gd name="connsiteY72" fmla="*/ 184329 h 354892"/>
                <a:gd name="connsiteX73" fmla="*/ 339896 w 599763"/>
                <a:gd name="connsiteY73" fmla="*/ 163373 h 354892"/>
                <a:gd name="connsiteX74" fmla="*/ 346478 w 599763"/>
                <a:gd name="connsiteY74" fmla="*/ 159746 h 354892"/>
                <a:gd name="connsiteX75" fmla="*/ 541601 w 599763"/>
                <a:gd name="connsiteY75" fmla="*/ 132325 h 354892"/>
                <a:gd name="connsiteX76" fmla="*/ 508182 w 599763"/>
                <a:gd name="connsiteY76" fmla="*/ 132555 h 354892"/>
                <a:gd name="connsiteX77" fmla="*/ 380500 w 599763"/>
                <a:gd name="connsiteY77" fmla="*/ 136007 h 354892"/>
                <a:gd name="connsiteX78" fmla="*/ 256967 w 599763"/>
                <a:gd name="connsiteY78" fmla="*/ 136237 h 354892"/>
                <a:gd name="connsiteX79" fmla="*/ 129515 w 599763"/>
                <a:gd name="connsiteY79" fmla="*/ 139919 h 354892"/>
                <a:gd name="connsiteX80" fmla="*/ 67979 w 599763"/>
                <a:gd name="connsiteY80" fmla="*/ 142681 h 354892"/>
                <a:gd name="connsiteX81" fmla="*/ 83421 w 599763"/>
                <a:gd name="connsiteY81" fmla="*/ 333237 h 354892"/>
                <a:gd name="connsiteX82" fmla="*/ 266186 w 599763"/>
                <a:gd name="connsiteY82" fmla="*/ 335308 h 354892"/>
                <a:gd name="connsiteX83" fmla="*/ 260193 w 599763"/>
                <a:gd name="connsiteY83" fmla="*/ 297565 h 354892"/>
                <a:gd name="connsiteX84" fmla="*/ 258119 w 599763"/>
                <a:gd name="connsiteY84" fmla="*/ 244403 h 354892"/>
                <a:gd name="connsiteX85" fmla="*/ 265955 w 599763"/>
                <a:gd name="connsiteY85" fmla="*/ 236578 h 354892"/>
                <a:gd name="connsiteX86" fmla="*/ 338554 w 599763"/>
                <a:gd name="connsiteY86" fmla="*/ 232436 h 354892"/>
                <a:gd name="connsiteX87" fmla="*/ 346620 w 599763"/>
                <a:gd name="connsiteY87" fmla="*/ 240490 h 354892"/>
                <a:gd name="connsiteX88" fmla="*/ 347312 w 599763"/>
                <a:gd name="connsiteY88" fmla="*/ 303319 h 354892"/>
                <a:gd name="connsiteX89" fmla="*/ 346620 w 599763"/>
                <a:gd name="connsiteY89" fmla="*/ 333467 h 354892"/>
                <a:gd name="connsiteX90" fmla="*/ 542292 w 599763"/>
                <a:gd name="connsiteY90" fmla="*/ 330705 h 354892"/>
                <a:gd name="connsiteX91" fmla="*/ 540218 w 599763"/>
                <a:gd name="connsiteY91" fmla="*/ 219548 h 354892"/>
                <a:gd name="connsiteX92" fmla="*/ 539296 w 599763"/>
                <a:gd name="connsiteY92" fmla="*/ 177662 h 354892"/>
                <a:gd name="connsiteX93" fmla="*/ 536761 w 599763"/>
                <a:gd name="connsiteY93" fmla="*/ 146363 h 354892"/>
                <a:gd name="connsiteX94" fmla="*/ 541601 w 599763"/>
                <a:gd name="connsiteY94" fmla="*/ 132325 h 354892"/>
                <a:gd name="connsiteX95" fmla="*/ 312050 w 599763"/>
                <a:gd name="connsiteY95" fmla="*/ 16565 h 354892"/>
                <a:gd name="connsiteX96" fmla="*/ 220782 w 599763"/>
                <a:gd name="connsiteY96" fmla="*/ 54308 h 354892"/>
                <a:gd name="connsiteX97" fmla="*/ 141500 w 599763"/>
                <a:gd name="connsiteY97" fmla="*/ 94122 h 354892"/>
                <a:gd name="connsiteX98" fmla="*/ 74663 w 599763"/>
                <a:gd name="connsiteY98" fmla="*/ 124500 h 354892"/>
                <a:gd name="connsiteX99" fmla="*/ 147723 w 599763"/>
                <a:gd name="connsiteY99" fmla="*/ 122889 h 354892"/>
                <a:gd name="connsiteX100" fmla="*/ 275174 w 599763"/>
                <a:gd name="connsiteY100" fmla="*/ 119667 h 354892"/>
                <a:gd name="connsiteX101" fmla="*/ 393406 w 599763"/>
                <a:gd name="connsiteY101" fmla="*/ 119207 h 354892"/>
                <a:gd name="connsiteX102" fmla="*/ 530077 w 599763"/>
                <a:gd name="connsiteY102" fmla="*/ 115985 h 354892"/>
                <a:gd name="connsiteX103" fmla="*/ 576863 w 599763"/>
                <a:gd name="connsiteY103" fmla="*/ 115525 h 354892"/>
                <a:gd name="connsiteX104" fmla="*/ 537452 w 599763"/>
                <a:gd name="connsiteY104" fmla="*/ 100335 h 354892"/>
                <a:gd name="connsiteX105" fmla="*/ 489053 w 599763"/>
                <a:gd name="connsiteY105" fmla="*/ 84916 h 354892"/>
                <a:gd name="connsiteX106" fmla="*/ 400551 w 599763"/>
                <a:gd name="connsiteY106" fmla="*/ 49014 h 354892"/>
                <a:gd name="connsiteX107" fmla="*/ 352152 w 599763"/>
                <a:gd name="connsiteY107" fmla="*/ 28992 h 354892"/>
                <a:gd name="connsiteX108" fmla="*/ 312050 w 599763"/>
                <a:gd name="connsiteY108" fmla="*/ 16565 h 354892"/>
                <a:gd name="connsiteX109" fmla="*/ 306925 w 599763"/>
                <a:gd name="connsiteY109" fmla="*/ 99 h 354892"/>
                <a:gd name="connsiteX110" fmla="*/ 327491 w 599763"/>
                <a:gd name="connsiteY110" fmla="*/ 2526 h 354892"/>
                <a:gd name="connsiteX111" fmla="*/ 518323 w 599763"/>
                <a:gd name="connsiteY111" fmla="*/ 76861 h 354892"/>
                <a:gd name="connsiteX112" fmla="*/ 599680 w 599763"/>
                <a:gd name="connsiteY112" fmla="*/ 123119 h 354892"/>
                <a:gd name="connsiteX113" fmla="*/ 598297 w 599763"/>
                <a:gd name="connsiteY113" fmla="*/ 126801 h 354892"/>
                <a:gd name="connsiteX114" fmla="*/ 585621 w 599763"/>
                <a:gd name="connsiteY114" fmla="*/ 132325 h 354892"/>
                <a:gd name="connsiteX115" fmla="*/ 581703 w 599763"/>
                <a:gd name="connsiteY115" fmla="*/ 133936 h 354892"/>
                <a:gd name="connsiteX116" fmla="*/ 563495 w 599763"/>
                <a:gd name="connsiteY116" fmla="*/ 132785 h 354892"/>
                <a:gd name="connsiteX117" fmla="*/ 544597 w 599763"/>
                <a:gd name="connsiteY117" fmla="*/ 132325 h 354892"/>
                <a:gd name="connsiteX118" fmla="*/ 548515 w 599763"/>
                <a:gd name="connsiteY118" fmla="*/ 134856 h 354892"/>
                <a:gd name="connsiteX119" fmla="*/ 556581 w 599763"/>
                <a:gd name="connsiteY119" fmla="*/ 204589 h 354892"/>
                <a:gd name="connsiteX120" fmla="*/ 558655 w 599763"/>
                <a:gd name="connsiteY120" fmla="*/ 338530 h 354892"/>
                <a:gd name="connsiteX121" fmla="*/ 550589 w 599763"/>
                <a:gd name="connsiteY121" fmla="*/ 346815 h 354892"/>
                <a:gd name="connsiteX122" fmla="*/ 299374 w 599763"/>
                <a:gd name="connsiteY122" fmla="*/ 350727 h 354892"/>
                <a:gd name="connsiteX123" fmla="*/ 75815 w 599763"/>
                <a:gd name="connsiteY123" fmla="*/ 348656 h 354892"/>
                <a:gd name="connsiteX124" fmla="*/ 67518 w 599763"/>
                <a:gd name="connsiteY124" fmla="*/ 340371 h 354892"/>
                <a:gd name="connsiteX125" fmla="*/ 56225 w 599763"/>
                <a:gd name="connsiteY125" fmla="*/ 142911 h 354892"/>
                <a:gd name="connsiteX126" fmla="*/ 14049 w 599763"/>
                <a:gd name="connsiteY126" fmla="*/ 140840 h 354892"/>
                <a:gd name="connsiteX127" fmla="*/ 10592 w 599763"/>
                <a:gd name="connsiteY127" fmla="*/ 142681 h 354892"/>
                <a:gd name="connsiteX128" fmla="*/ 1142 w 599763"/>
                <a:gd name="connsiteY128" fmla="*/ 133245 h 354892"/>
                <a:gd name="connsiteX129" fmla="*/ 53690 w 599763"/>
                <a:gd name="connsiteY129" fmla="*/ 114604 h 354892"/>
                <a:gd name="connsiteX130" fmla="*/ 154867 w 599763"/>
                <a:gd name="connsiteY130" fmla="*/ 68806 h 354892"/>
                <a:gd name="connsiteX131" fmla="*/ 249592 w 599763"/>
                <a:gd name="connsiteY131" fmla="*/ 21167 h 354892"/>
                <a:gd name="connsiteX132" fmla="*/ 306925 w 599763"/>
                <a:gd name="connsiteY132" fmla="*/ 99 h 3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9763" h="354892">
                  <a:moveTo>
                    <a:pt x="413435" y="242351"/>
                  </a:moveTo>
                  <a:cubicBezTo>
                    <a:pt x="416422" y="241202"/>
                    <a:pt x="420328" y="243731"/>
                    <a:pt x="421018" y="246720"/>
                  </a:cubicBezTo>
                  <a:cubicBezTo>
                    <a:pt x="422856" y="254766"/>
                    <a:pt x="419869" y="265341"/>
                    <a:pt x="419179" y="273388"/>
                  </a:cubicBezTo>
                  <a:cubicBezTo>
                    <a:pt x="418490" y="283043"/>
                    <a:pt x="417801" y="293159"/>
                    <a:pt x="413665" y="301895"/>
                  </a:cubicBezTo>
                  <a:cubicBezTo>
                    <a:pt x="411367" y="306263"/>
                    <a:pt x="404015" y="304194"/>
                    <a:pt x="404245" y="299366"/>
                  </a:cubicBezTo>
                  <a:cubicBezTo>
                    <a:pt x="404704" y="287411"/>
                    <a:pt x="404704" y="275457"/>
                    <a:pt x="405164" y="263502"/>
                  </a:cubicBezTo>
                  <a:cubicBezTo>
                    <a:pt x="405393" y="255456"/>
                    <a:pt x="404704" y="245800"/>
                    <a:pt x="413435" y="242351"/>
                  </a:cubicBezTo>
                  <a:close/>
                  <a:moveTo>
                    <a:pt x="107616" y="239326"/>
                  </a:moveTo>
                  <a:cubicBezTo>
                    <a:pt x="110376" y="235415"/>
                    <a:pt x="115665" y="235415"/>
                    <a:pt x="118194" y="239326"/>
                  </a:cubicBezTo>
                  <a:cubicBezTo>
                    <a:pt x="123024" y="246457"/>
                    <a:pt x="120954" y="255889"/>
                    <a:pt x="120954" y="264171"/>
                  </a:cubicBezTo>
                  <a:cubicBezTo>
                    <a:pt x="120724" y="272683"/>
                    <a:pt x="120724" y="281194"/>
                    <a:pt x="119804" y="289476"/>
                  </a:cubicBezTo>
                  <a:cubicBezTo>
                    <a:pt x="118884" y="298218"/>
                    <a:pt x="107156" y="298218"/>
                    <a:pt x="106236" y="289476"/>
                  </a:cubicBezTo>
                  <a:cubicBezTo>
                    <a:pt x="105087" y="279814"/>
                    <a:pt x="105087" y="270152"/>
                    <a:pt x="105087" y="260490"/>
                  </a:cubicBezTo>
                  <a:cubicBezTo>
                    <a:pt x="104857" y="253129"/>
                    <a:pt x="103477" y="245767"/>
                    <a:pt x="107616" y="239326"/>
                  </a:cubicBezTo>
                  <a:close/>
                  <a:moveTo>
                    <a:pt x="489266" y="239296"/>
                  </a:moveTo>
                  <a:cubicBezTo>
                    <a:pt x="489496" y="239296"/>
                    <a:pt x="489496" y="239296"/>
                    <a:pt x="489726" y="239296"/>
                  </a:cubicBezTo>
                  <a:cubicBezTo>
                    <a:pt x="489726" y="239296"/>
                    <a:pt x="489956" y="239296"/>
                    <a:pt x="489956" y="239296"/>
                  </a:cubicBezTo>
                  <a:cubicBezTo>
                    <a:pt x="491566" y="239296"/>
                    <a:pt x="493175" y="239757"/>
                    <a:pt x="494785" y="241139"/>
                  </a:cubicBezTo>
                  <a:cubicBezTo>
                    <a:pt x="499843" y="245746"/>
                    <a:pt x="497544" y="256343"/>
                    <a:pt x="497314" y="262332"/>
                  </a:cubicBezTo>
                  <a:cubicBezTo>
                    <a:pt x="497084" y="270395"/>
                    <a:pt x="498694" y="281682"/>
                    <a:pt x="495475" y="289284"/>
                  </a:cubicBezTo>
                  <a:cubicBezTo>
                    <a:pt x="493175" y="295043"/>
                    <a:pt x="486277" y="295043"/>
                    <a:pt x="483748" y="289284"/>
                  </a:cubicBezTo>
                  <a:cubicBezTo>
                    <a:pt x="480529" y="281682"/>
                    <a:pt x="482138" y="270395"/>
                    <a:pt x="481909" y="262332"/>
                  </a:cubicBezTo>
                  <a:cubicBezTo>
                    <a:pt x="481909" y="256343"/>
                    <a:pt x="479379" y="245746"/>
                    <a:pt x="484668" y="241139"/>
                  </a:cubicBezTo>
                  <a:cubicBezTo>
                    <a:pt x="486047" y="239757"/>
                    <a:pt x="487657" y="239296"/>
                    <a:pt x="489266" y="239296"/>
                  </a:cubicBezTo>
                  <a:close/>
                  <a:moveTo>
                    <a:pt x="180432" y="237494"/>
                  </a:moveTo>
                  <a:cubicBezTo>
                    <a:pt x="182736" y="233811"/>
                    <a:pt x="188495" y="233581"/>
                    <a:pt x="190798" y="237494"/>
                  </a:cubicBezTo>
                  <a:cubicBezTo>
                    <a:pt x="195636" y="245551"/>
                    <a:pt x="193102" y="255449"/>
                    <a:pt x="192871" y="264426"/>
                  </a:cubicBezTo>
                  <a:cubicBezTo>
                    <a:pt x="192641" y="273173"/>
                    <a:pt x="193793" y="282380"/>
                    <a:pt x="192180" y="290897"/>
                  </a:cubicBezTo>
                  <a:cubicBezTo>
                    <a:pt x="191489" y="295961"/>
                    <a:pt x="184579" y="295731"/>
                    <a:pt x="182275" y="292278"/>
                  </a:cubicBezTo>
                  <a:cubicBezTo>
                    <a:pt x="176977" y="284682"/>
                    <a:pt x="177207" y="273173"/>
                    <a:pt x="177207" y="264426"/>
                  </a:cubicBezTo>
                  <a:cubicBezTo>
                    <a:pt x="177207" y="255679"/>
                    <a:pt x="175595" y="245320"/>
                    <a:pt x="180432" y="237494"/>
                  </a:cubicBezTo>
                  <a:close/>
                  <a:moveTo>
                    <a:pt x="491561" y="162223"/>
                  </a:moveTo>
                  <a:cubicBezTo>
                    <a:pt x="495706" y="161533"/>
                    <a:pt x="498008" y="166366"/>
                    <a:pt x="497317" y="169588"/>
                  </a:cubicBezTo>
                  <a:cubicBezTo>
                    <a:pt x="498008" y="166366"/>
                    <a:pt x="497317" y="172810"/>
                    <a:pt x="497317" y="172810"/>
                  </a:cubicBezTo>
                  <a:cubicBezTo>
                    <a:pt x="497087" y="174421"/>
                    <a:pt x="496627" y="175802"/>
                    <a:pt x="496396" y="177413"/>
                  </a:cubicBezTo>
                  <a:cubicBezTo>
                    <a:pt x="495936" y="181785"/>
                    <a:pt x="495936" y="186388"/>
                    <a:pt x="495936" y="190761"/>
                  </a:cubicBezTo>
                  <a:cubicBezTo>
                    <a:pt x="495936" y="199506"/>
                    <a:pt x="496627" y="208251"/>
                    <a:pt x="495245" y="216536"/>
                  </a:cubicBezTo>
                  <a:cubicBezTo>
                    <a:pt x="494324" y="222290"/>
                    <a:pt x="485114" y="222060"/>
                    <a:pt x="483962" y="216536"/>
                  </a:cubicBezTo>
                  <a:cubicBezTo>
                    <a:pt x="481890" y="205260"/>
                    <a:pt x="480739" y="192832"/>
                    <a:pt x="480508" y="181325"/>
                  </a:cubicBezTo>
                  <a:cubicBezTo>
                    <a:pt x="480508" y="172580"/>
                    <a:pt x="481429" y="163374"/>
                    <a:pt x="491561" y="162223"/>
                  </a:cubicBezTo>
                  <a:close/>
                  <a:moveTo>
                    <a:pt x="107804" y="161985"/>
                  </a:moveTo>
                  <a:cubicBezTo>
                    <a:pt x="110576" y="158993"/>
                    <a:pt x="115429" y="159223"/>
                    <a:pt x="118202" y="161985"/>
                  </a:cubicBezTo>
                  <a:cubicBezTo>
                    <a:pt x="123517" y="167278"/>
                    <a:pt x="121206" y="178785"/>
                    <a:pt x="121206" y="185689"/>
                  </a:cubicBezTo>
                  <a:cubicBezTo>
                    <a:pt x="121206" y="193744"/>
                    <a:pt x="121668" y="202029"/>
                    <a:pt x="121206" y="210084"/>
                  </a:cubicBezTo>
                  <a:cubicBezTo>
                    <a:pt x="120975" y="217909"/>
                    <a:pt x="109883" y="219750"/>
                    <a:pt x="107572" y="211925"/>
                  </a:cubicBezTo>
                  <a:cubicBezTo>
                    <a:pt x="105031" y="203640"/>
                    <a:pt x="105493" y="194204"/>
                    <a:pt x="105262" y="185689"/>
                  </a:cubicBezTo>
                  <a:cubicBezTo>
                    <a:pt x="105031" y="178785"/>
                    <a:pt x="102489" y="167278"/>
                    <a:pt x="107804" y="161985"/>
                  </a:cubicBezTo>
                  <a:close/>
                  <a:moveTo>
                    <a:pt x="186439" y="161051"/>
                  </a:moveTo>
                  <a:cubicBezTo>
                    <a:pt x="190127" y="158287"/>
                    <a:pt x="194967" y="158287"/>
                    <a:pt x="197503" y="162433"/>
                  </a:cubicBezTo>
                  <a:cubicBezTo>
                    <a:pt x="201422" y="168653"/>
                    <a:pt x="198195" y="179710"/>
                    <a:pt x="197734" y="186851"/>
                  </a:cubicBezTo>
                  <a:cubicBezTo>
                    <a:pt x="197503" y="195605"/>
                    <a:pt x="197734" y="204359"/>
                    <a:pt x="197734" y="213112"/>
                  </a:cubicBezTo>
                  <a:cubicBezTo>
                    <a:pt x="197964" y="220253"/>
                    <a:pt x="187130" y="221866"/>
                    <a:pt x="185286" y="214725"/>
                  </a:cubicBezTo>
                  <a:cubicBezTo>
                    <a:pt x="182750" y="205050"/>
                    <a:pt x="182289" y="194223"/>
                    <a:pt x="182289" y="184087"/>
                  </a:cubicBezTo>
                  <a:cubicBezTo>
                    <a:pt x="182289" y="177407"/>
                    <a:pt x="180676" y="165889"/>
                    <a:pt x="186439" y="161051"/>
                  </a:cubicBezTo>
                  <a:close/>
                  <a:moveTo>
                    <a:pt x="270786" y="160616"/>
                  </a:moveTo>
                  <a:cubicBezTo>
                    <a:pt x="273319" y="160616"/>
                    <a:pt x="274932" y="161307"/>
                    <a:pt x="276544" y="162918"/>
                  </a:cubicBezTo>
                  <a:cubicBezTo>
                    <a:pt x="278617" y="164760"/>
                    <a:pt x="279538" y="168214"/>
                    <a:pt x="278847" y="170977"/>
                  </a:cubicBezTo>
                  <a:cubicBezTo>
                    <a:pt x="274010" y="185251"/>
                    <a:pt x="275853" y="200217"/>
                    <a:pt x="274701" y="215182"/>
                  </a:cubicBezTo>
                  <a:cubicBezTo>
                    <a:pt x="274010" y="223701"/>
                    <a:pt x="262034" y="223701"/>
                    <a:pt x="261343" y="215182"/>
                  </a:cubicBezTo>
                  <a:cubicBezTo>
                    <a:pt x="259731" y="199066"/>
                    <a:pt x="258580" y="182258"/>
                    <a:pt x="262956" y="166602"/>
                  </a:cubicBezTo>
                  <a:cubicBezTo>
                    <a:pt x="264107" y="163149"/>
                    <a:pt x="267331" y="160616"/>
                    <a:pt x="270786" y="160616"/>
                  </a:cubicBezTo>
                  <a:close/>
                  <a:moveTo>
                    <a:pt x="416901" y="160241"/>
                  </a:moveTo>
                  <a:cubicBezTo>
                    <a:pt x="421023" y="160241"/>
                    <a:pt x="425175" y="162829"/>
                    <a:pt x="425175" y="168006"/>
                  </a:cubicBezTo>
                  <a:cubicBezTo>
                    <a:pt x="425175" y="184113"/>
                    <a:pt x="427020" y="201370"/>
                    <a:pt x="420562" y="216326"/>
                  </a:cubicBezTo>
                  <a:cubicBezTo>
                    <a:pt x="418025" y="222078"/>
                    <a:pt x="408108" y="219317"/>
                    <a:pt x="408800" y="213104"/>
                  </a:cubicBezTo>
                  <a:cubicBezTo>
                    <a:pt x="410183" y="197918"/>
                    <a:pt x="409261" y="183192"/>
                    <a:pt x="408800" y="168006"/>
                  </a:cubicBezTo>
                  <a:cubicBezTo>
                    <a:pt x="408685" y="162829"/>
                    <a:pt x="412778" y="160241"/>
                    <a:pt x="416901" y="160241"/>
                  </a:cubicBezTo>
                  <a:close/>
                  <a:moveTo>
                    <a:pt x="346478" y="159746"/>
                  </a:moveTo>
                  <a:cubicBezTo>
                    <a:pt x="348961" y="159631"/>
                    <a:pt x="351443" y="160725"/>
                    <a:pt x="353060" y="163373"/>
                  </a:cubicBezTo>
                  <a:cubicBezTo>
                    <a:pt x="356524" y="169360"/>
                    <a:pt x="353752" y="179954"/>
                    <a:pt x="353060" y="186402"/>
                  </a:cubicBezTo>
                  <a:cubicBezTo>
                    <a:pt x="352367" y="195383"/>
                    <a:pt x="351674" y="204365"/>
                    <a:pt x="350057" y="213346"/>
                  </a:cubicBezTo>
                  <a:cubicBezTo>
                    <a:pt x="348441" y="221867"/>
                    <a:pt x="333661" y="219794"/>
                    <a:pt x="334815" y="211274"/>
                  </a:cubicBezTo>
                  <a:cubicBezTo>
                    <a:pt x="335970" y="202292"/>
                    <a:pt x="336432" y="193311"/>
                    <a:pt x="337125" y="184329"/>
                  </a:cubicBezTo>
                  <a:cubicBezTo>
                    <a:pt x="337356" y="178572"/>
                    <a:pt x="336201" y="167979"/>
                    <a:pt x="339896" y="163373"/>
                  </a:cubicBezTo>
                  <a:cubicBezTo>
                    <a:pt x="341513" y="161185"/>
                    <a:pt x="343995" y="159861"/>
                    <a:pt x="346478" y="159746"/>
                  </a:cubicBezTo>
                  <a:close/>
                  <a:moveTo>
                    <a:pt x="541601" y="132325"/>
                  </a:moveTo>
                  <a:cubicBezTo>
                    <a:pt x="530307" y="132325"/>
                    <a:pt x="519245" y="132325"/>
                    <a:pt x="508182" y="132555"/>
                  </a:cubicBezTo>
                  <a:cubicBezTo>
                    <a:pt x="465544" y="133245"/>
                    <a:pt x="423137" y="134856"/>
                    <a:pt x="380500" y="136007"/>
                  </a:cubicBezTo>
                  <a:cubicBezTo>
                    <a:pt x="339245" y="137388"/>
                    <a:pt x="298221" y="135777"/>
                    <a:pt x="256967" y="136237"/>
                  </a:cubicBezTo>
                  <a:cubicBezTo>
                    <a:pt x="214560" y="136697"/>
                    <a:pt x="172153" y="138308"/>
                    <a:pt x="129515" y="139919"/>
                  </a:cubicBezTo>
                  <a:cubicBezTo>
                    <a:pt x="109234" y="140840"/>
                    <a:pt x="88722" y="142221"/>
                    <a:pt x="67979" y="142681"/>
                  </a:cubicBezTo>
                  <a:cubicBezTo>
                    <a:pt x="71667" y="206200"/>
                    <a:pt x="79272" y="269718"/>
                    <a:pt x="83421" y="333237"/>
                  </a:cubicBezTo>
                  <a:cubicBezTo>
                    <a:pt x="144496" y="340831"/>
                    <a:pt x="205341" y="337609"/>
                    <a:pt x="266186" y="335308"/>
                  </a:cubicBezTo>
                  <a:cubicBezTo>
                    <a:pt x="259271" y="327253"/>
                    <a:pt x="260654" y="306080"/>
                    <a:pt x="260193" y="297565"/>
                  </a:cubicBezTo>
                  <a:cubicBezTo>
                    <a:pt x="258810" y="279844"/>
                    <a:pt x="258119" y="262124"/>
                    <a:pt x="258119" y="244403"/>
                  </a:cubicBezTo>
                  <a:cubicBezTo>
                    <a:pt x="257889" y="239800"/>
                    <a:pt x="261807" y="236808"/>
                    <a:pt x="265955" y="236578"/>
                  </a:cubicBezTo>
                  <a:cubicBezTo>
                    <a:pt x="290155" y="234507"/>
                    <a:pt x="314354" y="232666"/>
                    <a:pt x="338554" y="232436"/>
                  </a:cubicBezTo>
                  <a:cubicBezTo>
                    <a:pt x="342933" y="232436"/>
                    <a:pt x="346620" y="236118"/>
                    <a:pt x="346620" y="240490"/>
                  </a:cubicBezTo>
                  <a:cubicBezTo>
                    <a:pt x="346851" y="261433"/>
                    <a:pt x="347542" y="282376"/>
                    <a:pt x="347312" y="303319"/>
                  </a:cubicBezTo>
                  <a:cubicBezTo>
                    <a:pt x="347081" y="312294"/>
                    <a:pt x="348003" y="323571"/>
                    <a:pt x="346620" y="333467"/>
                  </a:cubicBezTo>
                  <a:cubicBezTo>
                    <a:pt x="411844" y="332776"/>
                    <a:pt x="477068" y="333237"/>
                    <a:pt x="542292" y="330705"/>
                  </a:cubicBezTo>
                  <a:cubicBezTo>
                    <a:pt x="542061" y="293653"/>
                    <a:pt x="540448" y="256600"/>
                    <a:pt x="540218" y="219548"/>
                  </a:cubicBezTo>
                  <a:cubicBezTo>
                    <a:pt x="540218" y="205739"/>
                    <a:pt x="539987" y="191701"/>
                    <a:pt x="539296" y="177662"/>
                  </a:cubicBezTo>
                  <a:cubicBezTo>
                    <a:pt x="539065" y="171449"/>
                    <a:pt x="540909" y="151426"/>
                    <a:pt x="536761" y="146363"/>
                  </a:cubicBezTo>
                  <a:cubicBezTo>
                    <a:pt x="532151" y="140840"/>
                    <a:pt x="536300" y="133476"/>
                    <a:pt x="541601" y="132325"/>
                  </a:cubicBezTo>
                  <a:close/>
                  <a:moveTo>
                    <a:pt x="312050" y="16565"/>
                  </a:moveTo>
                  <a:cubicBezTo>
                    <a:pt x="279322" y="16795"/>
                    <a:pt x="249822" y="41420"/>
                    <a:pt x="220782" y="54308"/>
                  </a:cubicBezTo>
                  <a:cubicBezTo>
                    <a:pt x="193817" y="66275"/>
                    <a:pt x="168004" y="81004"/>
                    <a:pt x="141500" y="94122"/>
                  </a:cubicBezTo>
                  <a:cubicBezTo>
                    <a:pt x="119836" y="105168"/>
                    <a:pt x="97710" y="115985"/>
                    <a:pt x="74663" y="124500"/>
                  </a:cubicBezTo>
                  <a:cubicBezTo>
                    <a:pt x="99093" y="123810"/>
                    <a:pt x="123754" y="123810"/>
                    <a:pt x="147723" y="122889"/>
                  </a:cubicBezTo>
                  <a:cubicBezTo>
                    <a:pt x="190130" y="121278"/>
                    <a:pt x="232767" y="119437"/>
                    <a:pt x="275174" y="119667"/>
                  </a:cubicBezTo>
                  <a:cubicBezTo>
                    <a:pt x="314815" y="119897"/>
                    <a:pt x="353765" y="120588"/>
                    <a:pt x="393406" y="119207"/>
                  </a:cubicBezTo>
                  <a:cubicBezTo>
                    <a:pt x="439040" y="117826"/>
                    <a:pt x="484443" y="115985"/>
                    <a:pt x="530077" y="115985"/>
                  </a:cubicBezTo>
                  <a:cubicBezTo>
                    <a:pt x="539526" y="115985"/>
                    <a:pt x="560499" y="113223"/>
                    <a:pt x="576863" y="115525"/>
                  </a:cubicBezTo>
                  <a:cubicBezTo>
                    <a:pt x="565339" y="108390"/>
                    <a:pt x="542292" y="101946"/>
                    <a:pt x="537452" y="100335"/>
                  </a:cubicBezTo>
                  <a:cubicBezTo>
                    <a:pt x="521319" y="95042"/>
                    <a:pt x="504955" y="90900"/>
                    <a:pt x="489053" y="84916"/>
                  </a:cubicBezTo>
                  <a:cubicBezTo>
                    <a:pt x="459321" y="73639"/>
                    <a:pt x="430051" y="61442"/>
                    <a:pt x="400551" y="49014"/>
                  </a:cubicBezTo>
                  <a:cubicBezTo>
                    <a:pt x="384418" y="42340"/>
                    <a:pt x="368515" y="35436"/>
                    <a:pt x="352152" y="28992"/>
                  </a:cubicBezTo>
                  <a:cubicBezTo>
                    <a:pt x="339937" y="24389"/>
                    <a:pt x="325417" y="16335"/>
                    <a:pt x="312050" y="16565"/>
                  </a:cubicBezTo>
                  <a:close/>
                  <a:moveTo>
                    <a:pt x="306925" y="99"/>
                  </a:moveTo>
                  <a:cubicBezTo>
                    <a:pt x="313663" y="-279"/>
                    <a:pt x="320519" y="397"/>
                    <a:pt x="327491" y="2526"/>
                  </a:cubicBezTo>
                  <a:cubicBezTo>
                    <a:pt x="392715" y="22778"/>
                    <a:pt x="452868" y="56839"/>
                    <a:pt x="518323" y="76861"/>
                  </a:cubicBezTo>
                  <a:cubicBezTo>
                    <a:pt x="535839" y="82385"/>
                    <a:pt x="602445" y="95963"/>
                    <a:pt x="599680" y="123119"/>
                  </a:cubicBezTo>
                  <a:cubicBezTo>
                    <a:pt x="599449" y="124500"/>
                    <a:pt x="598988" y="125651"/>
                    <a:pt x="598297" y="126801"/>
                  </a:cubicBezTo>
                  <a:cubicBezTo>
                    <a:pt x="601062" y="133936"/>
                    <a:pt x="590000" y="139689"/>
                    <a:pt x="585621" y="132325"/>
                  </a:cubicBezTo>
                  <a:cubicBezTo>
                    <a:pt x="588386" y="137158"/>
                    <a:pt x="588617" y="134856"/>
                    <a:pt x="581703" y="133936"/>
                  </a:cubicBezTo>
                  <a:cubicBezTo>
                    <a:pt x="575480" y="133245"/>
                    <a:pt x="569488" y="133015"/>
                    <a:pt x="563495" y="132785"/>
                  </a:cubicBezTo>
                  <a:cubicBezTo>
                    <a:pt x="557042" y="132555"/>
                    <a:pt x="550819" y="132325"/>
                    <a:pt x="544597" y="132325"/>
                  </a:cubicBezTo>
                  <a:cubicBezTo>
                    <a:pt x="545979" y="132785"/>
                    <a:pt x="547362" y="133476"/>
                    <a:pt x="548515" y="134856"/>
                  </a:cubicBezTo>
                  <a:cubicBezTo>
                    <a:pt x="561191" y="150046"/>
                    <a:pt x="556351" y="186177"/>
                    <a:pt x="556581" y="204589"/>
                  </a:cubicBezTo>
                  <a:cubicBezTo>
                    <a:pt x="557042" y="249236"/>
                    <a:pt x="558655" y="293883"/>
                    <a:pt x="558655" y="338530"/>
                  </a:cubicBezTo>
                  <a:cubicBezTo>
                    <a:pt x="558655" y="343133"/>
                    <a:pt x="554968" y="346585"/>
                    <a:pt x="550589" y="346815"/>
                  </a:cubicBezTo>
                  <a:cubicBezTo>
                    <a:pt x="466927" y="350497"/>
                    <a:pt x="382805" y="346124"/>
                    <a:pt x="299374" y="350727"/>
                  </a:cubicBezTo>
                  <a:cubicBezTo>
                    <a:pt x="224931" y="354640"/>
                    <a:pt x="149797" y="358552"/>
                    <a:pt x="75815" y="348656"/>
                  </a:cubicBezTo>
                  <a:cubicBezTo>
                    <a:pt x="70975" y="347966"/>
                    <a:pt x="67749" y="345434"/>
                    <a:pt x="67518" y="340371"/>
                  </a:cubicBezTo>
                  <a:cubicBezTo>
                    <a:pt x="63370" y="274551"/>
                    <a:pt x="54612" y="208961"/>
                    <a:pt x="56225" y="142911"/>
                  </a:cubicBezTo>
                  <a:cubicBezTo>
                    <a:pt x="42166" y="142911"/>
                    <a:pt x="27877" y="142451"/>
                    <a:pt x="14049" y="140840"/>
                  </a:cubicBezTo>
                  <a:cubicBezTo>
                    <a:pt x="12896" y="141530"/>
                    <a:pt x="11514" y="141991"/>
                    <a:pt x="10592" y="142681"/>
                  </a:cubicBezTo>
                  <a:cubicBezTo>
                    <a:pt x="5060" y="145903"/>
                    <a:pt x="-3006" y="138999"/>
                    <a:pt x="1142" y="133245"/>
                  </a:cubicBezTo>
                  <a:cubicBezTo>
                    <a:pt x="11744" y="119667"/>
                    <a:pt x="38479" y="119897"/>
                    <a:pt x="53690" y="114604"/>
                  </a:cubicBezTo>
                  <a:cubicBezTo>
                    <a:pt x="88952" y="102407"/>
                    <a:pt x="121910" y="85837"/>
                    <a:pt x="154867" y="68806"/>
                  </a:cubicBezTo>
                  <a:cubicBezTo>
                    <a:pt x="186212" y="52466"/>
                    <a:pt x="218247" y="37507"/>
                    <a:pt x="249592" y="21167"/>
                  </a:cubicBezTo>
                  <a:cubicBezTo>
                    <a:pt x="267569" y="11847"/>
                    <a:pt x="286712" y="1232"/>
                    <a:pt x="306925" y="99"/>
                  </a:cubicBezTo>
                  <a:close/>
                </a:path>
              </a:pathLst>
            </a:custGeom>
            <a:noFill/>
          </p:spPr>
          <p:txBody>
            <a:bodyPr wrap="square" rtlCol="0" anchor="t">
              <a:spAutoFit/>
            </a:bodyPr>
            <a:p>
              <a:r>
                <a:rPr lang="en-US" altLang="zh-CN" sz="20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  </a:t>
              </a:r>
              <a:r>
                <a:rPr lang="zh-CN" altLang="en-US" sz="2000">
                  <a:solidFill>
                    <a:schemeClr val="accent1">
                      <a:lumMod val="40000"/>
                      <a:lumOff val="60000"/>
                    </a:schemeClr>
                  </a:solidFill>
                  <a:sym typeface="+mn-ea"/>
                </a:rPr>
                <a:t>衍生生态</a:t>
              </a:r>
              <a:endParaRPr lang="zh-CN" altLang="en-US" sz="2000">
                <a:solidFill>
                  <a:schemeClr val="accent1">
                    <a:lumMod val="40000"/>
                    <a:lumOff val="60000"/>
                  </a:schemeClr>
                </a:solidFill>
                <a:sym typeface="+mn-ea"/>
              </a:endParaRP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14857730" y="7618095"/>
            <a:ext cx="5877560" cy="22453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平台沉淀海量学习者学习行为数据、教育各类资源等，在平台发展郭成中可产生更多的衍生应用，带来不可估量的社会、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经济价值（例如人才招聘、各行业资源调控、教学教研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等方面）。</a:t>
            </a:r>
            <a:endParaRPr lang="zh-CN" altLang="en-US" sz="28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42" name="直接连接符 41"/>
          <p:cNvCxnSpPr/>
          <p:nvPr/>
        </p:nvCxnSpPr>
        <p:spPr>
          <a:xfrm flipH="1">
            <a:off x="5989320" y="3502660"/>
            <a:ext cx="4160520" cy="1266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11416030" y="3904615"/>
            <a:ext cx="40640" cy="7639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12762865" y="3382010"/>
            <a:ext cx="3879850" cy="16478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商业模式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en-US" altLang="zh-CN" sz="2800">
                <a:latin typeface="仿宋" panose="02010609060101010101" charset="-122"/>
                <a:ea typeface="仿宋" panose="02010609060101010101" charset="-122"/>
              </a:rPr>
              <a:t>--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</a:rPr>
              <a:t>推广</a:t>
            </a:r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715260" y="2729230"/>
            <a:ext cx="17489170" cy="9065260"/>
            <a:chOff x="4276" y="5954"/>
            <a:chExt cx="27542" cy="14276"/>
          </a:xfrm>
        </p:grpSpPr>
        <p:sp>
          <p:nvSpPr>
            <p:cNvPr id="4" name="文本框 3"/>
            <p:cNvSpPr txBox="1"/>
            <p:nvPr/>
          </p:nvSpPr>
          <p:spPr>
            <a:xfrm>
              <a:off x="6003" y="6978"/>
              <a:ext cx="4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endParaRPr lang="zh-CN" altLang="en-US"/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4745" y="13071"/>
              <a:ext cx="5353" cy="4021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p>
              <a:pPr indent="0" algn="just">
                <a:buFont typeface="Arial" panose="020B0604020202020204" pitchFamily="34" charset="0"/>
                <a:buNone/>
              </a:pPr>
              <a:r>
                <a:rPr lang="zh-CN" altLang="en-US" sz="32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从校内到校间、从区域内到区域间逐步打破地域阻碍，实现学分互换。</a:t>
              </a:r>
              <a:endParaRPr lang="zh-CN" altLang="en-US" sz="32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15818" y="13071"/>
              <a:ext cx="5353" cy="2470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p>
              <a:pPr indent="0" algn="just">
                <a:buFont typeface="Arial" panose="020B0604020202020204" pitchFamily="34" charset="0"/>
                <a:buNone/>
              </a:pPr>
              <a:r>
                <a:rPr lang="zh-CN" altLang="en-US" sz="32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实现在行业内实现自由转换，再推行至跨行业间；</a:t>
              </a:r>
              <a:endParaRPr lang="zh-CN" altLang="en-US" sz="32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25997" y="13071"/>
              <a:ext cx="5353" cy="4797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p>
              <a:pPr indent="0" algn="just">
                <a:buFont typeface="Arial" panose="020B0604020202020204" pitchFamily="34" charset="0"/>
                <a:buNone/>
              </a:pPr>
              <a:r>
                <a:rPr lang="zh-CN" altLang="en-US" sz="32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线上和线下两种途径展开，以互联网和学分银行线下网点相结合的“互联网+”模式展开。</a:t>
              </a:r>
              <a:endParaRPr lang="zh-CN" altLang="en-US" sz="32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10" name="圆角矩形 9"/>
            <p:cNvSpPr/>
            <p:nvPr/>
          </p:nvSpPr>
          <p:spPr>
            <a:xfrm>
              <a:off x="4276" y="5954"/>
              <a:ext cx="6291" cy="4291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40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区域推广</a:t>
              </a:r>
              <a:endPara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15350" y="5954"/>
              <a:ext cx="6291" cy="4291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4000"/>
                <a:t>行业普及</a:t>
              </a:r>
              <a:endParaRPr lang="zh-CN" altLang="en-US" sz="4000"/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25528" y="5954"/>
              <a:ext cx="6291" cy="4291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4000"/>
                <a:t>互联网</a:t>
              </a:r>
              <a:r>
                <a:rPr lang="en-US" altLang="zh-CN" sz="4000"/>
                <a:t>+</a:t>
              </a:r>
              <a:endParaRPr lang="en-US" altLang="zh-CN" sz="4000"/>
            </a:p>
          </p:txBody>
        </p:sp>
        <p:sp>
          <p:nvSpPr>
            <p:cNvPr id="15" name="圆角矩形 14"/>
            <p:cNvSpPr/>
            <p:nvPr/>
          </p:nvSpPr>
          <p:spPr>
            <a:xfrm>
              <a:off x="4276" y="11250"/>
              <a:ext cx="6291" cy="8981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4"/>
                  </a:solidFill>
                </a14:hiddenFill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16" name="圆角矩形 15"/>
            <p:cNvSpPr/>
            <p:nvPr/>
          </p:nvSpPr>
          <p:spPr>
            <a:xfrm>
              <a:off x="15350" y="11250"/>
              <a:ext cx="6291" cy="8981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4"/>
                  </a:solidFill>
                </a14:hiddenFill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17" name="圆角矩形 16"/>
            <p:cNvSpPr/>
            <p:nvPr/>
          </p:nvSpPr>
          <p:spPr>
            <a:xfrm>
              <a:off x="25528" y="11250"/>
              <a:ext cx="6291" cy="8981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4"/>
                  </a:solidFill>
                </a14:hiddenFill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5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753"/>
            <a:ext cx="1004252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认知度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1ï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矩形 67"/>
          <p:cNvSpPr/>
          <p:nvPr/>
        </p:nvSpPr>
        <p:spPr>
          <a:xfrm>
            <a:off x="0" y="794"/>
            <a:ext cx="24120475" cy="13679488"/>
          </a:xfrm>
          <a:prstGeom prst="rect">
            <a:avLst/>
          </a:prstGeom>
          <a:blipFill dpi="0" rotWithShape="1">
            <a:blip r:embed="rId1">
              <a:alphaModFix amt="50000"/>
            </a:blip>
            <a:srcRect/>
            <a:tile tx="-12065000" ty="0" sx="100000" sy="100000" flip="none" algn="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îṧḷîḍ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42" y="59392"/>
          <a:ext cx="3142" cy="31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îṧḷîḍé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42" y="59392"/>
                        <a:ext cx="3142" cy="31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ļîḍe" hidden="1"/>
          <p:cNvSpPr/>
          <p:nvPr>
            <p:custDataLst>
              <p:tags r:id="rId5"/>
            </p:custDataLst>
          </p:nvPr>
        </p:nvSpPr>
        <p:spPr>
          <a:xfrm>
            <a:off x="0" y="56250"/>
            <a:ext cx="314063" cy="314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7915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-16608034" y="-4671515"/>
            <a:ext cx="23022516" cy="23022516"/>
            <a:chOff x="-14346893" y="-4671515"/>
            <a:chExt cx="23022516" cy="23022516"/>
          </a:xfrm>
        </p:grpSpPr>
        <p:sp>
          <p:nvSpPr>
            <p:cNvPr id="5" name="矩形 4"/>
            <p:cNvSpPr/>
            <p:nvPr/>
          </p:nvSpPr>
          <p:spPr>
            <a:xfrm rot="2700000">
              <a:off x="-10871374" y="-1090600"/>
              <a:ext cx="15860687" cy="15860687"/>
            </a:xfrm>
            <a:prstGeom prst="rect">
              <a:avLst/>
            </a:prstGeom>
            <a:solidFill>
              <a:srgbClr val="00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5" name="矩形 24"/>
            <p:cNvSpPr/>
            <p:nvPr/>
          </p:nvSpPr>
          <p:spPr>
            <a:xfrm rot="2700000">
              <a:off x="-14346893" y="-4671515"/>
              <a:ext cx="23022516" cy="23022516"/>
            </a:xfrm>
            <a:prstGeom prst="rect">
              <a:avLst/>
            </a:prstGeom>
            <a:noFill/>
            <a:ln w="9525">
              <a:solidFill>
                <a:srgbClr val="0069BF">
                  <a:alpha val="1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7" name="矩形 26"/>
            <p:cNvSpPr/>
            <p:nvPr/>
          </p:nvSpPr>
          <p:spPr>
            <a:xfrm rot="2700000">
              <a:off x="-11839730" y="-1988127"/>
              <a:ext cx="17655740" cy="17655740"/>
            </a:xfrm>
            <a:prstGeom prst="rect">
              <a:avLst/>
            </a:prstGeom>
            <a:noFill/>
            <a:ln w="9525">
              <a:solidFill>
                <a:srgbClr val="0069BF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8" name="矩形 27"/>
            <p:cNvSpPr/>
            <p:nvPr/>
          </p:nvSpPr>
          <p:spPr>
            <a:xfrm rot="2700000">
              <a:off x="-12873158" y="-2951749"/>
              <a:ext cx="19582988" cy="19582986"/>
            </a:xfrm>
            <a:prstGeom prst="rect">
              <a:avLst/>
            </a:prstGeom>
            <a:noFill/>
            <a:ln w="9525">
              <a:solidFill>
                <a:srgbClr val="0069BF">
                  <a:alpha val="3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9" name="矩形 28"/>
            <p:cNvSpPr/>
            <p:nvPr/>
          </p:nvSpPr>
          <p:spPr>
            <a:xfrm rot="2700000">
              <a:off x="-13686159" y="-3802638"/>
              <a:ext cx="21284765" cy="21284763"/>
            </a:xfrm>
            <a:prstGeom prst="rect">
              <a:avLst/>
            </a:prstGeom>
            <a:noFill/>
            <a:ln w="9525">
              <a:solidFill>
                <a:srgbClr val="0069BF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21011932" y="0"/>
            <a:ext cx="3108543" cy="1367948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9000" b="1" dirty="0">
                <a:solidFill>
                  <a:schemeClr val="accent3">
                    <a:alpha val="5000"/>
                  </a:schemeClr>
                </a:solidFill>
              </a:rPr>
              <a:t>CONTENTS</a:t>
            </a:r>
            <a:endParaRPr lang="zh-CN" altLang="en-US" sz="19000" b="1" dirty="0">
              <a:solidFill>
                <a:schemeClr val="accent3">
                  <a:alpha val="5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018866" y="5871042"/>
            <a:ext cx="3262432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0" dirty="0">
                <a:solidFill>
                  <a:schemeClr val="bg1"/>
                </a:solidFill>
              </a:rPr>
              <a:t>目录</a:t>
            </a:r>
            <a:endParaRPr lang="zh-CN" altLang="en-US" sz="12000" dirty="0">
              <a:solidFill>
                <a:schemeClr val="bg1"/>
              </a:solidFill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14653905" y="7228660"/>
            <a:ext cx="5294778" cy="1938020"/>
            <a:chOff x="8864675" y="3194630"/>
            <a:chExt cx="5294778" cy="1938020"/>
          </a:xfrm>
        </p:grpSpPr>
        <p:sp>
          <p:nvSpPr>
            <p:cNvPr id="30" name="文本框 29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6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0928573" y="3456240"/>
              <a:ext cx="3230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6000" dirty="0"/>
                <a:t>社会价值</a:t>
              </a:r>
              <a:endParaRPr lang="zh-CN" altLang="en-US" sz="6000" dirty="0"/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10965778" y="4459871"/>
              <a:ext cx="1551305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</a:rPr>
                <a:t>Social value</a:t>
              </a:r>
              <a:endParaRPr lang="en-US" altLang="zh-CN" sz="2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7569870" y="2131515"/>
            <a:ext cx="5294778" cy="1938020"/>
            <a:chOff x="8864675" y="3194630"/>
            <a:chExt cx="5294778" cy="1938020"/>
          </a:xfrm>
        </p:grpSpPr>
        <p:sp>
          <p:nvSpPr>
            <p:cNvPr id="38" name="文本框 37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1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10928573" y="3456240"/>
              <a:ext cx="3230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6000" dirty="0">
                  <a:sym typeface="+mn-ea"/>
                </a:rPr>
                <a:t>政策背景</a:t>
              </a:r>
              <a:endParaRPr lang="zh-CN" altLang="en-US" sz="6000" dirty="0"/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10965778" y="4459871"/>
              <a:ext cx="2256155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Policy background</a:t>
              </a:r>
              <a:endParaRPr lang="zh-CN" altLang="en-US" sz="2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14653905" y="2002174"/>
            <a:ext cx="5294778" cy="2199630"/>
            <a:chOff x="8864675" y="3194630"/>
            <a:chExt cx="5294778" cy="2199630"/>
          </a:xfrm>
        </p:grpSpPr>
        <p:sp>
          <p:nvSpPr>
            <p:cNvPr id="43" name="文本框 42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2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10928573" y="3456240"/>
              <a:ext cx="323088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6000" dirty="0"/>
                <a:t>建设现状</a:t>
              </a:r>
              <a:endParaRPr lang="zh-CN" altLang="en-US" sz="6000" dirty="0"/>
            </a:p>
            <a:p>
              <a:endParaRPr lang="zh-CN" altLang="en-US" sz="6000" dirty="0"/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10965778" y="4459871"/>
              <a:ext cx="23545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C</a:t>
              </a:r>
              <a:r>
                <a:rPr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onstruction</a:t>
              </a:r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 </a:t>
              </a:r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states</a:t>
              </a:r>
              <a:endParaRPr lang="en-US" altLang="zh-CN" sz="2000" dirty="0">
                <a:solidFill>
                  <a:schemeClr val="bg1">
                    <a:lumMod val="65000"/>
                  </a:schemeClr>
                </a:solidFill>
                <a:sym typeface="+mn-ea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569870" y="4541903"/>
            <a:ext cx="5294778" cy="1938020"/>
            <a:chOff x="8864675" y="3194630"/>
            <a:chExt cx="5294778" cy="1938020"/>
          </a:xfrm>
        </p:grpSpPr>
        <p:sp>
          <p:nvSpPr>
            <p:cNvPr id="48" name="文本框 47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3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10928573" y="3456240"/>
              <a:ext cx="3230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6000" dirty="0"/>
                <a:t>核心业务</a:t>
              </a:r>
              <a:endParaRPr lang="zh-CN" altLang="en-US" sz="6000" dirty="0"/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10965778" y="4459871"/>
              <a:ext cx="180467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C</a:t>
              </a:r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ore business</a:t>
              </a:r>
              <a:endParaRPr lang="zh-CN" altLang="en-US" sz="2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14653905" y="4542177"/>
            <a:ext cx="5294778" cy="1938020"/>
            <a:chOff x="8864675" y="3194630"/>
            <a:chExt cx="5294778" cy="1938020"/>
          </a:xfrm>
        </p:grpSpPr>
        <p:sp>
          <p:nvSpPr>
            <p:cNvPr id="53" name="文本框 52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4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0928573" y="3456240"/>
              <a:ext cx="3230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6000" dirty="0">
                  <a:sym typeface="+mn-ea"/>
                </a:rPr>
                <a:t>商业模式</a:t>
              </a:r>
              <a:endParaRPr lang="zh-CN" altLang="en-US" sz="6000" dirty="0"/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10965778" y="4459871"/>
              <a:ext cx="204470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 </a:t>
              </a:r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B</a:t>
              </a:r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usiness mode</a:t>
              </a:r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l</a:t>
              </a:r>
              <a:endParaRPr lang="en-US" altLang="zh-CN" sz="2000" dirty="0">
                <a:solidFill>
                  <a:schemeClr val="bg1">
                    <a:lumMod val="65000"/>
                  </a:schemeClr>
                </a:solidFill>
                <a:sym typeface="+mn-ea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7569870" y="7228862"/>
            <a:ext cx="6056778" cy="1938020"/>
            <a:chOff x="8864675" y="3194630"/>
            <a:chExt cx="6056778" cy="1938020"/>
          </a:xfrm>
        </p:grpSpPr>
        <p:sp>
          <p:nvSpPr>
            <p:cNvPr id="58" name="文本框 57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5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59" name="矩形 58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928573" y="3456240"/>
              <a:ext cx="3992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6000" dirty="0">
                  <a:sym typeface="+mn-ea"/>
                </a:rPr>
                <a:t>社会认知度</a:t>
              </a:r>
              <a:endParaRPr lang="zh-CN" altLang="en-US" sz="6000" dirty="0"/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10965778" y="4459871"/>
              <a:ext cx="217170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Social awareness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sym typeface="+mn-ea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7569845" y="9524072"/>
            <a:ext cx="6056778" cy="2199630"/>
            <a:chOff x="8864675" y="3194630"/>
            <a:chExt cx="6056778" cy="2199630"/>
          </a:xfrm>
        </p:grpSpPr>
        <p:sp>
          <p:nvSpPr>
            <p:cNvPr id="63" name="文本框 62"/>
            <p:cNvSpPr txBox="1"/>
            <p:nvPr/>
          </p:nvSpPr>
          <p:spPr>
            <a:xfrm>
              <a:off x="8864675" y="3194630"/>
              <a:ext cx="1451038" cy="19389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7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64" name="矩形 63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10928573" y="3456240"/>
              <a:ext cx="399288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6000" dirty="0">
                  <a:sym typeface="+mn-ea"/>
                </a:rPr>
                <a:t>挑战与发展</a:t>
              </a:r>
              <a:endParaRPr lang="zh-CN" altLang="en-US" sz="6000" dirty="0"/>
            </a:p>
            <a:p>
              <a:pPr algn="l"/>
              <a:endParaRPr lang="zh-CN" altLang="en-US" sz="6000" dirty="0"/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10965778" y="4459871"/>
              <a:ext cx="2947035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C</a:t>
              </a:r>
              <a:r>
                <a:rPr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halleng</a:t>
              </a:r>
              <a:r>
                <a:rPr lang="en-US" altLang="zh-CN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e&amp;</a:t>
              </a:r>
              <a:r>
                <a:rPr 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d</a:t>
              </a:r>
              <a:r>
                <a:rPr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evelopmen</a:t>
              </a:r>
              <a:r>
                <a:rPr lang="en-US" sz="2000" dirty="0">
                  <a:solidFill>
                    <a:schemeClr val="bg1">
                      <a:lumMod val="65000"/>
                    </a:schemeClr>
                  </a:solidFill>
                  <a:sym typeface="+mn-ea"/>
                </a:rPr>
                <a:t>t</a:t>
              </a:r>
              <a:endParaRPr lang="zh-CN" altLang="en-US" sz="2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14653905" y="9524072"/>
            <a:ext cx="5294778" cy="1938020"/>
            <a:chOff x="8864675" y="3194630"/>
            <a:chExt cx="5294778" cy="1938020"/>
          </a:xfrm>
        </p:grpSpPr>
        <p:sp>
          <p:nvSpPr>
            <p:cNvPr id="17" name="文本框 16"/>
            <p:cNvSpPr txBox="1"/>
            <p:nvPr/>
          </p:nvSpPr>
          <p:spPr>
            <a:xfrm>
              <a:off x="8864675" y="3194630"/>
              <a:ext cx="2409190" cy="1938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en-US" altLang="zh-CN" sz="12000" dirty="0">
                  <a:solidFill>
                    <a:schemeClr val="accent3"/>
                  </a:solidFill>
                  <a:latin typeface="Futura LT Condensed" panose="02000606050000020003" pitchFamily="2" charset="0"/>
                </a:rPr>
                <a:t>08</a:t>
              </a:r>
              <a:endParaRPr lang="zh-CN" altLang="en-US" sz="12000" dirty="0">
                <a:solidFill>
                  <a:schemeClr val="accent3"/>
                </a:solidFill>
                <a:latin typeface="Futura LT Condensed" panose="02000606050000020003" pitchFamily="2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 flipH="1">
              <a:off x="10536196" y="3585568"/>
              <a:ext cx="45719" cy="1209368"/>
            </a:xfrm>
            <a:prstGeom prst="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10928573" y="3456240"/>
              <a:ext cx="3230880" cy="1014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6000" dirty="0"/>
                <a:t>集成构想</a:t>
              </a:r>
              <a:endParaRPr lang="zh-CN" altLang="en-US" sz="6000" dirty="0"/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10965778" y="4459871"/>
              <a:ext cx="242443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2000" dirty="0">
                  <a:solidFill>
                    <a:schemeClr val="bg1">
                      <a:lumMod val="65000"/>
                    </a:schemeClr>
                  </a:solidFill>
                </a:rPr>
                <a:t>The integration idea</a:t>
              </a:r>
              <a:endParaRPr lang="zh-CN" altLang="en-US" sz="2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custDataLst>
      <p:tags r:id="rId6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453640" y="5749925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703580" y="2083435"/>
            <a:ext cx="1908810" cy="2531745"/>
            <a:chOff x="6544" y="12759"/>
            <a:chExt cx="3006" cy="3987"/>
          </a:xfrm>
        </p:grpSpPr>
        <p:sp>
          <p:nvSpPr>
            <p:cNvPr id="2" name="baidu-logo_49010"/>
            <p:cNvSpPr>
              <a:spLocks noChangeAspect="1"/>
            </p:cNvSpPr>
            <p:nvPr/>
          </p:nvSpPr>
          <p:spPr bwMode="auto">
            <a:xfrm>
              <a:off x="6681" y="12759"/>
              <a:ext cx="2732" cy="2700"/>
            </a:xfrm>
            <a:custGeom>
              <a:avLst/>
              <a:gdLst>
                <a:gd name="connsiteX0" fmla="*/ 260361 w 546040"/>
                <a:gd name="connsiteY0" fmla="*/ 242331 h 594078"/>
                <a:gd name="connsiteX1" fmla="*/ 356770 w 546040"/>
                <a:gd name="connsiteY1" fmla="*/ 297865 h 594078"/>
                <a:gd name="connsiteX2" fmla="*/ 473406 w 546040"/>
                <a:gd name="connsiteY2" fmla="*/ 416645 h 594078"/>
                <a:gd name="connsiteX3" fmla="*/ 493690 w 546040"/>
                <a:gd name="connsiteY3" fmla="*/ 542791 h 594078"/>
                <a:gd name="connsiteX4" fmla="*/ 329109 w 546040"/>
                <a:gd name="connsiteY4" fmla="*/ 582845 h 594078"/>
                <a:gd name="connsiteX5" fmla="*/ 225843 w 546040"/>
                <a:gd name="connsiteY5" fmla="*/ 580082 h 594078"/>
                <a:gd name="connsiteX6" fmla="*/ 122576 w 546040"/>
                <a:gd name="connsiteY6" fmla="*/ 587448 h 594078"/>
                <a:gd name="connsiteX7" fmla="*/ 39594 w 546040"/>
                <a:gd name="connsiteY7" fmla="*/ 507341 h 594078"/>
                <a:gd name="connsiteX8" fmla="*/ 110129 w 546040"/>
                <a:gd name="connsiteY8" fmla="*/ 373368 h 594078"/>
                <a:gd name="connsiteX9" fmla="*/ 187118 w 546040"/>
                <a:gd name="connsiteY9" fmla="*/ 290038 h 594078"/>
                <a:gd name="connsiteX10" fmla="*/ 260361 w 546040"/>
                <a:gd name="connsiteY10" fmla="*/ 242331 h 594078"/>
                <a:gd name="connsiteX11" fmla="*/ 473414 w 546040"/>
                <a:gd name="connsiteY11" fmla="*/ 180499 h 594078"/>
                <a:gd name="connsiteX12" fmla="*/ 545784 w 546040"/>
                <a:gd name="connsiteY12" fmla="*/ 254596 h 594078"/>
                <a:gd name="connsiteX13" fmla="*/ 482633 w 546040"/>
                <a:gd name="connsiteY13" fmla="*/ 353086 h 594078"/>
                <a:gd name="connsiteX14" fmla="*/ 408880 w 546040"/>
                <a:gd name="connsiteY14" fmla="*/ 269784 h 594078"/>
                <a:gd name="connsiteX15" fmla="*/ 473414 w 546040"/>
                <a:gd name="connsiteY15" fmla="*/ 180499 h 594078"/>
                <a:gd name="connsiteX16" fmla="*/ 61231 w 546040"/>
                <a:gd name="connsiteY16" fmla="*/ 137171 h 594078"/>
                <a:gd name="connsiteX17" fmla="*/ 136392 w 546040"/>
                <a:gd name="connsiteY17" fmla="*/ 205315 h 594078"/>
                <a:gd name="connsiteX18" fmla="*/ 82442 w 546040"/>
                <a:gd name="connsiteY18" fmla="*/ 313056 h 594078"/>
                <a:gd name="connsiteX19" fmla="*/ 1287 w 546040"/>
                <a:gd name="connsiteY19" fmla="*/ 217286 h 594078"/>
                <a:gd name="connsiteX20" fmla="*/ 61231 w 546040"/>
                <a:gd name="connsiteY20" fmla="*/ 137171 h 594078"/>
                <a:gd name="connsiteX21" fmla="*/ 382581 w 546040"/>
                <a:gd name="connsiteY21" fmla="*/ 15213 h 594078"/>
                <a:gd name="connsiteX22" fmla="*/ 441145 w 546040"/>
                <a:gd name="connsiteY22" fmla="*/ 106358 h 594078"/>
                <a:gd name="connsiteX23" fmla="*/ 356758 w 546040"/>
                <a:gd name="connsiteY23" fmla="*/ 189676 h 594078"/>
                <a:gd name="connsiteX24" fmla="*/ 302807 w 546040"/>
                <a:gd name="connsiteY24" fmla="*/ 97151 h 594078"/>
                <a:gd name="connsiteX25" fmla="*/ 382581 w 546040"/>
                <a:gd name="connsiteY25" fmla="*/ 15213 h 594078"/>
                <a:gd name="connsiteX26" fmla="*/ 202765 w 546040"/>
                <a:gd name="connsiteY26" fmla="*/ 0 h 594078"/>
                <a:gd name="connsiteX27" fmla="*/ 267325 w 546040"/>
                <a:gd name="connsiteY27" fmla="*/ 91842 h 594078"/>
                <a:gd name="connsiteX28" fmla="*/ 202765 w 546040"/>
                <a:gd name="connsiteY28" fmla="*/ 183684 h 594078"/>
                <a:gd name="connsiteX29" fmla="*/ 138205 w 546040"/>
                <a:gd name="connsiteY29" fmla="*/ 91842 h 594078"/>
                <a:gd name="connsiteX30" fmla="*/ 202765 w 546040"/>
                <a:gd name="connsiteY30" fmla="*/ 0 h 59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46040" h="594078">
                  <a:moveTo>
                    <a:pt x="260361" y="242331"/>
                  </a:moveTo>
                  <a:cubicBezTo>
                    <a:pt x="291998" y="238705"/>
                    <a:pt x="327495" y="252286"/>
                    <a:pt x="356770" y="297865"/>
                  </a:cubicBezTo>
                  <a:cubicBezTo>
                    <a:pt x="399644" y="359557"/>
                    <a:pt x="473406" y="416645"/>
                    <a:pt x="473406" y="416645"/>
                  </a:cubicBezTo>
                  <a:cubicBezTo>
                    <a:pt x="473406" y="416645"/>
                    <a:pt x="529188" y="459461"/>
                    <a:pt x="493690" y="542791"/>
                  </a:cubicBezTo>
                  <a:cubicBezTo>
                    <a:pt x="458193" y="626121"/>
                    <a:pt x="329109" y="582845"/>
                    <a:pt x="329109" y="582845"/>
                  </a:cubicBezTo>
                  <a:cubicBezTo>
                    <a:pt x="329109" y="582845"/>
                    <a:pt x="281164" y="567652"/>
                    <a:pt x="225843" y="580082"/>
                  </a:cubicBezTo>
                  <a:cubicBezTo>
                    <a:pt x="170521" y="592513"/>
                    <a:pt x="122576" y="587448"/>
                    <a:pt x="122576" y="587448"/>
                  </a:cubicBezTo>
                  <a:cubicBezTo>
                    <a:pt x="122576" y="587448"/>
                    <a:pt x="58035" y="589290"/>
                    <a:pt x="39594" y="507341"/>
                  </a:cubicBezTo>
                  <a:cubicBezTo>
                    <a:pt x="21154" y="425852"/>
                    <a:pt x="104136" y="380734"/>
                    <a:pt x="110129" y="373368"/>
                  </a:cubicBezTo>
                  <a:cubicBezTo>
                    <a:pt x="116583" y="365542"/>
                    <a:pt x="159457" y="336077"/>
                    <a:pt x="187118" y="290038"/>
                  </a:cubicBezTo>
                  <a:cubicBezTo>
                    <a:pt x="200948" y="266789"/>
                    <a:pt x="228724" y="245956"/>
                    <a:pt x="260361" y="242331"/>
                  </a:cubicBezTo>
                  <a:close/>
                  <a:moveTo>
                    <a:pt x="473414" y="180499"/>
                  </a:moveTo>
                  <a:cubicBezTo>
                    <a:pt x="530572" y="180499"/>
                    <a:pt x="545784" y="236187"/>
                    <a:pt x="545784" y="254596"/>
                  </a:cubicBezTo>
                  <a:cubicBezTo>
                    <a:pt x="545784" y="273006"/>
                    <a:pt x="553620" y="351705"/>
                    <a:pt x="482633" y="353086"/>
                  </a:cubicBezTo>
                  <a:cubicBezTo>
                    <a:pt x="412107" y="354927"/>
                    <a:pt x="408880" y="305222"/>
                    <a:pt x="408880" y="269784"/>
                  </a:cubicBezTo>
                  <a:cubicBezTo>
                    <a:pt x="408880" y="232966"/>
                    <a:pt x="416716" y="180499"/>
                    <a:pt x="473414" y="180499"/>
                  </a:cubicBezTo>
                  <a:close/>
                  <a:moveTo>
                    <a:pt x="61231" y="137171"/>
                  </a:moveTo>
                  <a:cubicBezTo>
                    <a:pt x="102731" y="133487"/>
                    <a:pt x="133164" y="179070"/>
                    <a:pt x="136392" y="205315"/>
                  </a:cubicBezTo>
                  <a:cubicBezTo>
                    <a:pt x="138237" y="221890"/>
                    <a:pt x="147459" y="299243"/>
                    <a:pt x="82442" y="313056"/>
                  </a:cubicBezTo>
                  <a:cubicBezTo>
                    <a:pt x="17887" y="326869"/>
                    <a:pt x="-6091" y="252279"/>
                    <a:pt x="1287" y="217286"/>
                  </a:cubicBezTo>
                  <a:cubicBezTo>
                    <a:pt x="1287" y="217286"/>
                    <a:pt x="8664" y="141775"/>
                    <a:pt x="61231" y="137171"/>
                  </a:cubicBezTo>
                  <a:close/>
                  <a:moveTo>
                    <a:pt x="382581" y="15213"/>
                  </a:moveTo>
                  <a:cubicBezTo>
                    <a:pt x="416705" y="23039"/>
                    <a:pt x="447600" y="67690"/>
                    <a:pt x="441145" y="106358"/>
                  </a:cubicBezTo>
                  <a:cubicBezTo>
                    <a:pt x="435150" y="145025"/>
                    <a:pt x="404254" y="196121"/>
                    <a:pt x="356758" y="189676"/>
                  </a:cubicBezTo>
                  <a:cubicBezTo>
                    <a:pt x="308802" y="183692"/>
                    <a:pt x="298196" y="140422"/>
                    <a:pt x="302807" y="97151"/>
                  </a:cubicBezTo>
                  <a:cubicBezTo>
                    <a:pt x="306496" y="61706"/>
                    <a:pt x="348919" y="7848"/>
                    <a:pt x="382581" y="15213"/>
                  </a:cubicBezTo>
                  <a:close/>
                  <a:moveTo>
                    <a:pt x="202765" y="0"/>
                  </a:moveTo>
                  <a:cubicBezTo>
                    <a:pt x="238421" y="0"/>
                    <a:pt x="267325" y="41119"/>
                    <a:pt x="267325" y="91842"/>
                  </a:cubicBezTo>
                  <a:cubicBezTo>
                    <a:pt x="267325" y="142565"/>
                    <a:pt x="238421" y="183684"/>
                    <a:pt x="202765" y="183684"/>
                  </a:cubicBezTo>
                  <a:cubicBezTo>
                    <a:pt x="167109" y="183684"/>
                    <a:pt x="138205" y="142565"/>
                    <a:pt x="138205" y="91842"/>
                  </a:cubicBezTo>
                  <a:cubicBezTo>
                    <a:pt x="138205" y="41119"/>
                    <a:pt x="167109" y="0"/>
                    <a:pt x="202765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6" name="文本框 5"/>
            <p:cNvSpPr txBox="1"/>
            <p:nvPr/>
          </p:nvSpPr>
          <p:spPr>
            <a:xfrm>
              <a:off x="6544" y="15828"/>
              <a:ext cx="3007" cy="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3200"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百度资讯</a:t>
              </a:r>
              <a:endParaRPr lang="zh-CN" altLang="en-US" sz="3200"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13022580" y="2122805"/>
            <a:ext cx="1909445" cy="2282190"/>
            <a:chOff x="18375" y="13153"/>
            <a:chExt cx="3007" cy="3594"/>
          </a:xfrm>
        </p:grpSpPr>
        <p:sp>
          <p:nvSpPr>
            <p:cNvPr id="3" name="website_115733"/>
            <p:cNvSpPr>
              <a:spLocks noChangeAspect="1"/>
            </p:cNvSpPr>
            <p:nvPr/>
          </p:nvSpPr>
          <p:spPr bwMode="auto">
            <a:xfrm>
              <a:off x="18397" y="13153"/>
              <a:ext cx="2757" cy="2359"/>
            </a:xfrm>
            <a:custGeom>
              <a:avLst/>
              <a:gdLst>
                <a:gd name="connsiteX0" fmla="*/ 341726 w 605733"/>
                <a:gd name="connsiteY0" fmla="*/ 291506 h 448443"/>
                <a:gd name="connsiteX1" fmla="*/ 499414 w 605733"/>
                <a:gd name="connsiteY1" fmla="*/ 291506 h 448443"/>
                <a:gd name="connsiteX2" fmla="*/ 509905 w 605733"/>
                <a:gd name="connsiteY2" fmla="*/ 301985 h 448443"/>
                <a:gd name="connsiteX3" fmla="*/ 499414 w 605733"/>
                <a:gd name="connsiteY3" fmla="*/ 312464 h 448443"/>
                <a:gd name="connsiteX4" fmla="*/ 341726 w 605733"/>
                <a:gd name="connsiteY4" fmla="*/ 312464 h 448443"/>
                <a:gd name="connsiteX5" fmla="*/ 331234 w 605733"/>
                <a:gd name="connsiteY5" fmla="*/ 301985 h 448443"/>
                <a:gd name="connsiteX6" fmla="*/ 341726 w 605733"/>
                <a:gd name="connsiteY6" fmla="*/ 291506 h 448443"/>
                <a:gd name="connsiteX7" fmla="*/ 196291 w 605733"/>
                <a:gd name="connsiteY7" fmla="*/ 291506 h 448443"/>
                <a:gd name="connsiteX8" fmla="*/ 263443 w 605733"/>
                <a:gd name="connsiteY8" fmla="*/ 291506 h 448443"/>
                <a:gd name="connsiteX9" fmla="*/ 273935 w 605733"/>
                <a:gd name="connsiteY9" fmla="*/ 301985 h 448443"/>
                <a:gd name="connsiteX10" fmla="*/ 263443 w 605733"/>
                <a:gd name="connsiteY10" fmla="*/ 312464 h 448443"/>
                <a:gd name="connsiteX11" fmla="*/ 196291 w 605733"/>
                <a:gd name="connsiteY11" fmla="*/ 312464 h 448443"/>
                <a:gd name="connsiteX12" fmla="*/ 185799 w 605733"/>
                <a:gd name="connsiteY12" fmla="*/ 301985 h 448443"/>
                <a:gd name="connsiteX13" fmla="*/ 196291 w 605733"/>
                <a:gd name="connsiteY13" fmla="*/ 291506 h 448443"/>
                <a:gd name="connsiteX14" fmla="*/ 341726 w 605733"/>
                <a:gd name="connsiteY14" fmla="*/ 253753 h 448443"/>
                <a:gd name="connsiteX15" fmla="*/ 499414 w 605733"/>
                <a:gd name="connsiteY15" fmla="*/ 253753 h 448443"/>
                <a:gd name="connsiteX16" fmla="*/ 509905 w 605733"/>
                <a:gd name="connsiteY16" fmla="*/ 264232 h 448443"/>
                <a:gd name="connsiteX17" fmla="*/ 499414 w 605733"/>
                <a:gd name="connsiteY17" fmla="*/ 274711 h 448443"/>
                <a:gd name="connsiteX18" fmla="*/ 341726 w 605733"/>
                <a:gd name="connsiteY18" fmla="*/ 274711 h 448443"/>
                <a:gd name="connsiteX19" fmla="*/ 331234 w 605733"/>
                <a:gd name="connsiteY19" fmla="*/ 264232 h 448443"/>
                <a:gd name="connsiteX20" fmla="*/ 341726 w 605733"/>
                <a:gd name="connsiteY20" fmla="*/ 253753 h 448443"/>
                <a:gd name="connsiteX21" fmla="*/ 196291 w 605733"/>
                <a:gd name="connsiteY21" fmla="*/ 253753 h 448443"/>
                <a:gd name="connsiteX22" fmla="*/ 263443 w 605733"/>
                <a:gd name="connsiteY22" fmla="*/ 253753 h 448443"/>
                <a:gd name="connsiteX23" fmla="*/ 273935 w 605733"/>
                <a:gd name="connsiteY23" fmla="*/ 264232 h 448443"/>
                <a:gd name="connsiteX24" fmla="*/ 263443 w 605733"/>
                <a:gd name="connsiteY24" fmla="*/ 274711 h 448443"/>
                <a:gd name="connsiteX25" fmla="*/ 196291 w 605733"/>
                <a:gd name="connsiteY25" fmla="*/ 274711 h 448443"/>
                <a:gd name="connsiteX26" fmla="*/ 185799 w 605733"/>
                <a:gd name="connsiteY26" fmla="*/ 264232 h 448443"/>
                <a:gd name="connsiteX27" fmla="*/ 196291 w 605733"/>
                <a:gd name="connsiteY27" fmla="*/ 253753 h 448443"/>
                <a:gd name="connsiteX28" fmla="*/ 341726 w 605733"/>
                <a:gd name="connsiteY28" fmla="*/ 216071 h 448443"/>
                <a:gd name="connsiteX29" fmla="*/ 499414 w 605733"/>
                <a:gd name="connsiteY29" fmla="*/ 216071 h 448443"/>
                <a:gd name="connsiteX30" fmla="*/ 509905 w 605733"/>
                <a:gd name="connsiteY30" fmla="*/ 226550 h 448443"/>
                <a:gd name="connsiteX31" fmla="*/ 499414 w 605733"/>
                <a:gd name="connsiteY31" fmla="*/ 237029 h 448443"/>
                <a:gd name="connsiteX32" fmla="*/ 341726 w 605733"/>
                <a:gd name="connsiteY32" fmla="*/ 237029 h 448443"/>
                <a:gd name="connsiteX33" fmla="*/ 331234 w 605733"/>
                <a:gd name="connsiteY33" fmla="*/ 226550 h 448443"/>
                <a:gd name="connsiteX34" fmla="*/ 341726 w 605733"/>
                <a:gd name="connsiteY34" fmla="*/ 216071 h 448443"/>
                <a:gd name="connsiteX35" fmla="*/ 196291 w 605733"/>
                <a:gd name="connsiteY35" fmla="*/ 216071 h 448443"/>
                <a:gd name="connsiteX36" fmla="*/ 263443 w 605733"/>
                <a:gd name="connsiteY36" fmla="*/ 216071 h 448443"/>
                <a:gd name="connsiteX37" fmla="*/ 273935 w 605733"/>
                <a:gd name="connsiteY37" fmla="*/ 226550 h 448443"/>
                <a:gd name="connsiteX38" fmla="*/ 263443 w 605733"/>
                <a:gd name="connsiteY38" fmla="*/ 237029 h 448443"/>
                <a:gd name="connsiteX39" fmla="*/ 196291 w 605733"/>
                <a:gd name="connsiteY39" fmla="*/ 237029 h 448443"/>
                <a:gd name="connsiteX40" fmla="*/ 185799 w 605733"/>
                <a:gd name="connsiteY40" fmla="*/ 226550 h 448443"/>
                <a:gd name="connsiteX41" fmla="*/ 196291 w 605733"/>
                <a:gd name="connsiteY41" fmla="*/ 216071 h 448443"/>
                <a:gd name="connsiteX42" fmla="*/ 314251 w 605733"/>
                <a:gd name="connsiteY42" fmla="*/ 194570 h 448443"/>
                <a:gd name="connsiteX43" fmla="*/ 314251 w 605733"/>
                <a:gd name="connsiteY43" fmla="*/ 427488 h 448443"/>
                <a:gd name="connsiteX44" fmla="*/ 584748 w 605733"/>
                <a:gd name="connsiteY44" fmla="*/ 427488 h 448443"/>
                <a:gd name="connsiteX45" fmla="*/ 584748 w 605733"/>
                <a:gd name="connsiteY45" fmla="*/ 194570 h 448443"/>
                <a:gd name="connsiteX46" fmla="*/ 166516 w 605733"/>
                <a:gd name="connsiteY46" fmla="*/ 194570 h 448443"/>
                <a:gd name="connsiteX47" fmla="*/ 166516 w 605733"/>
                <a:gd name="connsiteY47" fmla="*/ 427488 h 448443"/>
                <a:gd name="connsiteX48" fmla="*/ 293266 w 605733"/>
                <a:gd name="connsiteY48" fmla="*/ 427488 h 448443"/>
                <a:gd name="connsiteX49" fmla="*/ 293266 w 605733"/>
                <a:gd name="connsiteY49" fmla="*/ 194570 h 448443"/>
                <a:gd name="connsiteX50" fmla="*/ 50785 w 605733"/>
                <a:gd name="connsiteY50" fmla="*/ 179801 h 448443"/>
                <a:gd name="connsiteX51" fmla="*/ 117937 w 605733"/>
                <a:gd name="connsiteY51" fmla="*/ 179801 h 448443"/>
                <a:gd name="connsiteX52" fmla="*/ 128429 w 605733"/>
                <a:gd name="connsiteY52" fmla="*/ 190280 h 448443"/>
                <a:gd name="connsiteX53" fmla="*/ 117937 w 605733"/>
                <a:gd name="connsiteY53" fmla="*/ 200759 h 448443"/>
                <a:gd name="connsiteX54" fmla="*/ 50785 w 605733"/>
                <a:gd name="connsiteY54" fmla="*/ 200759 h 448443"/>
                <a:gd name="connsiteX55" fmla="*/ 40293 w 605733"/>
                <a:gd name="connsiteY55" fmla="*/ 190280 h 448443"/>
                <a:gd name="connsiteX56" fmla="*/ 50785 w 605733"/>
                <a:gd name="connsiteY56" fmla="*/ 179801 h 448443"/>
                <a:gd name="connsiteX57" fmla="*/ 240169 w 605733"/>
                <a:gd name="connsiteY57" fmla="*/ 142683 h 448443"/>
                <a:gd name="connsiteX58" fmla="*/ 247609 w 605733"/>
                <a:gd name="connsiteY58" fmla="*/ 145722 h 448443"/>
                <a:gd name="connsiteX59" fmla="*/ 250648 w 605733"/>
                <a:gd name="connsiteY59" fmla="*/ 153162 h 448443"/>
                <a:gd name="connsiteX60" fmla="*/ 247609 w 605733"/>
                <a:gd name="connsiteY60" fmla="*/ 160497 h 448443"/>
                <a:gd name="connsiteX61" fmla="*/ 240169 w 605733"/>
                <a:gd name="connsiteY61" fmla="*/ 163641 h 448443"/>
                <a:gd name="connsiteX62" fmla="*/ 232729 w 605733"/>
                <a:gd name="connsiteY62" fmla="*/ 160497 h 448443"/>
                <a:gd name="connsiteX63" fmla="*/ 229690 w 605733"/>
                <a:gd name="connsiteY63" fmla="*/ 153162 h 448443"/>
                <a:gd name="connsiteX64" fmla="*/ 232729 w 605733"/>
                <a:gd name="connsiteY64" fmla="*/ 145722 h 448443"/>
                <a:gd name="connsiteX65" fmla="*/ 240169 w 605733"/>
                <a:gd name="connsiteY65" fmla="*/ 142683 h 448443"/>
                <a:gd name="connsiteX66" fmla="*/ 214131 w 605733"/>
                <a:gd name="connsiteY66" fmla="*/ 142683 h 448443"/>
                <a:gd name="connsiteX67" fmla="*/ 221571 w 605733"/>
                <a:gd name="connsiteY67" fmla="*/ 145722 h 448443"/>
                <a:gd name="connsiteX68" fmla="*/ 224610 w 605733"/>
                <a:gd name="connsiteY68" fmla="*/ 153162 h 448443"/>
                <a:gd name="connsiteX69" fmla="*/ 221571 w 605733"/>
                <a:gd name="connsiteY69" fmla="*/ 160497 h 448443"/>
                <a:gd name="connsiteX70" fmla="*/ 214131 w 605733"/>
                <a:gd name="connsiteY70" fmla="*/ 163641 h 448443"/>
                <a:gd name="connsiteX71" fmla="*/ 206796 w 605733"/>
                <a:gd name="connsiteY71" fmla="*/ 160497 h 448443"/>
                <a:gd name="connsiteX72" fmla="*/ 203652 w 605733"/>
                <a:gd name="connsiteY72" fmla="*/ 153162 h 448443"/>
                <a:gd name="connsiteX73" fmla="*/ 206796 w 605733"/>
                <a:gd name="connsiteY73" fmla="*/ 145722 h 448443"/>
                <a:gd name="connsiteX74" fmla="*/ 214131 w 605733"/>
                <a:gd name="connsiteY74" fmla="*/ 142683 h 448443"/>
                <a:gd name="connsiteX75" fmla="*/ 188233 w 605733"/>
                <a:gd name="connsiteY75" fmla="*/ 142683 h 448443"/>
                <a:gd name="connsiteX76" fmla="*/ 195568 w 605733"/>
                <a:gd name="connsiteY76" fmla="*/ 145722 h 448443"/>
                <a:gd name="connsiteX77" fmla="*/ 198712 w 605733"/>
                <a:gd name="connsiteY77" fmla="*/ 153162 h 448443"/>
                <a:gd name="connsiteX78" fmla="*/ 195568 w 605733"/>
                <a:gd name="connsiteY78" fmla="*/ 160497 h 448443"/>
                <a:gd name="connsiteX79" fmla="*/ 188233 w 605733"/>
                <a:gd name="connsiteY79" fmla="*/ 163641 h 448443"/>
                <a:gd name="connsiteX80" fmla="*/ 180793 w 605733"/>
                <a:gd name="connsiteY80" fmla="*/ 160497 h 448443"/>
                <a:gd name="connsiteX81" fmla="*/ 177754 w 605733"/>
                <a:gd name="connsiteY81" fmla="*/ 153162 h 448443"/>
                <a:gd name="connsiteX82" fmla="*/ 180793 w 605733"/>
                <a:gd name="connsiteY82" fmla="*/ 145722 h 448443"/>
                <a:gd name="connsiteX83" fmla="*/ 188233 w 605733"/>
                <a:gd name="connsiteY83" fmla="*/ 142683 h 448443"/>
                <a:gd name="connsiteX84" fmla="*/ 50785 w 605733"/>
                <a:gd name="connsiteY84" fmla="*/ 142048 h 448443"/>
                <a:gd name="connsiteX85" fmla="*/ 117937 w 605733"/>
                <a:gd name="connsiteY85" fmla="*/ 142048 h 448443"/>
                <a:gd name="connsiteX86" fmla="*/ 128429 w 605733"/>
                <a:gd name="connsiteY86" fmla="*/ 152527 h 448443"/>
                <a:gd name="connsiteX87" fmla="*/ 117937 w 605733"/>
                <a:gd name="connsiteY87" fmla="*/ 163006 h 448443"/>
                <a:gd name="connsiteX88" fmla="*/ 50785 w 605733"/>
                <a:gd name="connsiteY88" fmla="*/ 163006 h 448443"/>
                <a:gd name="connsiteX89" fmla="*/ 40293 w 605733"/>
                <a:gd name="connsiteY89" fmla="*/ 152527 h 448443"/>
                <a:gd name="connsiteX90" fmla="*/ 50785 w 605733"/>
                <a:gd name="connsiteY90" fmla="*/ 142048 h 448443"/>
                <a:gd name="connsiteX91" fmla="*/ 166516 w 605733"/>
                <a:gd name="connsiteY91" fmla="*/ 132647 h 448443"/>
                <a:gd name="connsiteX92" fmla="*/ 166516 w 605733"/>
                <a:gd name="connsiteY92" fmla="*/ 173614 h 448443"/>
                <a:gd name="connsiteX93" fmla="*/ 584748 w 605733"/>
                <a:gd name="connsiteY93" fmla="*/ 173614 h 448443"/>
                <a:gd name="connsiteX94" fmla="*/ 584748 w 605733"/>
                <a:gd name="connsiteY94" fmla="*/ 132647 h 448443"/>
                <a:gd name="connsiteX95" fmla="*/ 50785 w 605733"/>
                <a:gd name="connsiteY95" fmla="*/ 104366 h 448443"/>
                <a:gd name="connsiteX96" fmla="*/ 117937 w 605733"/>
                <a:gd name="connsiteY96" fmla="*/ 104366 h 448443"/>
                <a:gd name="connsiteX97" fmla="*/ 128429 w 605733"/>
                <a:gd name="connsiteY97" fmla="*/ 114845 h 448443"/>
                <a:gd name="connsiteX98" fmla="*/ 117937 w 605733"/>
                <a:gd name="connsiteY98" fmla="*/ 125324 h 448443"/>
                <a:gd name="connsiteX99" fmla="*/ 50785 w 605733"/>
                <a:gd name="connsiteY99" fmla="*/ 125324 h 448443"/>
                <a:gd name="connsiteX100" fmla="*/ 40293 w 605733"/>
                <a:gd name="connsiteY100" fmla="*/ 114845 h 448443"/>
                <a:gd name="connsiteX101" fmla="*/ 50785 w 605733"/>
                <a:gd name="connsiteY101" fmla="*/ 104366 h 448443"/>
                <a:gd name="connsiteX102" fmla="*/ 20985 w 605733"/>
                <a:gd name="connsiteY102" fmla="*/ 82773 h 448443"/>
                <a:gd name="connsiteX103" fmla="*/ 20985 w 605733"/>
                <a:gd name="connsiteY103" fmla="*/ 315691 h 448443"/>
                <a:gd name="connsiteX104" fmla="*/ 145531 w 605733"/>
                <a:gd name="connsiteY104" fmla="*/ 315691 h 448443"/>
                <a:gd name="connsiteX105" fmla="*/ 145531 w 605733"/>
                <a:gd name="connsiteY105" fmla="*/ 122169 h 448443"/>
                <a:gd name="connsiteX106" fmla="*/ 156024 w 605733"/>
                <a:gd name="connsiteY106" fmla="*/ 111692 h 448443"/>
                <a:gd name="connsiteX107" fmla="*/ 439322 w 605733"/>
                <a:gd name="connsiteY107" fmla="*/ 111692 h 448443"/>
                <a:gd name="connsiteX108" fmla="*/ 439322 w 605733"/>
                <a:gd name="connsiteY108" fmla="*/ 82773 h 448443"/>
                <a:gd name="connsiteX109" fmla="*/ 94663 w 605733"/>
                <a:gd name="connsiteY109" fmla="*/ 30908 h 448443"/>
                <a:gd name="connsiteX110" fmla="*/ 102103 w 605733"/>
                <a:gd name="connsiteY110" fmla="*/ 33947 h 448443"/>
                <a:gd name="connsiteX111" fmla="*/ 105142 w 605733"/>
                <a:gd name="connsiteY111" fmla="*/ 41387 h 448443"/>
                <a:gd name="connsiteX112" fmla="*/ 102103 w 605733"/>
                <a:gd name="connsiteY112" fmla="*/ 48827 h 448443"/>
                <a:gd name="connsiteX113" fmla="*/ 94663 w 605733"/>
                <a:gd name="connsiteY113" fmla="*/ 51866 h 448443"/>
                <a:gd name="connsiteX114" fmla="*/ 87223 w 605733"/>
                <a:gd name="connsiteY114" fmla="*/ 48827 h 448443"/>
                <a:gd name="connsiteX115" fmla="*/ 84184 w 605733"/>
                <a:gd name="connsiteY115" fmla="*/ 41387 h 448443"/>
                <a:gd name="connsiteX116" fmla="*/ 87223 w 605733"/>
                <a:gd name="connsiteY116" fmla="*/ 33947 h 448443"/>
                <a:gd name="connsiteX117" fmla="*/ 94663 w 605733"/>
                <a:gd name="connsiteY117" fmla="*/ 30908 h 448443"/>
                <a:gd name="connsiteX118" fmla="*/ 68730 w 605733"/>
                <a:gd name="connsiteY118" fmla="*/ 30908 h 448443"/>
                <a:gd name="connsiteX119" fmla="*/ 76090 w 605733"/>
                <a:gd name="connsiteY119" fmla="*/ 33947 h 448443"/>
                <a:gd name="connsiteX120" fmla="*/ 79244 w 605733"/>
                <a:gd name="connsiteY120" fmla="*/ 41387 h 448443"/>
                <a:gd name="connsiteX121" fmla="*/ 76090 w 605733"/>
                <a:gd name="connsiteY121" fmla="*/ 48827 h 448443"/>
                <a:gd name="connsiteX122" fmla="*/ 68730 w 605733"/>
                <a:gd name="connsiteY122" fmla="*/ 51866 h 448443"/>
                <a:gd name="connsiteX123" fmla="*/ 61265 w 605733"/>
                <a:gd name="connsiteY123" fmla="*/ 48827 h 448443"/>
                <a:gd name="connsiteX124" fmla="*/ 58216 w 605733"/>
                <a:gd name="connsiteY124" fmla="*/ 41387 h 448443"/>
                <a:gd name="connsiteX125" fmla="*/ 61265 w 605733"/>
                <a:gd name="connsiteY125" fmla="*/ 33947 h 448443"/>
                <a:gd name="connsiteX126" fmla="*/ 68730 w 605733"/>
                <a:gd name="connsiteY126" fmla="*/ 30908 h 448443"/>
                <a:gd name="connsiteX127" fmla="*/ 42692 w 605733"/>
                <a:gd name="connsiteY127" fmla="*/ 30908 h 448443"/>
                <a:gd name="connsiteX128" fmla="*/ 50157 w 605733"/>
                <a:gd name="connsiteY128" fmla="*/ 33947 h 448443"/>
                <a:gd name="connsiteX129" fmla="*/ 53206 w 605733"/>
                <a:gd name="connsiteY129" fmla="*/ 41387 h 448443"/>
                <a:gd name="connsiteX130" fmla="*/ 50157 w 605733"/>
                <a:gd name="connsiteY130" fmla="*/ 48827 h 448443"/>
                <a:gd name="connsiteX131" fmla="*/ 42692 w 605733"/>
                <a:gd name="connsiteY131" fmla="*/ 51866 h 448443"/>
                <a:gd name="connsiteX132" fmla="*/ 35227 w 605733"/>
                <a:gd name="connsiteY132" fmla="*/ 48827 h 448443"/>
                <a:gd name="connsiteX133" fmla="*/ 32178 w 605733"/>
                <a:gd name="connsiteY133" fmla="*/ 41387 h 448443"/>
                <a:gd name="connsiteX134" fmla="*/ 35227 w 605733"/>
                <a:gd name="connsiteY134" fmla="*/ 33947 h 448443"/>
                <a:gd name="connsiteX135" fmla="*/ 42692 w 605733"/>
                <a:gd name="connsiteY135" fmla="*/ 30908 h 448443"/>
                <a:gd name="connsiteX136" fmla="*/ 20985 w 605733"/>
                <a:gd name="connsiteY136" fmla="*/ 20955 h 448443"/>
                <a:gd name="connsiteX137" fmla="*/ 20985 w 605733"/>
                <a:gd name="connsiteY137" fmla="*/ 61818 h 448443"/>
                <a:gd name="connsiteX138" fmla="*/ 439322 w 605733"/>
                <a:gd name="connsiteY138" fmla="*/ 61818 h 448443"/>
                <a:gd name="connsiteX139" fmla="*/ 439322 w 605733"/>
                <a:gd name="connsiteY139" fmla="*/ 20955 h 448443"/>
                <a:gd name="connsiteX140" fmla="*/ 10492 w 605733"/>
                <a:gd name="connsiteY140" fmla="*/ 0 h 448443"/>
                <a:gd name="connsiteX141" fmla="*/ 449814 w 605733"/>
                <a:gd name="connsiteY141" fmla="*/ 0 h 448443"/>
                <a:gd name="connsiteX142" fmla="*/ 460307 w 605733"/>
                <a:gd name="connsiteY142" fmla="*/ 10478 h 448443"/>
                <a:gd name="connsiteX143" fmla="*/ 460307 w 605733"/>
                <a:gd name="connsiteY143" fmla="*/ 111692 h 448443"/>
                <a:gd name="connsiteX144" fmla="*/ 595241 w 605733"/>
                <a:gd name="connsiteY144" fmla="*/ 111692 h 448443"/>
                <a:gd name="connsiteX145" fmla="*/ 605733 w 605733"/>
                <a:gd name="connsiteY145" fmla="*/ 122169 h 448443"/>
                <a:gd name="connsiteX146" fmla="*/ 605733 w 605733"/>
                <a:gd name="connsiteY146" fmla="*/ 437965 h 448443"/>
                <a:gd name="connsiteX147" fmla="*/ 595241 w 605733"/>
                <a:gd name="connsiteY147" fmla="*/ 448443 h 448443"/>
                <a:gd name="connsiteX148" fmla="*/ 156024 w 605733"/>
                <a:gd name="connsiteY148" fmla="*/ 448443 h 448443"/>
                <a:gd name="connsiteX149" fmla="*/ 145531 w 605733"/>
                <a:gd name="connsiteY149" fmla="*/ 437965 h 448443"/>
                <a:gd name="connsiteX150" fmla="*/ 145531 w 605733"/>
                <a:gd name="connsiteY150" fmla="*/ 336647 h 448443"/>
                <a:gd name="connsiteX151" fmla="*/ 10492 w 605733"/>
                <a:gd name="connsiteY151" fmla="*/ 336647 h 448443"/>
                <a:gd name="connsiteX152" fmla="*/ 0 w 605733"/>
                <a:gd name="connsiteY152" fmla="*/ 326169 h 448443"/>
                <a:gd name="connsiteX153" fmla="*/ 0 w 605733"/>
                <a:gd name="connsiteY153" fmla="*/ 10478 h 448443"/>
                <a:gd name="connsiteX154" fmla="*/ 10492 w 605733"/>
                <a:gd name="connsiteY154" fmla="*/ 0 h 44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05733" h="448443">
                  <a:moveTo>
                    <a:pt x="341726" y="291506"/>
                  </a:moveTo>
                  <a:lnTo>
                    <a:pt x="499414" y="291506"/>
                  </a:lnTo>
                  <a:cubicBezTo>
                    <a:pt x="505184" y="291506"/>
                    <a:pt x="509905" y="296222"/>
                    <a:pt x="509905" y="301985"/>
                  </a:cubicBezTo>
                  <a:cubicBezTo>
                    <a:pt x="509905" y="307853"/>
                    <a:pt x="505184" y="312464"/>
                    <a:pt x="499414" y="312464"/>
                  </a:cubicBezTo>
                  <a:lnTo>
                    <a:pt x="341726" y="312464"/>
                  </a:lnTo>
                  <a:cubicBezTo>
                    <a:pt x="335955" y="312464"/>
                    <a:pt x="331234" y="307853"/>
                    <a:pt x="331234" y="301985"/>
                  </a:cubicBezTo>
                  <a:cubicBezTo>
                    <a:pt x="331234" y="296222"/>
                    <a:pt x="335955" y="291506"/>
                    <a:pt x="341726" y="291506"/>
                  </a:cubicBezTo>
                  <a:close/>
                  <a:moveTo>
                    <a:pt x="196291" y="291506"/>
                  </a:moveTo>
                  <a:lnTo>
                    <a:pt x="263443" y="291506"/>
                  </a:lnTo>
                  <a:cubicBezTo>
                    <a:pt x="269213" y="291506"/>
                    <a:pt x="273935" y="296222"/>
                    <a:pt x="273935" y="301985"/>
                  </a:cubicBezTo>
                  <a:cubicBezTo>
                    <a:pt x="273935" y="307853"/>
                    <a:pt x="269213" y="312464"/>
                    <a:pt x="263443" y="312464"/>
                  </a:cubicBezTo>
                  <a:lnTo>
                    <a:pt x="196291" y="312464"/>
                  </a:lnTo>
                  <a:cubicBezTo>
                    <a:pt x="190521" y="312464"/>
                    <a:pt x="185799" y="307853"/>
                    <a:pt x="185799" y="301985"/>
                  </a:cubicBezTo>
                  <a:cubicBezTo>
                    <a:pt x="185799" y="296222"/>
                    <a:pt x="190521" y="291506"/>
                    <a:pt x="196291" y="291506"/>
                  </a:cubicBezTo>
                  <a:close/>
                  <a:moveTo>
                    <a:pt x="341726" y="253753"/>
                  </a:moveTo>
                  <a:lnTo>
                    <a:pt x="499414" y="253753"/>
                  </a:lnTo>
                  <a:cubicBezTo>
                    <a:pt x="505184" y="253753"/>
                    <a:pt x="509905" y="258469"/>
                    <a:pt x="509905" y="264232"/>
                  </a:cubicBezTo>
                  <a:cubicBezTo>
                    <a:pt x="509905" y="270100"/>
                    <a:pt x="505184" y="274711"/>
                    <a:pt x="499414" y="274711"/>
                  </a:cubicBezTo>
                  <a:lnTo>
                    <a:pt x="341726" y="274711"/>
                  </a:lnTo>
                  <a:cubicBezTo>
                    <a:pt x="335955" y="274711"/>
                    <a:pt x="331234" y="270100"/>
                    <a:pt x="331234" y="264232"/>
                  </a:cubicBezTo>
                  <a:cubicBezTo>
                    <a:pt x="331234" y="258469"/>
                    <a:pt x="335955" y="253753"/>
                    <a:pt x="341726" y="253753"/>
                  </a:cubicBezTo>
                  <a:close/>
                  <a:moveTo>
                    <a:pt x="196291" y="253753"/>
                  </a:moveTo>
                  <a:lnTo>
                    <a:pt x="263443" y="253753"/>
                  </a:lnTo>
                  <a:cubicBezTo>
                    <a:pt x="269213" y="253753"/>
                    <a:pt x="273935" y="258469"/>
                    <a:pt x="273935" y="264232"/>
                  </a:cubicBezTo>
                  <a:cubicBezTo>
                    <a:pt x="273935" y="270100"/>
                    <a:pt x="269213" y="274711"/>
                    <a:pt x="263443" y="274711"/>
                  </a:cubicBezTo>
                  <a:lnTo>
                    <a:pt x="196291" y="274711"/>
                  </a:lnTo>
                  <a:cubicBezTo>
                    <a:pt x="190521" y="274711"/>
                    <a:pt x="185799" y="270100"/>
                    <a:pt x="185799" y="264232"/>
                  </a:cubicBezTo>
                  <a:cubicBezTo>
                    <a:pt x="185799" y="258469"/>
                    <a:pt x="190521" y="253753"/>
                    <a:pt x="196291" y="253753"/>
                  </a:cubicBezTo>
                  <a:close/>
                  <a:moveTo>
                    <a:pt x="341726" y="216071"/>
                  </a:moveTo>
                  <a:lnTo>
                    <a:pt x="499414" y="216071"/>
                  </a:lnTo>
                  <a:cubicBezTo>
                    <a:pt x="505184" y="216071"/>
                    <a:pt x="509905" y="220787"/>
                    <a:pt x="509905" y="226550"/>
                  </a:cubicBezTo>
                  <a:cubicBezTo>
                    <a:pt x="509905" y="232418"/>
                    <a:pt x="505184" y="237029"/>
                    <a:pt x="499414" y="237029"/>
                  </a:cubicBezTo>
                  <a:lnTo>
                    <a:pt x="341726" y="237029"/>
                  </a:lnTo>
                  <a:cubicBezTo>
                    <a:pt x="335955" y="237029"/>
                    <a:pt x="331234" y="232418"/>
                    <a:pt x="331234" y="226550"/>
                  </a:cubicBezTo>
                  <a:cubicBezTo>
                    <a:pt x="331234" y="220787"/>
                    <a:pt x="335955" y="216071"/>
                    <a:pt x="341726" y="216071"/>
                  </a:cubicBezTo>
                  <a:close/>
                  <a:moveTo>
                    <a:pt x="196291" y="216071"/>
                  </a:moveTo>
                  <a:lnTo>
                    <a:pt x="263443" y="216071"/>
                  </a:lnTo>
                  <a:cubicBezTo>
                    <a:pt x="269213" y="216071"/>
                    <a:pt x="273935" y="220787"/>
                    <a:pt x="273935" y="226550"/>
                  </a:cubicBezTo>
                  <a:cubicBezTo>
                    <a:pt x="273935" y="232418"/>
                    <a:pt x="269213" y="237029"/>
                    <a:pt x="263443" y="237029"/>
                  </a:cubicBezTo>
                  <a:lnTo>
                    <a:pt x="196291" y="237029"/>
                  </a:lnTo>
                  <a:cubicBezTo>
                    <a:pt x="190521" y="237029"/>
                    <a:pt x="185799" y="232418"/>
                    <a:pt x="185799" y="226550"/>
                  </a:cubicBezTo>
                  <a:cubicBezTo>
                    <a:pt x="185799" y="220787"/>
                    <a:pt x="190521" y="216071"/>
                    <a:pt x="196291" y="216071"/>
                  </a:cubicBezTo>
                  <a:close/>
                  <a:moveTo>
                    <a:pt x="314251" y="194570"/>
                  </a:moveTo>
                  <a:lnTo>
                    <a:pt x="314251" y="427488"/>
                  </a:lnTo>
                  <a:lnTo>
                    <a:pt x="584748" y="427488"/>
                  </a:lnTo>
                  <a:lnTo>
                    <a:pt x="584748" y="194570"/>
                  </a:lnTo>
                  <a:close/>
                  <a:moveTo>
                    <a:pt x="166516" y="194570"/>
                  </a:moveTo>
                  <a:lnTo>
                    <a:pt x="166516" y="427488"/>
                  </a:lnTo>
                  <a:lnTo>
                    <a:pt x="293266" y="427488"/>
                  </a:lnTo>
                  <a:lnTo>
                    <a:pt x="293266" y="194570"/>
                  </a:lnTo>
                  <a:close/>
                  <a:moveTo>
                    <a:pt x="50785" y="179801"/>
                  </a:moveTo>
                  <a:lnTo>
                    <a:pt x="117937" y="179801"/>
                  </a:lnTo>
                  <a:cubicBezTo>
                    <a:pt x="123707" y="179801"/>
                    <a:pt x="128429" y="184412"/>
                    <a:pt x="128429" y="190280"/>
                  </a:cubicBezTo>
                  <a:cubicBezTo>
                    <a:pt x="128429" y="196043"/>
                    <a:pt x="123707" y="200759"/>
                    <a:pt x="117937" y="200759"/>
                  </a:cubicBezTo>
                  <a:lnTo>
                    <a:pt x="50785" y="200759"/>
                  </a:lnTo>
                  <a:cubicBezTo>
                    <a:pt x="45015" y="200759"/>
                    <a:pt x="40293" y="196043"/>
                    <a:pt x="40293" y="190280"/>
                  </a:cubicBezTo>
                  <a:cubicBezTo>
                    <a:pt x="40293" y="184412"/>
                    <a:pt x="45015" y="179801"/>
                    <a:pt x="50785" y="179801"/>
                  </a:cubicBezTo>
                  <a:close/>
                  <a:moveTo>
                    <a:pt x="240169" y="142683"/>
                  </a:moveTo>
                  <a:cubicBezTo>
                    <a:pt x="242894" y="142683"/>
                    <a:pt x="245618" y="143731"/>
                    <a:pt x="247609" y="145722"/>
                  </a:cubicBezTo>
                  <a:cubicBezTo>
                    <a:pt x="249495" y="147608"/>
                    <a:pt x="250648" y="150333"/>
                    <a:pt x="250648" y="153162"/>
                  </a:cubicBezTo>
                  <a:cubicBezTo>
                    <a:pt x="250648" y="155887"/>
                    <a:pt x="249495" y="158611"/>
                    <a:pt x="247609" y="160497"/>
                  </a:cubicBezTo>
                  <a:cubicBezTo>
                    <a:pt x="245618" y="162488"/>
                    <a:pt x="242894" y="163641"/>
                    <a:pt x="240169" y="163641"/>
                  </a:cubicBezTo>
                  <a:cubicBezTo>
                    <a:pt x="237445" y="163641"/>
                    <a:pt x="234720" y="162488"/>
                    <a:pt x="232729" y="160497"/>
                  </a:cubicBezTo>
                  <a:cubicBezTo>
                    <a:pt x="230843" y="158611"/>
                    <a:pt x="229690" y="155887"/>
                    <a:pt x="229690" y="153162"/>
                  </a:cubicBezTo>
                  <a:cubicBezTo>
                    <a:pt x="229690" y="150333"/>
                    <a:pt x="230843" y="147608"/>
                    <a:pt x="232729" y="145722"/>
                  </a:cubicBezTo>
                  <a:cubicBezTo>
                    <a:pt x="234720" y="143731"/>
                    <a:pt x="237445" y="142683"/>
                    <a:pt x="240169" y="142683"/>
                  </a:cubicBezTo>
                  <a:close/>
                  <a:moveTo>
                    <a:pt x="214131" y="142683"/>
                  </a:moveTo>
                  <a:cubicBezTo>
                    <a:pt x="216960" y="142683"/>
                    <a:pt x="219580" y="143731"/>
                    <a:pt x="221571" y="145722"/>
                  </a:cubicBezTo>
                  <a:cubicBezTo>
                    <a:pt x="223562" y="147608"/>
                    <a:pt x="224610" y="150333"/>
                    <a:pt x="224610" y="153162"/>
                  </a:cubicBezTo>
                  <a:cubicBezTo>
                    <a:pt x="224610" y="155887"/>
                    <a:pt x="223562" y="158611"/>
                    <a:pt x="221571" y="160497"/>
                  </a:cubicBezTo>
                  <a:cubicBezTo>
                    <a:pt x="219580" y="162488"/>
                    <a:pt x="216960" y="163641"/>
                    <a:pt x="214131" y="163641"/>
                  </a:cubicBezTo>
                  <a:cubicBezTo>
                    <a:pt x="211407" y="163641"/>
                    <a:pt x="208682" y="162488"/>
                    <a:pt x="206796" y="160497"/>
                  </a:cubicBezTo>
                  <a:cubicBezTo>
                    <a:pt x="204805" y="158611"/>
                    <a:pt x="203652" y="155887"/>
                    <a:pt x="203652" y="153162"/>
                  </a:cubicBezTo>
                  <a:cubicBezTo>
                    <a:pt x="203652" y="150333"/>
                    <a:pt x="204805" y="147608"/>
                    <a:pt x="206796" y="145722"/>
                  </a:cubicBezTo>
                  <a:cubicBezTo>
                    <a:pt x="208682" y="143731"/>
                    <a:pt x="211407" y="142683"/>
                    <a:pt x="214131" y="142683"/>
                  </a:cubicBezTo>
                  <a:close/>
                  <a:moveTo>
                    <a:pt x="188233" y="142683"/>
                  </a:moveTo>
                  <a:cubicBezTo>
                    <a:pt x="190958" y="142683"/>
                    <a:pt x="193682" y="143731"/>
                    <a:pt x="195568" y="145722"/>
                  </a:cubicBezTo>
                  <a:cubicBezTo>
                    <a:pt x="197559" y="147608"/>
                    <a:pt x="198712" y="150333"/>
                    <a:pt x="198712" y="153162"/>
                  </a:cubicBezTo>
                  <a:cubicBezTo>
                    <a:pt x="198712" y="155887"/>
                    <a:pt x="197559" y="158611"/>
                    <a:pt x="195568" y="160497"/>
                  </a:cubicBezTo>
                  <a:cubicBezTo>
                    <a:pt x="193682" y="162488"/>
                    <a:pt x="190958" y="163641"/>
                    <a:pt x="188233" y="163641"/>
                  </a:cubicBezTo>
                  <a:cubicBezTo>
                    <a:pt x="185404" y="163641"/>
                    <a:pt x="182784" y="162488"/>
                    <a:pt x="180793" y="160497"/>
                  </a:cubicBezTo>
                  <a:cubicBezTo>
                    <a:pt x="178802" y="158611"/>
                    <a:pt x="177754" y="155887"/>
                    <a:pt x="177754" y="153162"/>
                  </a:cubicBezTo>
                  <a:cubicBezTo>
                    <a:pt x="177754" y="150333"/>
                    <a:pt x="178802" y="147608"/>
                    <a:pt x="180793" y="145722"/>
                  </a:cubicBezTo>
                  <a:cubicBezTo>
                    <a:pt x="182679" y="143731"/>
                    <a:pt x="185404" y="142683"/>
                    <a:pt x="188233" y="142683"/>
                  </a:cubicBezTo>
                  <a:close/>
                  <a:moveTo>
                    <a:pt x="50785" y="142048"/>
                  </a:moveTo>
                  <a:lnTo>
                    <a:pt x="117937" y="142048"/>
                  </a:lnTo>
                  <a:cubicBezTo>
                    <a:pt x="123707" y="142048"/>
                    <a:pt x="128429" y="146659"/>
                    <a:pt x="128429" y="152527"/>
                  </a:cubicBezTo>
                  <a:cubicBezTo>
                    <a:pt x="128429" y="158290"/>
                    <a:pt x="123707" y="163006"/>
                    <a:pt x="117937" y="163006"/>
                  </a:cubicBezTo>
                  <a:lnTo>
                    <a:pt x="50785" y="163006"/>
                  </a:lnTo>
                  <a:cubicBezTo>
                    <a:pt x="45015" y="163006"/>
                    <a:pt x="40293" y="158290"/>
                    <a:pt x="40293" y="152527"/>
                  </a:cubicBezTo>
                  <a:cubicBezTo>
                    <a:pt x="40293" y="146659"/>
                    <a:pt x="45015" y="142048"/>
                    <a:pt x="50785" y="142048"/>
                  </a:cubicBezTo>
                  <a:close/>
                  <a:moveTo>
                    <a:pt x="166516" y="132647"/>
                  </a:moveTo>
                  <a:lnTo>
                    <a:pt x="166516" y="173614"/>
                  </a:lnTo>
                  <a:lnTo>
                    <a:pt x="584748" y="173614"/>
                  </a:lnTo>
                  <a:lnTo>
                    <a:pt x="584748" y="132647"/>
                  </a:lnTo>
                  <a:close/>
                  <a:moveTo>
                    <a:pt x="50785" y="104366"/>
                  </a:moveTo>
                  <a:lnTo>
                    <a:pt x="117937" y="104366"/>
                  </a:lnTo>
                  <a:cubicBezTo>
                    <a:pt x="123707" y="104366"/>
                    <a:pt x="128429" y="108977"/>
                    <a:pt x="128429" y="114845"/>
                  </a:cubicBezTo>
                  <a:cubicBezTo>
                    <a:pt x="128429" y="120608"/>
                    <a:pt x="123707" y="125324"/>
                    <a:pt x="117937" y="125324"/>
                  </a:cubicBezTo>
                  <a:lnTo>
                    <a:pt x="50785" y="125324"/>
                  </a:lnTo>
                  <a:cubicBezTo>
                    <a:pt x="45015" y="125324"/>
                    <a:pt x="40293" y="120608"/>
                    <a:pt x="40293" y="114845"/>
                  </a:cubicBezTo>
                  <a:cubicBezTo>
                    <a:pt x="40293" y="108977"/>
                    <a:pt x="45015" y="104366"/>
                    <a:pt x="50785" y="104366"/>
                  </a:cubicBezTo>
                  <a:close/>
                  <a:moveTo>
                    <a:pt x="20985" y="82773"/>
                  </a:moveTo>
                  <a:lnTo>
                    <a:pt x="20985" y="315691"/>
                  </a:lnTo>
                  <a:lnTo>
                    <a:pt x="145531" y="315691"/>
                  </a:lnTo>
                  <a:lnTo>
                    <a:pt x="145531" y="122169"/>
                  </a:lnTo>
                  <a:cubicBezTo>
                    <a:pt x="145531" y="116407"/>
                    <a:pt x="150148" y="111692"/>
                    <a:pt x="156024" y="111692"/>
                  </a:cubicBezTo>
                  <a:lnTo>
                    <a:pt x="439322" y="111692"/>
                  </a:lnTo>
                  <a:lnTo>
                    <a:pt x="439322" y="82773"/>
                  </a:lnTo>
                  <a:close/>
                  <a:moveTo>
                    <a:pt x="94663" y="30908"/>
                  </a:moveTo>
                  <a:cubicBezTo>
                    <a:pt x="97492" y="30908"/>
                    <a:pt x="100112" y="32061"/>
                    <a:pt x="102103" y="33947"/>
                  </a:cubicBezTo>
                  <a:cubicBezTo>
                    <a:pt x="104094" y="35938"/>
                    <a:pt x="105142" y="38662"/>
                    <a:pt x="105142" y="41387"/>
                  </a:cubicBezTo>
                  <a:cubicBezTo>
                    <a:pt x="105142" y="44112"/>
                    <a:pt x="104094" y="46836"/>
                    <a:pt x="102103" y="48827"/>
                  </a:cubicBezTo>
                  <a:cubicBezTo>
                    <a:pt x="100112" y="50713"/>
                    <a:pt x="97492" y="51866"/>
                    <a:pt x="94663" y="51866"/>
                  </a:cubicBezTo>
                  <a:cubicBezTo>
                    <a:pt x="91939" y="51866"/>
                    <a:pt x="89214" y="50713"/>
                    <a:pt x="87223" y="48827"/>
                  </a:cubicBezTo>
                  <a:cubicBezTo>
                    <a:pt x="85337" y="46836"/>
                    <a:pt x="84184" y="44112"/>
                    <a:pt x="84184" y="41387"/>
                  </a:cubicBezTo>
                  <a:cubicBezTo>
                    <a:pt x="84184" y="38662"/>
                    <a:pt x="85337" y="35938"/>
                    <a:pt x="87223" y="33947"/>
                  </a:cubicBezTo>
                  <a:cubicBezTo>
                    <a:pt x="89214" y="32061"/>
                    <a:pt x="91939" y="30908"/>
                    <a:pt x="94663" y="30908"/>
                  </a:cubicBezTo>
                  <a:close/>
                  <a:moveTo>
                    <a:pt x="68730" y="30908"/>
                  </a:moveTo>
                  <a:cubicBezTo>
                    <a:pt x="71464" y="30908"/>
                    <a:pt x="74197" y="32061"/>
                    <a:pt x="76090" y="33947"/>
                  </a:cubicBezTo>
                  <a:cubicBezTo>
                    <a:pt x="78088" y="35938"/>
                    <a:pt x="79244" y="38662"/>
                    <a:pt x="79244" y="41387"/>
                  </a:cubicBezTo>
                  <a:cubicBezTo>
                    <a:pt x="79244" y="44112"/>
                    <a:pt x="78088" y="46836"/>
                    <a:pt x="76090" y="48827"/>
                  </a:cubicBezTo>
                  <a:cubicBezTo>
                    <a:pt x="74197" y="50713"/>
                    <a:pt x="71464" y="51866"/>
                    <a:pt x="68730" y="51866"/>
                  </a:cubicBezTo>
                  <a:cubicBezTo>
                    <a:pt x="65891" y="51866"/>
                    <a:pt x="63263" y="50713"/>
                    <a:pt x="61265" y="48827"/>
                  </a:cubicBezTo>
                  <a:cubicBezTo>
                    <a:pt x="59267" y="46836"/>
                    <a:pt x="58216" y="44112"/>
                    <a:pt x="58216" y="41387"/>
                  </a:cubicBezTo>
                  <a:cubicBezTo>
                    <a:pt x="58216" y="38662"/>
                    <a:pt x="59267" y="35938"/>
                    <a:pt x="61265" y="33947"/>
                  </a:cubicBezTo>
                  <a:cubicBezTo>
                    <a:pt x="63263" y="32061"/>
                    <a:pt x="65891" y="30908"/>
                    <a:pt x="68730" y="30908"/>
                  </a:cubicBezTo>
                  <a:close/>
                  <a:moveTo>
                    <a:pt x="42692" y="30908"/>
                  </a:moveTo>
                  <a:cubicBezTo>
                    <a:pt x="45426" y="30908"/>
                    <a:pt x="48159" y="32061"/>
                    <a:pt x="50157" y="33947"/>
                  </a:cubicBezTo>
                  <a:cubicBezTo>
                    <a:pt x="52050" y="35938"/>
                    <a:pt x="53206" y="38662"/>
                    <a:pt x="53206" y="41387"/>
                  </a:cubicBezTo>
                  <a:cubicBezTo>
                    <a:pt x="53206" y="44112"/>
                    <a:pt x="52050" y="46836"/>
                    <a:pt x="50157" y="48827"/>
                  </a:cubicBezTo>
                  <a:cubicBezTo>
                    <a:pt x="48159" y="50713"/>
                    <a:pt x="45426" y="51866"/>
                    <a:pt x="42692" y="51866"/>
                  </a:cubicBezTo>
                  <a:cubicBezTo>
                    <a:pt x="39958" y="51866"/>
                    <a:pt x="37225" y="50713"/>
                    <a:pt x="35227" y="48827"/>
                  </a:cubicBezTo>
                  <a:cubicBezTo>
                    <a:pt x="33334" y="46836"/>
                    <a:pt x="32178" y="44112"/>
                    <a:pt x="32178" y="41387"/>
                  </a:cubicBezTo>
                  <a:cubicBezTo>
                    <a:pt x="32178" y="38662"/>
                    <a:pt x="33334" y="35938"/>
                    <a:pt x="35227" y="33947"/>
                  </a:cubicBezTo>
                  <a:cubicBezTo>
                    <a:pt x="37225" y="32061"/>
                    <a:pt x="39958" y="30908"/>
                    <a:pt x="42692" y="30908"/>
                  </a:cubicBezTo>
                  <a:close/>
                  <a:moveTo>
                    <a:pt x="20985" y="20955"/>
                  </a:moveTo>
                  <a:lnTo>
                    <a:pt x="20985" y="61818"/>
                  </a:lnTo>
                  <a:lnTo>
                    <a:pt x="439322" y="61818"/>
                  </a:lnTo>
                  <a:lnTo>
                    <a:pt x="439322" y="20955"/>
                  </a:lnTo>
                  <a:close/>
                  <a:moveTo>
                    <a:pt x="10492" y="0"/>
                  </a:moveTo>
                  <a:lnTo>
                    <a:pt x="449814" y="0"/>
                  </a:lnTo>
                  <a:cubicBezTo>
                    <a:pt x="455585" y="0"/>
                    <a:pt x="460307" y="4610"/>
                    <a:pt x="460307" y="10478"/>
                  </a:cubicBezTo>
                  <a:lnTo>
                    <a:pt x="460307" y="111692"/>
                  </a:lnTo>
                  <a:lnTo>
                    <a:pt x="595241" y="111692"/>
                  </a:lnTo>
                  <a:cubicBezTo>
                    <a:pt x="601116" y="111692"/>
                    <a:pt x="605733" y="116407"/>
                    <a:pt x="605733" y="122169"/>
                  </a:cubicBezTo>
                  <a:lnTo>
                    <a:pt x="605733" y="437965"/>
                  </a:lnTo>
                  <a:cubicBezTo>
                    <a:pt x="605733" y="443728"/>
                    <a:pt x="601116" y="448443"/>
                    <a:pt x="595241" y="448443"/>
                  </a:cubicBezTo>
                  <a:lnTo>
                    <a:pt x="156024" y="448443"/>
                  </a:lnTo>
                  <a:cubicBezTo>
                    <a:pt x="150148" y="448443"/>
                    <a:pt x="145531" y="443728"/>
                    <a:pt x="145531" y="437965"/>
                  </a:cubicBezTo>
                  <a:lnTo>
                    <a:pt x="145531" y="336647"/>
                  </a:lnTo>
                  <a:lnTo>
                    <a:pt x="10492" y="336647"/>
                  </a:lnTo>
                  <a:cubicBezTo>
                    <a:pt x="4722" y="336647"/>
                    <a:pt x="0" y="331932"/>
                    <a:pt x="0" y="326169"/>
                  </a:cubicBezTo>
                  <a:lnTo>
                    <a:pt x="0" y="10478"/>
                  </a:lnTo>
                  <a:cubicBezTo>
                    <a:pt x="0" y="4610"/>
                    <a:pt x="4722" y="0"/>
                    <a:pt x="10492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7" name="文本框 6"/>
            <p:cNvSpPr txBox="1"/>
            <p:nvPr/>
          </p:nvSpPr>
          <p:spPr>
            <a:xfrm>
              <a:off x="18375" y="15828"/>
              <a:ext cx="3007" cy="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3200"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知网期刊</a:t>
              </a:r>
              <a:endParaRPr lang="zh-CN" altLang="en-US" sz="3200"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1471295" y="5654040"/>
            <a:ext cx="4434205" cy="4431030"/>
            <a:chOff x="21727" y="1000"/>
            <a:chExt cx="3190" cy="3270"/>
          </a:xfrm>
        </p:grpSpPr>
        <p:sp>
          <p:nvSpPr>
            <p:cNvPr id="37" name="Oval 5"/>
            <p:cNvSpPr>
              <a:spLocks noChangeArrowheads="1"/>
            </p:cNvSpPr>
            <p:nvPr/>
          </p:nvSpPr>
          <p:spPr bwMode="auto">
            <a:xfrm>
              <a:off x="22023" y="1304"/>
              <a:ext cx="2599" cy="26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182843" tIns="91422" rIns="182843" bIns="91422" numCol="1" anchor="t" anchorCtr="0" compatLnSpc="1"/>
            <a:p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</a:t>
              </a:r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     </a:t>
              </a:r>
              <a:r>
                <a:rPr lang="zh-CN" altLang="en-US" sz="4000">
                  <a:solidFill>
                    <a:schemeClr val="bg1"/>
                  </a:solidFill>
                </a:rPr>
                <a:t>约</a:t>
              </a:r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3710000</a:t>
              </a:r>
              <a:endParaRPr lang="en-US" altLang="zh-CN" sz="4000">
                <a:solidFill>
                  <a:schemeClr val="bg1"/>
                </a:solidFill>
              </a:endParaRPr>
            </a:p>
          </p:txBody>
        </p:sp>
        <p:grpSp>
          <p:nvGrpSpPr>
            <p:cNvPr id="38" name="Group 145"/>
            <p:cNvGrpSpPr/>
            <p:nvPr/>
          </p:nvGrpSpPr>
          <p:grpSpPr>
            <a:xfrm rot="0">
              <a:off x="21727" y="1000"/>
              <a:ext cx="3190" cy="3271"/>
              <a:chOff x="6546413" y="2257147"/>
              <a:chExt cx="1868076" cy="1868076"/>
            </a:xfrm>
          </p:grpSpPr>
          <p:sp>
            <p:nvSpPr>
              <p:cNvPr id="53" name="Freeform 6"/>
              <p:cNvSpPr/>
              <p:nvPr/>
            </p:nvSpPr>
            <p:spPr bwMode="auto">
              <a:xfrm>
                <a:off x="7922196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4" name="Freeform 7"/>
              <p:cNvSpPr/>
              <p:nvPr/>
            </p:nvSpPr>
            <p:spPr bwMode="auto">
              <a:xfrm>
                <a:off x="7502428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5" name="Freeform 8"/>
              <p:cNvSpPr/>
              <p:nvPr/>
            </p:nvSpPr>
            <p:spPr bwMode="auto">
              <a:xfrm>
                <a:off x="8223286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6" name="Freeform 9"/>
              <p:cNvSpPr/>
              <p:nvPr/>
            </p:nvSpPr>
            <p:spPr bwMode="auto">
              <a:xfrm>
                <a:off x="8223286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7" name="Freeform 10"/>
              <p:cNvSpPr/>
              <p:nvPr/>
            </p:nvSpPr>
            <p:spPr bwMode="auto">
              <a:xfrm>
                <a:off x="7922196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8" name="Freeform 11"/>
              <p:cNvSpPr/>
              <p:nvPr/>
            </p:nvSpPr>
            <p:spPr bwMode="auto">
              <a:xfrm>
                <a:off x="7502428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9" name="Freeform 12"/>
              <p:cNvSpPr/>
              <p:nvPr/>
            </p:nvSpPr>
            <p:spPr bwMode="auto">
              <a:xfrm>
                <a:off x="7033212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60" name="Freeform 13"/>
              <p:cNvSpPr/>
              <p:nvPr/>
            </p:nvSpPr>
            <p:spPr bwMode="auto">
              <a:xfrm>
                <a:off x="6683771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61" name="Freeform 14"/>
              <p:cNvSpPr/>
              <p:nvPr/>
            </p:nvSpPr>
            <p:spPr bwMode="auto">
              <a:xfrm>
                <a:off x="6546413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62" name="Freeform 15"/>
              <p:cNvSpPr/>
              <p:nvPr/>
            </p:nvSpPr>
            <p:spPr bwMode="auto">
              <a:xfrm>
                <a:off x="6546413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63" name="Freeform 16"/>
              <p:cNvSpPr/>
              <p:nvPr/>
            </p:nvSpPr>
            <p:spPr bwMode="auto">
              <a:xfrm>
                <a:off x="6683771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64" name="Freeform 17"/>
              <p:cNvSpPr/>
              <p:nvPr/>
            </p:nvSpPr>
            <p:spPr bwMode="auto">
              <a:xfrm>
                <a:off x="7033212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</p:grpSp>
      </p:grpSp>
      <p:grpSp>
        <p:nvGrpSpPr>
          <p:cNvPr id="19" name="组合 18"/>
          <p:cNvGrpSpPr/>
          <p:nvPr/>
        </p:nvGrpSpPr>
        <p:grpSpPr>
          <a:xfrm>
            <a:off x="6584315" y="7403465"/>
            <a:ext cx="2625090" cy="2613025"/>
            <a:chOff x="26322" y="1000"/>
            <a:chExt cx="3190" cy="3271"/>
          </a:xfrm>
        </p:grpSpPr>
        <p:sp>
          <p:nvSpPr>
            <p:cNvPr id="39" name="Oval 5"/>
            <p:cNvSpPr>
              <a:spLocks noChangeArrowheads="1"/>
            </p:cNvSpPr>
            <p:nvPr/>
          </p:nvSpPr>
          <p:spPr bwMode="auto">
            <a:xfrm>
              <a:off x="26647" y="1312"/>
              <a:ext cx="2599" cy="266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182843" tIns="91422" rIns="182843" bIns="91422" numCol="1" anchor="t" anchorCtr="0" compatLnSpc="1"/>
            <a:p>
              <a:endParaRPr lang="en-US" altLang="id-ID"/>
            </a:p>
            <a:p>
              <a:endParaRPr lang="en-US" altLang="id-ID" sz="3200"/>
            </a:p>
            <a:p>
              <a:r>
                <a:rPr lang="zh-CN" altLang="en-US" sz="3200"/>
                <a:t>  </a:t>
              </a:r>
              <a:r>
                <a:rPr lang="zh-CN" altLang="en-US" sz="3200">
                  <a:solidFill>
                    <a:schemeClr val="bg1"/>
                  </a:solidFill>
                </a:rPr>
                <a:t> 约</a:t>
              </a:r>
              <a:endParaRPr lang="en-US" altLang="id-ID" sz="3200">
                <a:solidFill>
                  <a:schemeClr val="bg1"/>
                </a:solidFill>
              </a:endParaRPr>
            </a:p>
            <a:p>
              <a:r>
                <a:rPr lang="en-US" altLang="id-ID" sz="2800">
                  <a:solidFill>
                    <a:schemeClr val="bg1"/>
                  </a:solidFill>
                </a:rPr>
                <a:t>17700</a:t>
              </a:r>
              <a:endParaRPr lang="en-US" altLang="id-ID" sz="2800">
                <a:solidFill>
                  <a:schemeClr val="bg1"/>
                </a:solidFill>
              </a:endParaRPr>
            </a:p>
          </p:txBody>
        </p:sp>
        <p:grpSp>
          <p:nvGrpSpPr>
            <p:cNvPr id="40" name="Group 159"/>
            <p:cNvGrpSpPr/>
            <p:nvPr/>
          </p:nvGrpSpPr>
          <p:grpSpPr>
            <a:xfrm rot="0">
              <a:off x="26322" y="1000"/>
              <a:ext cx="3190" cy="3271"/>
              <a:chOff x="9237196" y="2257147"/>
              <a:chExt cx="1868076" cy="1868076"/>
            </a:xfrm>
          </p:grpSpPr>
          <p:sp>
            <p:nvSpPr>
              <p:cNvPr id="41" name="Freeform 6"/>
              <p:cNvSpPr/>
              <p:nvPr/>
            </p:nvSpPr>
            <p:spPr bwMode="auto">
              <a:xfrm>
                <a:off x="10612979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2" name="Freeform 7"/>
              <p:cNvSpPr/>
              <p:nvPr/>
            </p:nvSpPr>
            <p:spPr bwMode="auto">
              <a:xfrm>
                <a:off x="10193211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3" name="Freeform 8"/>
              <p:cNvSpPr/>
              <p:nvPr/>
            </p:nvSpPr>
            <p:spPr bwMode="auto">
              <a:xfrm>
                <a:off x="10914069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4" name="Freeform 9"/>
              <p:cNvSpPr/>
              <p:nvPr/>
            </p:nvSpPr>
            <p:spPr bwMode="auto">
              <a:xfrm>
                <a:off x="10914069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5" name="Freeform 10"/>
              <p:cNvSpPr/>
              <p:nvPr/>
            </p:nvSpPr>
            <p:spPr bwMode="auto">
              <a:xfrm>
                <a:off x="10612979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6" name="Freeform 11"/>
              <p:cNvSpPr/>
              <p:nvPr/>
            </p:nvSpPr>
            <p:spPr bwMode="auto">
              <a:xfrm>
                <a:off x="10193211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7" name="Freeform 12"/>
              <p:cNvSpPr/>
              <p:nvPr/>
            </p:nvSpPr>
            <p:spPr bwMode="auto">
              <a:xfrm>
                <a:off x="9723995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8" name="Freeform 13"/>
              <p:cNvSpPr/>
              <p:nvPr/>
            </p:nvSpPr>
            <p:spPr bwMode="auto">
              <a:xfrm>
                <a:off x="9374554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49" name="Freeform 14"/>
              <p:cNvSpPr/>
              <p:nvPr/>
            </p:nvSpPr>
            <p:spPr bwMode="auto">
              <a:xfrm>
                <a:off x="9237196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0" name="Freeform 15"/>
              <p:cNvSpPr/>
              <p:nvPr/>
            </p:nvSpPr>
            <p:spPr bwMode="auto">
              <a:xfrm>
                <a:off x="9237196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1" name="Freeform 16"/>
              <p:cNvSpPr/>
              <p:nvPr/>
            </p:nvSpPr>
            <p:spPr bwMode="auto">
              <a:xfrm>
                <a:off x="9374554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52" name="Freeform 17"/>
              <p:cNvSpPr/>
              <p:nvPr/>
            </p:nvSpPr>
            <p:spPr bwMode="auto">
              <a:xfrm>
                <a:off x="9723995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</p:grpSp>
      </p:grpSp>
      <p:cxnSp>
        <p:nvCxnSpPr>
          <p:cNvPr id="139" name="直接连接符 138"/>
          <p:cNvCxnSpPr/>
          <p:nvPr/>
        </p:nvCxnSpPr>
        <p:spPr>
          <a:xfrm>
            <a:off x="11336020" y="2095500"/>
            <a:ext cx="12065" cy="10894695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接连接符 139"/>
          <p:cNvCxnSpPr/>
          <p:nvPr/>
        </p:nvCxnSpPr>
        <p:spPr>
          <a:xfrm flipH="1">
            <a:off x="264795" y="31305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文本框 140"/>
          <p:cNvSpPr txBox="1"/>
          <p:nvPr/>
        </p:nvSpPr>
        <p:spPr>
          <a:xfrm>
            <a:off x="444500" y="591185"/>
            <a:ext cx="4711700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  <a:sym typeface="+mn-ea"/>
              </a:rPr>
              <a:t>热点关键词分析</a:t>
            </a:r>
            <a:endParaRPr lang="zh-CN" altLang="en-US" sz="4400">
              <a:latin typeface="仿宋" panose="02010609060101010101" charset="-122"/>
              <a:ea typeface="仿宋" panose="02010609060101010101" charset="-122"/>
              <a:sym typeface="+mn-ea"/>
            </a:endParaRPr>
          </a:p>
        </p:txBody>
      </p:sp>
      <p:sp>
        <p:nvSpPr>
          <p:cNvPr id="142" name="文本框 141"/>
          <p:cNvSpPr txBox="1"/>
          <p:nvPr/>
        </p:nvSpPr>
        <p:spPr>
          <a:xfrm>
            <a:off x="3186430" y="10343515"/>
            <a:ext cx="10217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“</a:t>
            </a:r>
            <a:r>
              <a:rPr lang="zh-CN" altLang="en-US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教育</a:t>
            </a:r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”</a:t>
            </a:r>
            <a:endParaRPr lang="zh-CN" altLang="en-US" sz="240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7184390" y="10284460"/>
            <a:ext cx="17570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“</a:t>
            </a:r>
            <a:r>
              <a:rPr lang="zh-CN" altLang="en-US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学分银行</a:t>
            </a:r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”</a:t>
            </a:r>
            <a:endParaRPr lang="zh-CN" altLang="en-US" sz="240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4" name="文本框 143"/>
          <p:cNvSpPr txBox="1"/>
          <p:nvPr/>
        </p:nvSpPr>
        <p:spPr>
          <a:xfrm>
            <a:off x="14615160" y="5570855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grpSp>
        <p:nvGrpSpPr>
          <p:cNvPr id="145" name="组合 144"/>
          <p:cNvGrpSpPr/>
          <p:nvPr/>
        </p:nvGrpSpPr>
        <p:grpSpPr>
          <a:xfrm>
            <a:off x="13632815" y="5474970"/>
            <a:ext cx="4434205" cy="4431030"/>
            <a:chOff x="21727" y="1000"/>
            <a:chExt cx="3190" cy="3270"/>
          </a:xfrm>
        </p:grpSpPr>
        <p:sp>
          <p:nvSpPr>
            <p:cNvPr id="146" name="Oval 5"/>
            <p:cNvSpPr>
              <a:spLocks noChangeArrowheads="1"/>
            </p:cNvSpPr>
            <p:nvPr/>
          </p:nvSpPr>
          <p:spPr bwMode="auto">
            <a:xfrm>
              <a:off x="22023" y="1304"/>
              <a:ext cx="2599" cy="26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182843" tIns="91422" rIns="182843" bIns="91422" numCol="1" anchor="t" anchorCtr="0" compatLnSpc="1"/>
            <a:p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</a:t>
              </a:r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     </a:t>
              </a:r>
              <a:r>
                <a:rPr lang="zh-CN" altLang="en-US" sz="4000">
                  <a:solidFill>
                    <a:schemeClr val="bg1"/>
                  </a:solidFill>
                </a:rPr>
                <a:t>约</a:t>
              </a:r>
              <a:endParaRPr lang="en-US" altLang="zh-CN" sz="4000">
                <a:solidFill>
                  <a:schemeClr val="bg1"/>
                </a:solidFill>
              </a:endParaRPr>
            </a:p>
            <a:p>
              <a:r>
                <a:rPr lang="en-US" altLang="zh-CN" sz="4000">
                  <a:solidFill>
                    <a:schemeClr val="bg1"/>
                  </a:solidFill>
                </a:rPr>
                <a:t> 3450000</a:t>
              </a:r>
              <a:endParaRPr lang="en-US" altLang="zh-CN" sz="4000">
                <a:solidFill>
                  <a:schemeClr val="bg1"/>
                </a:solidFill>
              </a:endParaRPr>
            </a:p>
          </p:txBody>
        </p:sp>
        <p:grpSp>
          <p:nvGrpSpPr>
            <p:cNvPr id="147" name="Group 145"/>
            <p:cNvGrpSpPr/>
            <p:nvPr/>
          </p:nvGrpSpPr>
          <p:grpSpPr>
            <a:xfrm rot="0">
              <a:off x="21727" y="1000"/>
              <a:ext cx="3190" cy="3271"/>
              <a:chOff x="6546413" y="2257147"/>
              <a:chExt cx="1868076" cy="1868076"/>
            </a:xfrm>
          </p:grpSpPr>
          <p:sp>
            <p:nvSpPr>
              <p:cNvPr id="148" name="Freeform 6"/>
              <p:cNvSpPr/>
              <p:nvPr/>
            </p:nvSpPr>
            <p:spPr bwMode="auto">
              <a:xfrm>
                <a:off x="7922196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49" name="Freeform 7"/>
              <p:cNvSpPr/>
              <p:nvPr/>
            </p:nvSpPr>
            <p:spPr bwMode="auto">
              <a:xfrm>
                <a:off x="7502428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0" name="Freeform 8"/>
              <p:cNvSpPr/>
              <p:nvPr/>
            </p:nvSpPr>
            <p:spPr bwMode="auto">
              <a:xfrm>
                <a:off x="8223286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1" name="Freeform 9"/>
              <p:cNvSpPr/>
              <p:nvPr/>
            </p:nvSpPr>
            <p:spPr bwMode="auto">
              <a:xfrm>
                <a:off x="8223286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2" name="Freeform 10"/>
              <p:cNvSpPr/>
              <p:nvPr/>
            </p:nvSpPr>
            <p:spPr bwMode="auto">
              <a:xfrm>
                <a:off x="7922196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3" name="Freeform 11"/>
              <p:cNvSpPr/>
              <p:nvPr/>
            </p:nvSpPr>
            <p:spPr bwMode="auto">
              <a:xfrm>
                <a:off x="7502428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4" name="Freeform 12"/>
              <p:cNvSpPr/>
              <p:nvPr/>
            </p:nvSpPr>
            <p:spPr bwMode="auto">
              <a:xfrm>
                <a:off x="7033212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5" name="Freeform 13"/>
              <p:cNvSpPr/>
              <p:nvPr/>
            </p:nvSpPr>
            <p:spPr bwMode="auto">
              <a:xfrm>
                <a:off x="6683771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6" name="Freeform 14"/>
              <p:cNvSpPr/>
              <p:nvPr/>
            </p:nvSpPr>
            <p:spPr bwMode="auto">
              <a:xfrm>
                <a:off x="6546413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7" name="Freeform 15"/>
              <p:cNvSpPr/>
              <p:nvPr/>
            </p:nvSpPr>
            <p:spPr bwMode="auto">
              <a:xfrm>
                <a:off x="6546413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8" name="Freeform 16"/>
              <p:cNvSpPr/>
              <p:nvPr/>
            </p:nvSpPr>
            <p:spPr bwMode="auto">
              <a:xfrm>
                <a:off x="6683771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59" name="Freeform 17"/>
              <p:cNvSpPr/>
              <p:nvPr/>
            </p:nvSpPr>
            <p:spPr bwMode="auto">
              <a:xfrm>
                <a:off x="7033212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chemeClr val="accent2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</p:grpSp>
      </p:grpSp>
      <p:grpSp>
        <p:nvGrpSpPr>
          <p:cNvPr id="160" name="组合 159"/>
          <p:cNvGrpSpPr/>
          <p:nvPr/>
        </p:nvGrpSpPr>
        <p:grpSpPr>
          <a:xfrm>
            <a:off x="18745835" y="7224395"/>
            <a:ext cx="2625090" cy="2613025"/>
            <a:chOff x="26322" y="1000"/>
            <a:chExt cx="3190" cy="3271"/>
          </a:xfrm>
        </p:grpSpPr>
        <p:sp>
          <p:nvSpPr>
            <p:cNvPr id="161" name="Oval 5"/>
            <p:cNvSpPr>
              <a:spLocks noChangeArrowheads="1"/>
            </p:cNvSpPr>
            <p:nvPr/>
          </p:nvSpPr>
          <p:spPr bwMode="auto">
            <a:xfrm>
              <a:off x="26647" y="1312"/>
              <a:ext cx="2599" cy="266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182843" tIns="91422" rIns="182843" bIns="91422" numCol="1" anchor="t" anchorCtr="0" compatLnSpc="1"/>
            <a:p>
              <a:endParaRPr lang="en-US" altLang="id-ID"/>
            </a:p>
            <a:p>
              <a:endParaRPr lang="en-US" altLang="id-ID" sz="3200"/>
            </a:p>
            <a:p>
              <a:r>
                <a:rPr lang="zh-CN" altLang="en-US" sz="3200"/>
                <a:t>  </a:t>
              </a:r>
              <a:r>
                <a:rPr lang="zh-CN" altLang="en-US" sz="3200">
                  <a:solidFill>
                    <a:schemeClr val="bg1"/>
                  </a:solidFill>
                </a:rPr>
                <a:t> 约</a:t>
              </a:r>
              <a:endParaRPr lang="en-US" altLang="id-ID" sz="3200">
                <a:solidFill>
                  <a:schemeClr val="bg1"/>
                </a:solidFill>
              </a:endParaRPr>
            </a:p>
            <a:p>
              <a:r>
                <a:rPr lang="en-US" altLang="id-ID" sz="2800">
                  <a:solidFill>
                    <a:schemeClr val="bg1"/>
                  </a:solidFill>
                </a:rPr>
                <a:t>  3200</a:t>
              </a:r>
              <a:endParaRPr lang="en-US" altLang="id-ID" sz="2800">
                <a:solidFill>
                  <a:schemeClr val="bg1"/>
                </a:solidFill>
              </a:endParaRPr>
            </a:p>
          </p:txBody>
        </p:sp>
        <p:grpSp>
          <p:nvGrpSpPr>
            <p:cNvPr id="162" name="Group 159"/>
            <p:cNvGrpSpPr/>
            <p:nvPr/>
          </p:nvGrpSpPr>
          <p:grpSpPr>
            <a:xfrm rot="0">
              <a:off x="26322" y="1000"/>
              <a:ext cx="3190" cy="3271"/>
              <a:chOff x="9237196" y="2257147"/>
              <a:chExt cx="1868076" cy="1868076"/>
            </a:xfrm>
          </p:grpSpPr>
          <p:sp>
            <p:nvSpPr>
              <p:cNvPr id="163" name="Freeform 6"/>
              <p:cNvSpPr/>
              <p:nvPr/>
            </p:nvSpPr>
            <p:spPr bwMode="auto">
              <a:xfrm>
                <a:off x="10612979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4" name="Freeform 7"/>
              <p:cNvSpPr/>
              <p:nvPr/>
            </p:nvSpPr>
            <p:spPr bwMode="auto">
              <a:xfrm>
                <a:off x="10193211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5" name="Freeform 8"/>
              <p:cNvSpPr/>
              <p:nvPr/>
            </p:nvSpPr>
            <p:spPr bwMode="auto">
              <a:xfrm>
                <a:off x="10914069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6" name="Freeform 9"/>
              <p:cNvSpPr/>
              <p:nvPr/>
            </p:nvSpPr>
            <p:spPr bwMode="auto">
              <a:xfrm>
                <a:off x="10914069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7" name="Freeform 10"/>
              <p:cNvSpPr/>
              <p:nvPr/>
            </p:nvSpPr>
            <p:spPr bwMode="auto">
              <a:xfrm>
                <a:off x="10612979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8" name="Freeform 11"/>
              <p:cNvSpPr/>
              <p:nvPr/>
            </p:nvSpPr>
            <p:spPr bwMode="auto">
              <a:xfrm>
                <a:off x="10193211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69" name="Freeform 12"/>
              <p:cNvSpPr/>
              <p:nvPr/>
            </p:nvSpPr>
            <p:spPr bwMode="auto">
              <a:xfrm>
                <a:off x="9723995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70" name="Freeform 13"/>
              <p:cNvSpPr/>
              <p:nvPr/>
            </p:nvSpPr>
            <p:spPr bwMode="auto">
              <a:xfrm>
                <a:off x="9374554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71" name="Freeform 14"/>
              <p:cNvSpPr/>
              <p:nvPr/>
            </p:nvSpPr>
            <p:spPr bwMode="auto">
              <a:xfrm>
                <a:off x="9237196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72" name="Freeform 15"/>
              <p:cNvSpPr/>
              <p:nvPr/>
            </p:nvSpPr>
            <p:spPr bwMode="auto">
              <a:xfrm>
                <a:off x="9237196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73" name="Freeform 16"/>
              <p:cNvSpPr/>
              <p:nvPr/>
            </p:nvSpPr>
            <p:spPr bwMode="auto">
              <a:xfrm>
                <a:off x="9374554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  <p:sp>
            <p:nvSpPr>
              <p:cNvPr id="174" name="Freeform 17"/>
              <p:cNvSpPr/>
              <p:nvPr/>
            </p:nvSpPr>
            <p:spPr bwMode="auto">
              <a:xfrm>
                <a:off x="9723995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chemeClr val="accent4">
                  <a:alpha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id-ID"/>
              </a:p>
            </p:txBody>
          </p:sp>
        </p:grpSp>
      </p:grpSp>
      <p:sp>
        <p:nvSpPr>
          <p:cNvPr id="175" name="文本框 174"/>
          <p:cNvSpPr txBox="1"/>
          <p:nvPr/>
        </p:nvSpPr>
        <p:spPr>
          <a:xfrm>
            <a:off x="15347950" y="10164445"/>
            <a:ext cx="10217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“</a:t>
            </a:r>
            <a:r>
              <a:rPr lang="zh-CN" altLang="en-US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教育</a:t>
            </a:r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”</a:t>
            </a:r>
            <a:endParaRPr lang="zh-CN" altLang="en-US" sz="240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76" name="文本框 175"/>
          <p:cNvSpPr txBox="1"/>
          <p:nvPr/>
        </p:nvSpPr>
        <p:spPr>
          <a:xfrm>
            <a:off x="19345910" y="10105390"/>
            <a:ext cx="17570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“</a:t>
            </a:r>
            <a:r>
              <a:rPr lang="zh-CN" altLang="en-US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学分银行</a:t>
            </a:r>
            <a:r>
              <a:rPr lang="en-US" altLang="zh-CN" sz="2400">
                <a:solidFill>
                  <a:schemeClr val="accent2">
                    <a:lumMod val="40000"/>
                    <a:lumOff val="60000"/>
                  </a:schemeClr>
                </a:solidFill>
              </a:rPr>
              <a:t>”</a:t>
            </a:r>
            <a:endParaRPr lang="zh-CN" altLang="en-US" sz="240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18745835" y="3913505"/>
            <a:ext cx="2808605" cy="1887220"/>
            <a:chOff x="29521" y="6163"/>
            <a:chExt cx="4423" cy="2972"/>
          </a:xfrm>
        </p:grpSpPr>
        <p:sp>
          <p:nvSpPr>
            <p:cNvPr id="15" name="云形 14"/>
            <p:cNvSpPr/>
            <p:nvPr/>
          </p:nvSpPr>
          <p:spPr>
            <a:xfrm>
              <a:off x="29521" y="6163"/>
              <a:ext cx="3893" cy="2972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29944" y="6937"/>
              <a:ext cx="4000" cy="13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lvl="0" algn="l">
                <a:buClrTx/>
                <a:buSzTx/>
                <a:buFontTx/>
              </a:pPr>
              <a:r>
                <a:rPr lang="en-US" altLang="zh-CN" sz="4800">
                  <a:solidFill>
                    <a:srgbClr val="FF0000"/>
                  </a:solidFill>
                  <a:sym typeface="+mn-ea"/>
                </a:rPr>
                <a:t>0.09%</a:t>
              </a:r>
              <a:endParaRPr lang="en-US" altLang="zh-CN" sz="4800">
                <a:solidFill>
                  <a:srgbClr val="FF0000"/>
                </a:solidFill>
                <a:sym typeface="+mn-ea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7268210" y="3683635"/>
            <a:ext cx="2654300" cy="1887220"/>
            <a:chOff x="7901" y="4298"/>
            <a:chExt cx="4180" cy="2972"/>
          </a:xfrm>
        </p:grpSpPr>
        <p:sp>
          <p:nvSpPr>
            <p:cNvPr id="13" name="云形 12"/>
            <p:cNvSpPr/>
            <p:nvPr/>
          </p:nvSpPr>
          <p:spPr>
            <a:xfrm>
              <a:off x="7901" y="4298"/>
              <a:ext cx="3893" cy="2972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8189" y="5130"/>
              <a:ext cx="3892" cy="13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4800">
                  <a:solidFill>
                    <a:srgbClr val="FF0000"/>
                  </a:solidFill>
                </a:rPr>
                <a:t>0.48%</a:t>
              </a:r>
              <a:endParaRPr lang="en-US" altLang="zh-CN" sz="4800">
                <a:solidFill>
                  <a:srgbClr val="FF0000"/>
                </a:solidFill>
              </a:endParaRPr>
            </a:p>
          </p:txBody>
        </p:sp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6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525"/>
            <a:ext cx="11640820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536315" y="399796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社会价值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2851150" y="14234795"/>
            <a:ext cx="1529080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571500" indent="-571500">
              <a:buFont typeface="Arial" panose="020B0604020202020204" pitchFamily="34" charset="0"/>
              <a:buChar char="•"/>
            </a:pPr>
            <a:endParaRPr lang="en-US" altLang="zh-CN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6139815" y="2487930"/>
            <a:ext cx="10469245" cy="9069023"/>
            <a:chOff x="23661" y="10945"/>
            <a:chExt cx="8195" cy="7413"/>
          </a:xfrm>
        </p:grpSpPr>
        <p:sp>
          <p:nvSpPr>
            <p:cNvPr id="67" name="圆角矩形 66"/>
            <p:cNvSpPr/>
            <p:nvPr/>
          </p:nvSpPr>
          <p:spPr>
            <a:xfrm>
              <a:off x="23661" y="10945"/>
              <a:ext cx="3617" cy="361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69" name="椭圆 68"/>
            <p:cNvSpPr/>
            <p:nvPr/>
          </p:nvSpPr>
          <p:spPr>
            <a:xfrm>
              <a:off x="23904" y="11153"/>
              <a:ext cx="563" cy="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84" name="圆角矩形 83"/>
            <p:cNvSpPr/>
            <p:nvPr/>
          </p:nvSpPr>
          <p:spPr>
            <a:xfrm>
              <a:off x="28239" y="10945"/>
              <a:ext cx="3617" cy="361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86" name="圆角矩形 85"/>
            <p:cNvSpPr/>
            <p:nvPr/>
          </p:nvSpPr>
          <p:spPr>
            <a:xfrm>
              <a:off x="28239" y="14743"/>
              <a:ext cx="3617" cy="361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96" name="圆角矩形 95"/>
            <p:cNvSpPr/>
            <p:nvPr/>
          </p:nvSpPr>
          <p:spPr>
            <a:xfrm>
              <a:off x="23661" y="14743"/>
              <a:ext cx="3617" cy="361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60" name="椭圆 59"/>
            <p:cNvSpPr/>
            <p:nvPr/>
          </p:nvSpPr>
          <p:spPr>
            <a:xfrm>
              <a:off x="28538" y="11113"/>
              <a:ext cx="563" cy="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78" name="椭圆 77"/>
            <p:cNvSpPr/>
            <p:nvPr/>
          </p:nvSpPr>
          <p:spPr>
            <a:xfrm>
              <a:off x="28570" y="14978"/>
              <a:ext cx="563" cy="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81" name="椭圆 80"/>
            <p:cNvSpPr/>
            <p:nvPr/>
          </p:nvSpPr>
          <p:spPr>
            <a:xfrm>
              <a:off x="23935" y="14947"/>
              <a:ext cx="563" cy="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800"/>
            </a:p>
          </p:txBody>
        </p:sp>
        <p:sp>
          <p:nvSpPr>
            <p:cNvPr id="104" name="文本框 103"/>
            <p:cNvSpPr txBox="1"/>
            <p:nvPr/>
          </p:nvSpPr>
          <p:spPr>
            <a:xfrm>
              <a:off x="24231" y="11867"/>
              <a:ext cx="2535" cy="11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indent="0" algn="just">
                <a:lnSpc>
                  <a:spcPct val="150000"/>
                </a:lnSpc>
                <a:buClrTx/>
                <a:buSzTx/>
                <a:buFont typeface="Arial" panose="020B0604020202020204" pitchFamily="34" charset="0"/>
                <a:buNone/>
              </a:pP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学分银行可促进教育公平。</a:t>
              </a:r>
              <a:endParaRPr lang="zh-CN" altLang="en-US" sz="2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5" name="文本框 104"/>
            <p:cNvSpPr txBox="1"/>
            <p:nvPr/>
          </p:nvSpPr>
          <p:spPr>
            <a:xfrm>
              <a:off x="28771" y="11792"/>
              <a:ext cx="2535" cy="11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indent="0" algn="just">
                <a:lnSpc>
                  <a:spcPct val="150000"/>
                </a:lnSpc>
                <a:buClrTx/>
                <a:buSzTx/>
                <a:buFont typeface="Arial" panose="020B0604020202020204" pitchFamily="34" charset="0"/>
                <a:buNone/>
              </a:pP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可</a:t>
              </a: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提高学校与市场的衔接度。</a:t>
              </a:r>
              <a:endParaRPr lang="zh-CN" altLang="en-US" sz="2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6" name="文本框 105"/>
            <p:cNvSpPr txBox="1"/>
            <p:nvPr/>
          </p:nvSpPr>
          <p:spPr>
            <a:xfrm>
              <a:off x="24265" y="15562"/>
              <a:ext cx="2535" cy="11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indent="0" algn="just">
                <a:lnSpc>
                  <a:spcPct val="150000"/>
                </a:lnSpc>
                <a:buClrTx/>
                <a:buSzTx/>
                <a:buFont typeface="Arial" panose="020B0604020202020204" pitchFamily="34" charset="0"/>
                <a:buNone/>
              </a:pP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利于职业教育与各类教育沟通衔接。</a:t>
              </a:r>
              <a:endParaRPr lang="zh-CN" altLang="en-US" sz="2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7" name="文本框 106"/>
            <p:cNvSpPr txBox="1"/>
            <p:nvPr/>
          </p:nvSpPr>
          <p:spPr>
            <a:xfrm>
              <a:off x="28780" y="15562"/>
              <a:ext cx="2535" cy="11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indent="0" algn="just">
                <a:lnSpc>
                  <a:spcPct val="150000"/>
                </a:lnSpc>
                <a:buClrTx/>
                <a:buSzTx/>
                <a:buFont typeface="Arial" panose="020B0604020202020204" pitchFamily="34" charset="0"/>
                <a:buNone/>
              </a:pP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可</a:t>
              </a:r>
              <a:r>
                <a:rPr lang="zh-CN" altLang="en-US" sz="28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促进教师提高素质。</a:t>
              </a:r>
              <a:endParaRPr lang="zh-CN" altLang="en-US" sz="2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" name="iconfont-11635-5532546"/>
          <p:cNvSpPr>
            <a:spLocks noChangeAspect="1"/>
          </p:cNvSpPr>
          <p:nvPr/>
        </p:nvSpPr>
        <p:spPr bwMode="auto">
          <a:xfrm>
            <a:off x="6592570" y="2858135"/>
            <a:ext cx="434975" cy="434975"/>
          </a:xfrm>
          <a:custGeom>
            <a:avLst/>
            <a:gdLst>
              <a:gd name="T0" fmla="*/ 0 w 9600"/>
              <a:gd name="T1" fmla="*/ 0 h 9600"/>
              <a:gd name="T2" fmla="*/ 9600 w 9600"/>
              <a:gd name="T3" fmla="*/ 0 h 9600"/>
              <a:gd name="T4" fmla="*/ 9600 w 9600"/>
              <a:gd name="T5" fmla="*/ 1067 h 9600"/>
              <a:gd name="T6" fmla="*/ 0 w 9600"/>
              <a:gd name="T7" fmla="*/ 1067 h 9600"/>
              <a:gd name="T8" fmla="*/ 0 w 9600"/>
              <a:gd name="T9" fmla="*/ 0 h 9600"/>
              <a:gd name="T10" fmla="*/ 0 w 9600"/>
              <a:gd name="T11" fmla="*/ 2133 h 9600"/>
              <a:gd name="T12" fmla="*/ 6400 w 9600"/>
              <a:gd name="T13" fmla="*/ 2133 h 9600"/>
              <a:gd name="T14" fmla="*/ 6400 w 9600"/>
              <a:gd name="T15" fmla="*/ 3200 h 9600"/>
              <a:gd name="T16" fmla="*/ 0 w 9600"/>
              <a:gd name="T17" fmla="*/ 3200 h 9600"/>
              <a:gd name="T18" fmla="*/ 0 w 9600"/>
              <a:gd name="T19" fmla="*/ 2133 h 9600"/>
              <a:gd name="T20" fmla="*/ 0 w 9600"/>
              <a:gd name="T21" fmla="*/ 4267 h 9600"/>
              <a:gd name="T22" fmla="*/ 9600 w 9600"/>
              <a:gd name="T23" fmla="*/ 4267 h 9600"/>
              <a:gd name="T24" fmla="*/ 9600 w 9600"/>
              <a:gd name="T25" fmla="*/ 5333 h 9600"/>
              <a:gd name="T26" fmla="*/ 0 w 9600"/>
              <a:gd name="T27" fmla="*/ 5333 h 9600"/>
              <a:gd name="T28" fmla="*/ 0 w 9600"/>
              <a:gd name="T29" fmla="*/ 4267 h 9600"/>
              <a:gd name="T30" fmla="*/ 0 w 9600"/>
              <a:gd name="T31" fmla="*/ 6400 h 9600"/>
              <a:gd name="T32" fmla="*/ 6400 w 9600"/>
              <a:gd name="T33" fmla="*/ 6400 h 9600"/>
              <a:gd name="T34" fmla="*/ 6400 w 9600"/>
              <a:gd name="T35" fmla="*/ 7467 h 9600"/>
              <a:gd name="T36" fmla="*/ 0 w 9600"/>
              <a:gd name="T37" fmla="*/ 7467 h 9600"/>
              <a:gd name="T38" fmla="*/ 0 w 9600"/>
              <a:gd name="T39" fmla="*/ 6400 h 9600"/>
              <a:gd name="T40" fmla="*/ 0 w 9600"/>
              <a:gd name="T41" fmla="*/ 8533 h 9600"/>
              <a:gd name="T42" fmla="*/ 9600 w 9600"/>
              <a:gd name="T43" fmla="*/ 8533 h 9600"/>
              <a:gd name="T44" fmla="*/ 9600 w 9600"/>
              <a:gd name="T45" fmla="*/ 9600 h 9600"/>
              <a:gd name="T46" fmla="*/ 0 w 9600"/>
              <a:gd name="T47" fmla="*/ 9600 h 9600"/>
              <a:gd name="T48" fmla="*/ 0 w 9600"/>
              <a:gd name="T49" fmla="*/ 8533 h 9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00" h="9600">
                <a:moveTo>
                  <a:pt x="0" y="0"/>
                </a:moveTo>
                <a:lnTo>
                  <a:pt x="9600" y="0"/>
                </a:lnTo>
                <a:lnTo>
                  <a:pt x="9600" y="1067"/>
                </a:lnTo>
                <a:lnTo>
                  <a:pt x="0" y="1067"/>
                </a:lnTo>
                <a:lnTo>
                  <a:pt x="0" y="0"/>
                </a:lnTo>
                <a:close/>
                <a:moveTo>
                  <a:pt x="0" y="2133"/>
                </a:moveTo>
                <a:lnTo>
                  <a:pt x="6400" y="2133"/>
                </a:lnTo>
                <a:lnTo>
                  <a:pt x="6400" y="3200"/>
                </a:lnTo>
                <a:lnTo>
                  <a:pt x="0" y="3200"/>
                </a:lnTo>
                <a:lnTo>
                  <a:pt x="0" y="2133"/>
                </a:lnTo>
                <a:close/>
                <a:moveTo>
                  <a:pt x="0" y="4267"/>
                </a:moveTo>
                <a:lnTo>
                  <a:pt x="9600" y="4267"/>
                </a:lnTo>
                <a:lnTo>
                  <a:pt x="9600" y="5333"/>
                </a:lnTo>
                <a:lnTo>
                  <a:pt x="0" y="5333"/>
                </a:lnTo>
                <a:lnTo>
                  <a:pt x="0" y="4267"/>
                </a:lnTo>
                <a:close/>
                <a:moveTo>
                  <a:pt x="0" y="6400"/>
                </a:moveTo>
                <a:lnTo>
                  <a:pt x="6400" y="6400"/>
                </a:lnTo>
                <a:lnTo>
                  <a:pt x="6400" y="7467"/>
                </a:lnTo>
                <a:lnTo>
                  <a:pt x="0" y="7467"/>
                </a:lnTo>
                <a:lnTo>
                  <a:pt x="0" y="6400"/>
                </a:lnTo>
                <a:close/>
                <a:moveTo>
                  <a:pt x="0" y="8533"/>
                </a:moveTo>
                <a:lnTo>
                  <a:pt x="9600" y="8533"/>
                </a:lnTo>
                <a:lnTo>
                  <a:pt x="9600" y="9600"/>
                </a:lnTo>
                <a:lnTo>
                  <a:pt x="0" y="9600"/>
                </a:lnTo>
                <a:lnTo>
                  <a:pt x="0" y="85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5" name="iconfont-11635-5532546"/>
          <p:cNvSpPr>
            <a:spLocks noChangeAspect="1"/>
          </p:cNvSpPr>
          <p:nvPr/>
        </p:nvSpPr>
        <p:spPr bwMode="auto">
          <a:xfrm>
            <a:off x="12522835" y="2842260"/>
            <a:ext cx="434975" cy="434975"/>
          </a:xfrm>
          <a:custGeom>
            <a:avLst/>
            <a:gdLst>
              <a:gd name="T0" fmla="*/ 0 w 9600"/>
              <a:gd name="T1" fmla="*/ 0 h 9600"/>
              <a:gd name="T2" fmla="*/ 9600 w 9600"/>
              <a:gd name="T3" fmla="*/ 0 h 9600"/>
              <a:gd name="T4" fmla="*/ 9600 w 9600"/>
              <a:gd name="T5" fmla="*/ 1067 h 9600"/>
              <a:gd name="T6" fmla="*/ 0 w 9600"/>
              <a:gd name="T7" fmla="*/ 1067 h 9600"/>
              <a:gd name="T8" fmla="*/ 0 w 9600"/>
              <a:gd name="T9" fmla="*/ 0 h 9600"/>
              <a:gd name="T10" fmla="*/ 0 w 9600"/>
              <a:gd name="T11" fmla="*/ 2133 h 9600"/>
              <a:gd name="T12" fmla="*/ 6400 w 9600"/>
              <a:gd name="T13" fmla="*/ 2133 h 9600"/>
              <a:gd name="T14" fmla="*/ 6400 w 9600"/>
              <a:gd name="T15" fmla="*/ 3200 h 9600"/>
              <a:gd name="T16" fmla="*/ 0 w 9600"/>
              <a:gd name="T17" fmla="*/ 3200 h 9600"/>
              <a:gd name="T18" fmla="*/ 0 w 9600"/>
              <a:gd name="T19" fmla="*/ 2133 h 9600"/>
              <a:gd name="T20" fmla="*/ 0 w 9600"/>
              <a:gd name="T21" fmla="*/ 4267 h 9600"/>
              <a:gd name="T22" fmla="*/ 9600 w 9600"/>
              <a:gd name="T23" fmla="*/ 4267 h 9600"/>
              <a:gd name="T24" fmla="*/ 9600 w 9600"/>
              <a:gd name="T25" fmla="*/ 5333 h 9600"/>
              <a:gd name="T26" fmla="*/ 0 w 9600"/>
              <a:gd name="T27" fmla="*/ 5333 h 9600"/>
              <a:gd name="T28" fmla="*/ 0 w 9600"/>
              <a:gd name="T29" fmla="*/ 4267 h 9600"/>
              <a:gd name="T30" fmla="*/ 0 w 9600"/>
              <a:gd name="T31" fmla="*/ 6400 h 9600"/>
              <a:gd name="T32" fmla="*/ 6400 w 9600"/>
              <a:gd name="T33" fmla="*/ 6400 h 9600"/>
              <a:gd name="T34" fmla="*/ 6400 w 9600"/>
              <a:gd name="T35" fmla="*/ 7467 h 9600"/>
              <a:gd name="T36" fmla="*/ 0 w 9600"/>
              <a:gd name="T37" fmla="*/ 7467 h 9600"/>
              <a:gd name="T38" fmla="*/ 0 w 9600"/>
              <a:gd name="T39" fmla="*/ 6400 h 9600"/>
              <a:gd name="T40" fmla="*/ 0 w 9600"/>
              <a:gd name="T41" fmla="*/ 8533 h 9600"/>
              <a:gd name="T42" fmla="*/ 9600 w 9600"/>
              <a:gd name="T43" fmla="*/ 8533 h 9600"/>
              <a:gd name="T44" fmla="*/ 9600 w 9600"/>
              <a:gd name="T45" fmla="*/ 9600 h 9600"/>
              <a:gd name="T46" fmla="*/ 0 w 9600"/>
              <a:gd name="T47" fmla="*/ 9600 h 9600"/>
              <a:gd name="T48" fmla="*/ 0 w 9600"/>
              <a:gd name="T49" fmla="*/ 8533 h 9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00" h="9600">
                <a:moveTo>
                  <a:pt x="0" y="0"/>
                </a:moveTo>
                <a:lnTo>
                  <a:pt x="9600" y="0"/>
                </a:lnTo>
                <a:lnTo>
                  <a:pt x="9600" y="1067"/>
                </a:lnTo>
                <a:lnTo>
                  <a:pt x="0" y="1067"/>
                </a:lnTo>
                <a:lnTo>
                  <a:pt x="0" y="0"/>
                </a:lnTo>
                <a:close/>
                <a:moveTo>
                  <a:pt x="0" y="2133"/>
                </a:moveTo>
                <a:lnTo>
                  <a:pt x="6400" y="2133"/>
                </a:lnTo>
                <a:lnTo>
                  <a:pt x="6400" y="3200"/>
                </a:lnTo>
                <a:lnTo>
                  <a:pt x="0" y="3200"/>
                </a:lnTo>
                <a:lnTo>
                  <a:pt x="0" y="2133"/>
                </a:lnTo>
                <a:close/>
                <a:moveTo>
                  <a:pt x="0" y="4267"/>
                </a:moveTo>
                <a:lnTo>
                  <a:pt x="9600" y="4267"/>
                </a:lnTo>
                <a:lnTo>
                  <a:pt x="9600" y="5333"/>
                </a:lnTo>
                <a:lnTo>
                  <a:pt x="0" y="5333"/>
                </a:lnTo>
                <a:lnTo>
                  <a:pt x="0" y="4267"/>
                </a:lnTo>
                <a:close/>
                <a:moveTo>
                  <a:pt x="0" y="6400"/>
                </a:moveTo>
                <a:lnTo>
                  <a:pt x="6400" y="6400"/>
                </a:lnTo>
                <a:lnTo>
                  <a:pt x="6400" y="7467"/>
                </a:lnTo>
                <a:lnTo>
                  <a:pt x="0" y="7467"/>
                </a:lnTo>
                <a:lnTo>
                  <a:pt x="0" y="6400"/>
                </a:lnTo>
                <a:close/>
                <a:moveTo>
                  <a:pt x="0" y="8533"/>
                </a:moveTo>
                <a:lnTo>
                  <a:pt x="9600" y="8533"/>
                </a:lnTo>
                <a:lnTo>
                  <a:pt x="9600" y="9600"/>
                </a:lnTo>
                <a:lnTo>
                  <a:pt x="0" y="9600"/>
                </a:lnTo>
                <a:lnTo>
                  <a:pt x="0" y="85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7" name="iconfont-11635-5532546"/>
          <p:cNvSpPr>
            <a:spLocks noChangeAspect="1"/>
          </p:cNvSpPr>
          <p:nvPr/>
        </p:nvSpPr>
        <p:spPr bwMode="auto">
          <a:xfrm>
            <a:off x="6591300" y="7498715"/>
            <a:ext cx="434975" cy="434975"/>
          </a:xfrm>
          <a:custGeom>
            <a:avLst/>
            <a:gdLst>
              <a:gd name="T0" fmla="*/ 0 w 9600"/>
              <a:gd name="T1" fmla="*/ 0 h 9600"/>
              <a:gd name="T2" fmla="*/ 9600 w 9600"/>
              <a:gd name="T3" fmla="*/ 0 h 9600"/>
              <a:gd name="T4" fmla="*/ 9600 w 9600"/>
              <a:gd name="T5" fmla="*/ 1067 h 9600"/>
              <a:gd name="T6" fmla="*/ 0 w 9600"/>
              <a:gd name="T7" fmla="*/ 1067 h 9600"/>
              <a:gd name="T8" fmla="*/ 0 w 9600"/>
              <a:gd name="T9" fmla="*/ 0 h 9600"/>
              <a:gd name="T10" fmla="*/ 0 w 9600"/>
              <a:gd name="T11" fmla="*/ 2133 h 9600"/>
              <a:gd name="T12" fmla="*/ 6400 w 9600"/>
              <a:gd name="T13" fmla="*/ 2133 h 9600"/>
              <a:gd name="T14" fmla="*/ 6400 w 9600"/>
              <a:gd name="T15" fmla="*/ 3200 h 9600"/>
              <a:gd name="T16" fmla="*/ 0 w 9600"/>
              <a:gd name="T17" fmla="*/ 3200 h 9600"/>
              <a:gd name="T18" fmla="*/ 0 w 9600"/>
              <a:gd name="T19" fmla="*/ 2133 h 9600"/>
              <a:gd name="T20" fmla="*/ 0 w 9600"/>
              <a:gd name="T21" fmla="*/ 4267 h 9600"/>
              <a:gd name="T22" fmla="*/ 9600 w 9600"/>
              <a:gd name="T23" fmla="*/ 4267 h 9600"/>
              <a:gd name="T24" fmla="*/ 9600 w 9600"/>
              <a:gd name="T25" fmla="*/ 5333 h 9600"/>
              <a:gd name="T26" fmla="*/ 0 w 9600"/>
              <a:gd name="T27" fmla="*/ 5333 h 9600"/>
              <a:gd name="T28" fmla="*/ 0 w 9600"/>
              <a:gd name="T29" fmla="*/ 4267 h 9600"/>
              <a:gd name="T30" fmla="*/ 0 w 9600"/>
              <a:gd name="T31" fmla="*/ 6400 h 9600"/>
              <a:gd name="T32" fmla="*/ 6400 w 9600"/>
              <a:gd name="T33" fmla="*/ 6400 h 9600"/>
              <a:gd name="T34" fmla="*/ 6400 w 9600"/>
              <a:gd name="T35" fmla="*/ 7467 h 9600"/>
              <a:gd name="T36" fmla="*/ 0 w 9600"/>
              <a:gd name="T37" fmla="*/ 7467 h 9600"/>
              <a:gd name="T38" fmla="*/ 0 w 9600"/>
              <a:gd name="T39" fmla="*/ 6400 h 9600"/>
              <a:gd name="T40" fmla="*/ 0 w 9600"/>
              <a:gd name="T41" fmla="*/ 8533 h 9600"/>
              <a:gd name="T42" fmla="*/ 9600 w 9600"/>
              <a:gd name="T43" fmla="*/ 8533 h 9600"/>
              <a:gd name="T44" fmla="*/ 9600 w 9600"/>
              <a:gd name="T45" fmla="*/ 9600 h 9600"/>
              <a:gd name="T46" fmla="*/ 0 w 9600"/>
              <a:gd name="T47" fmla="*/ 9600 h 9600"/>
              <a:gd name="T48" fmla="*/ 0 w 9600"/>
              <a:gd name="T49" fmla="*/ 8533 h 9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00" h="9600">
                <a:moveTo>
                  <a:pt x="0" y="0"/>
                </a:moveTo>
                <a:lnTo>
                  <a:pt x="9600" y="0"/>
                </a:lnTo>
                <a:lnTo>
                  <a:pt x="9600" y="1067"/>
                </a:lnTo>
                <a:lnTo>
                  <a:pt x="0" y="1067"/>
                </a:lnTo>
                <a:lnTo>
                  <a:pt x="0" y="0"/>
                </a:lnTo>
                <a:close/>
                <a:moveTo>
                  <a:pt x="0" y="2133"/>
                </a:moveTo>
                <a:lnTo>
                  <a:pt x="6400" y="2133"/>
                </a:lnTo>
                <a:lnTo>
                  <a:pt x="6400" y="3200"/>
                </a:lnTo>
                <a:lnTo>
                  <a:pt x="0" y="3200"/>
                </a:lnTo>
                <a:lnTo>
                  <a:pt x="0" y="2133"/>
                </a:lnTo>
                <a:close/>
                <a:moveTo>
                  <a:pt x="0" y="4267"/>
                </a:moveTo>
                <a:lnTo>
                  <a:pt x="9600" y="4267"/>
                </a:lnTo>
                <a:lnTo>
                  <a:pt x="9600" y="5333"/>
                </a:lnTo>
                <a:lnTo>
                  <a:pt x="0" y="5333"/>
                </a:lnTo>
                <a:lnTo>
                  <a:pt x="0" y="4267"/>
                </a:lnTo>
                <a:close/>
                <a:moveTo>
                  <a:pt x="0" y="6400"/>
                </a:moveTo>
                <a:lnTo>
                  <a:pt x="6400" y="6400"/>
                </a:lnTo>
                <a:lnTo>
                  <a:pt x="6400" y="7467"/>
                </a:lnTo>
                <a:lnTo>
                  <a:pt x="0" y="7467"/>
                </a:lnTo>
                <a:lnTo>
                  <a:pt x="0" y="6400"/>
                </a:lnTo>
                <a:close/>
                <a:moveTo>
                  <a:pt x="0" y="8533"/>
                </a:moveTo>
                <a:lnTo>
                  <a:pt x="9600" y="8533"/>
                </a:lnTo>
                <a:lnTo>
                  <a:pt x="9600" y="9600"/>
                </a:lnTo>
                <a:lnTo>
                  <a:pt x="0" y="9600"/>
                </a:lnTo>
                <a:lnTo>
                  <a:pt x="0" y="85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8" name="iconfont-11635-5532546"/>
          <p:cNvSpPr>
            <a:spLocks noChangeAspect="1"/>
          </p:cNvSpPr>
          <p:nvPr/>
        </p:nvSpPr>
        <p:spPr bwMode="auto">
          <a:xfrm>
            <a:off x="12553315" y="7499350"/>
            <a:ext cx="434975" cy="434975"/>
          </a:xfrm>
          <a:custGeom>
            <a:avLst/>
            <a:gdLst>
              <a:gd name="T0" fmla="*/ 0 w 9600"/>
              <a:gd name="T1" fmla="*/ 0 h 9600"/>
              <a:gd name="T2" fmla="*/ 9600 w 9600"/>
              <a:gd name="T3" fmla="*/ 0 h 9600"/>
              <a:gd name="T4" fmla="*/ 9600 w 9600"/>
              <a:gd name="T5" fmla="*/ 1067 h 9600"/>
              <a:gd name="T6" fmla="*/ 0 w 9600"/>
              <a:gd name="T7" fmla="*/ 1067 h 9600"/>
              <a:gd name="T8" fmla="*/ 0 w 9600"/>
              <a:gd name="T9" fmla="*/ 0 h 9600"/>
              <a:gd name="T10" fmla="*/ 0 w 9600"/>
              <a:gd name="T11" fmla="*/ 2133 h 9600"/>
              <a:gd name="T12" fmla="*/ 6400 w 9600"/>
              <a:gd name="T13" fmla="*/ 2133 h 9600"/>
              <a:gd name="T14" fmla="*/ 6400 w 9600"/>
              <a:gd name="T15" fmla="*/ 3200 h 9600"/>
              <a:gd name="T16" fmla="*/ 0 w 9600"/>
              <a:gd name="T17" fmla="*/ 3200 h 9600"/>
              <a:gd name="T18" fmla="*/ 0 w 9600"/>
              <a:gd name="T19" fmla="*/ 2133 h 9600"/>
              <a:gd name="T20" fmla="*/ 0 w 9600"/>
              <a:gd name="T21" fmla="*/ 4267 h 9600"/>
              <a:gd name="T22" fmla="*/ 9600 w 9600"/>
              <a:gd name="T23" fmla="*/ 4267 h 9600"/>
              <a:gd name="T24" fmla="*/ 9600 w 9600"/>
              <a:gd name="T25" fmla="*/ 5333 h 9600"/>
              <a:gd name="T26" fmla="*/ 0 w 9600"/>
              <a:gd name="T27" fmla="*/ 5333 h 9600"/>
              <a:gd name="T28" fmla="*/ 0 w 9600"/>
              <a:gd name="T29" fmla="*/ 4267 h 9600"/>
              <a:gd name="T30" fmla="*/ 0 w 9600"/>
              <a:gd name="T31" fmla="*/ 6400 h 9600"/>
              <a:gd name="T32" fmla="*/ 6400 w 9600"/>
              <a:gd name="T33" fmla="*/ 6400 h 9600"/>
              <a:gd name="T34" fmla="*/ 6400 w 9600"/>
              <a:gd name="T35" fmla="*/ 7467 h 9600"/>
              <a:gd name="T36" fmla="*/ 0 w 9600"/>
              <a:gd name="T37" fmla="*/ 7467 h 9600"/>
              <a:gd name="T38" fmla="*/ 0 w 9600"/>
              <a:gd name="T39" fmla="*/ 6400 h 9600"/>
              <a:gd name="T40" fmla="*/ 0 w 9600"/>
              <a:gd name="T41" fmla="*/ 8533 h 9600"/>
              <a:gd name="T42" fmla="*/ 9600 w 9600"/>
              <a:gd name="T43" fmla="*/ 8533 h 9600"/>
              <a:gd name="T44" fmla="*/ 9600 w 9600"/>
              <a:gd name="T45" fmla="*/ 9600 h 9600"/>
              <a:gd name="T46" fmla="*/ 0 w 9600"/>
              <a:gd name="T47" fmla="*/ 9600 h 9600"/>
              <a:gd name="T48" fmla="*/ 0 w 9600"/>
              <a:gd name="T49" fmla="*/ 8533 h 9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00" h="9600">
                <a:moveTo>
                  <a:pt x="0" y="0"/>
                </a:moveTo>
                <a:lnTo>
                  <a:pt x="9600" y="0"/>
                </a:lnTo>
                <a:lnTo>
                  <a:pt x="9600" y="1067"/>
                </a:lnTo>
                <a:lnTo>
                  <a:pt x="0" y="1067"/>
                </a:lnTo>
                <a:lnTo>
                  <a:pt x="0" y="0"/>
                </a:lnTo>
                <a:close/>
                <a:moveTo>
                  <a:pt x="0" y="2133"/>
                </a:moveTo>
                <a:lnTo>
                  <a:pt x="6400" y="2133"/>
                </a:lnTo>
                <a:lnTo>
                  <a:pt x="6400" y="3200"/>
                </a:lnTo>
                <a:lnTo>
                  <a:pt x="0" y="3200"/>
                </a:lnTo>
                <a:lnTo>
                  <a:pt x="0" y="2133"/>
                </a:lnTo>
                <a:close/>
                <a:moveTo>
                  <a:pt x="0" y="4267"/>
                </a:moveTo>
                <a:lnTo>
                  <a:pt x="9600" y="4267"/>
                </a:lnTo>
                <a:lnTo>
                  <a:pt x="9600" y="5333"/>
                </a:lnTo>
                <a:lnTo>
                  <a:pt x="0" y="5333"/>
                </a:lnTo>
                <a:lnTo>
                  <a:pt x="0" y="4267"/>
                </a:lnTo>
                <a:close/>
                <a:moveTo>
                  <a:pt x="0" y="6400"/>
                </a:moveTo>
                <a:lnTo>
                  <a:pt x="6400" y="6400"/>
                </a:lnTo>
                <a:lnTo>
                  <a:pt x="6400" y="7467"/>
                </a:lnTo>
                <a:lnTo>
                  <a:pt x="0" y="7467"/>
                </a:lnTo>
                <a:lnTo>
                  <a:pt x="0" y="6400"/>
                </a:lnTo>
                <a:close/>
                <a:moveTo>
                  <a:pt x="0" y="8533"/>
                </a:moveTo>
                <a:lnTo>
                  <a:pt x="9600" y="8533"/>
                </a:lnTo>
                <a:lnTo>
                  <a:pt x="9600" y="9600"/>
                </a:lnTo>
                <a:lnTo>
                  <a:pt x="0" y="9600"/>
                </a:lnTo>
                <a:lnTo>
                  <a:pt x="0" y="85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7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753"/>
            <a:ext cx="1004252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挑战与发展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380746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  <a:sym typeface="+mn-ea"/>
              </a:rPr>
              <a:t>挑战与发展</a:t>
            </a:r>
            <a:endParaRPr lang="zh-CN" altLang="en-US" sz="4400">
              <a:latin typeface="仿宋" panose="02010609060101010101" charset="-122"/>
              <a:ea typeface="仿宋" panose="02010609060101010101" charset="-122"/>
              <a:sym typeface="+mn-ea"/>
            </a:endParaRPr>
          </a:p>
          <a:p>
            <a:r>
              <a:rPr lang="en-US" altLang="zh-CN" sz="2800">
                <a:latin typeface="仿宋" panose="02010609060101010101" charset="-122"/>
                <a:ea typeface="仿宋" panose="02010609060101010101" charset="-122"/>
              </a:rPr>
              <a:t>--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</a:rPr>
              <a:t>建设挑战</a:t>
            </a:r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121150" y="2491740"/>
            <a:ext cx="13289280" cy="8632825"/>
            <a:chOff x="10769" y="4504"/>
            <a:chExt cx="20928" cy="13595"/>
          </a:xfrm>
        </p:grpSpPr>
        <p:sp>
          <p:nvSpPr>
            <p:cNvPr id="52" name="圆角矩形 51"/>
            <p:cNvSpPr/>
            <p:nvPr/>
          </p:nvSpPr>
          <p:spPr>
            <a:xfrm>
              <a:off x="10770" y="4504"/>
              <a:ext cx="20927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0769" y="8044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3" name="圆角矩形 22"/>
            <p:cNvSpPr/>
            <p:nvPr/>
          </p:nvSpPr>
          <p:spPr>
            <a:xfrm>
              <a:off x="10769" y="11608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10769" y="15045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13577" y="5741"/>
              <a:ext cx="1692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altLang="en-US" sz="3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认证标准的开发还处于初步阶段，短期内无法覆盖主要行业</a:t>
              </a:r>
              <a:endPara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3405" y="16113"/>
              <a:ext cx="18292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无法短期内获得成果、经济效益的特性，存在可持续性发展问题</a:t>
              </a:r>
              <a:endPara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13513" y="12822"/>
              <a:ext cx="924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indent="0" algn="l">
                <a:buFont typeface="Arial" panose="020B0604020202020204" pitchFamily="34" charset="0"/>
                <a:buNone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社会认知度低、</a:t>
              </a: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公信力不足问题</a:t>
              </a:r>
              <a:endPara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3505" y="9155"/>
              <a:ext cx="14434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认证标准使用范围窄，无法在多领域重复使用问题</a:t>
              </a:r>
              <a:endPara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5" name="iconfont-11117-5237996"/>
            <p:cNvSpPr>
              <a:spLocks noChangeAspect="1"/>
            </p:cNvSpPr>
            <p:nvPr/>
          </p:nvSpPr>
          <p:spPr bwMode="auto">
            <a:xfrm>
              <a:off x="11301" y="5351"/>
              <a:ext cx="1417" cy="1627"/>
            </a:xfrm>
            <a:custGeom>
              <a:avLst/>
              <a:gdLst>
                <a:gd name="connsiteX0" fmla="*/ 171466 w 388684"/>
                <a:gd name="connsiteY0" fmla="*/ 299559 h 446281"/>
                <a:gd name="connsiteX1" fmla="*/ 220046 w 388684"/>
                <a:gd name="connsiteY1" fmla="*/ 299559 h 446281"/>
                <a:gd name="connsiteX2" fmla="*/ 220046 w 388684"/>
                <a:gd name="connsiteY2" fmla="*/ 347199 h 446281"/>
                <a:gd name="connsiteX3" fmla="*/ 171466 w 388684"/>
                <a:gd name="connsiteY3" fmla="*/ 347199 h 446281"/>
                <a:gd name="connsiteX4" fmla="*/ 193383 w 388684"/>
                <a:gd name="connsiteY4" fmla="*/ 106238 h 446281"/>
                <a:gd name="connsiteX5" fmla="*/ 237175 w 388684"/>
                <a:gd name="connsiteY5" fmla="*/ 117673 h 446281"/>
                <a:gd name="connsiteX6" fmla="*/ 259092 w 388684"/>
                <a:gd name="connsiteY6" fmla="*/ 141493 h 446281"/>
                <a:gd name="connsiteX7" fmla="*/ 264787 w 388684"/>
                <a:gd name="connsiteY7" fmla="*/ 165270 h 446281"/>
                <a:gd name="connsiteX8" fmla="*/ 261939 w 388684"/>
                <a:gd name="connsiteY8" fmla="*/ 185293 h 446281"/>
                <a:gd name="connsiteX9" fmla="*/ 252405 w 388684"/>
                <a:gd name="connsiteY9" fmla="*/ 200525 h 446281"/>
                <a:gd name="connsiteX10" fmla="*/ 238124 w 388684"/>
                <a:gd name="connsiteY10" fmla="*/ 211960 h 446281"/>
                <a:gd name="connsiteX11" fmla="*/ 225741 w 388684"/>
                <a:gd name="connsiteY11" fmla="*/ 221454 h 446281"/>
                <a:gd name="connsiteX12" fmla="*/ 220996 w 388684"/>
                <a:gd name="connsiteY12" fmla="*/ 230041 h 446281"/>
                <a:gd name="connsiteX13" fmla="*/ 220046 w 388684"/>
                <a:gd name="connsiteY13" fmla="*/ 251013 h 446281"/>
                <a:gd name="connsiteX14" fmla="*/ 220046 w 388684"/>
                <a:gd name="connsiteY14" fmla="*/ 271942 h 446281"/>
                <a:gd name="connsiteX15" fmla="*/ 172415 w 388684"/>
                <a:gd name="connsiteY15" fmla="*/ 271942 h 446281"/>
                <a:gd name="connsiteX16" fmla="*/ 171466 w 388684"/>
                <a:gd name="connsiteY16" fmla="*/ 246223 h 446281"/>
                <a:gd name="connsiteX17" fmla="*/ 171466 w 388684"/>
                <a:gd name="connsiteY17" fmla="*/ 233839 h 446281"/>
                <a:gd name="connsiteX18" fmla="*/ 174357 w 388684"/>
                <a:gd name="connsiteY18" fmla="*/ 218606 h 446281"/>
                <a:gd name="connsiteX19" fmla="*/ 182899 w 388684"/>
                <a:gd name="connsiteY19" fmla="*/ 203373 h 446281"/>
                <a:gd name="connsiteX20" fmla="*/ 200027 w 388684"/>
                <a:gd name="connsiteY20" fmla="*/ 189090 h 446281"/>
                <a:gd name="connsiteX21" fmla="*/ 213359 w 388684"/>
                <a:gd name="connsiteY21" fmla="*/ 178604 h 446281"/>
                <a:gd name="connsiteX22" fmla="*/ 216250 w 388684"/>
                <a:gd name="connsiteY22" fmla="*/ 166219 h 446281"/>
                <a:gd name="connsiteX23" fmla="*/ 210512 w 388684"/>
                <a:gd name="connsiteY23" fmla="*/ 151936 h 446281"/>
                <a:gd name="connsiteX24" fmla="*/ 200027 w 388684"/>
                <a:gd name="connsiteY24" fmla="*/ 148139 h 446281"/>
                <a:gd name="connsiteX25" fmla="*/ 188637 w 388684"/>
                <a:gd name="connsiteY25" fmla="*/ 146240 h 446281"/>
                <a:gd name="connsiteX26" fmla="*/ 176255 w 388684"/>
                <a:gd name="connsiteY26" fmla="*/ 150987 h 446281"/>
                <a:gd name="connsiteX27" fmla="*/ 168618 w 388684"/>
                <a:gd name="connsiteY27" fmla="*/ 160523 h 446281"/>
                <a:gd name="connsiteX28" fmla="*/ 166720 w 388684"/>
                <a:gd name="connsiteY28" fmla="*/ 173857 h 446281"/>
                <a:gd name="connsiteX29" fmla="*/ 166720 w 388684"/>
                <a:gd name="connsiteY29" fmla="*/ 183394 h 446281"/>
                <a:gd name="connsiteX30" fmla="*/ 119132 w 388684"/>
                <a:gd name="connsiteY30" fmla="*/ 183394 h 446281"/>
                <a:gd name="connsiteX31" fmla="*/ 119132 w 388684"/>
                <a:gd name="connsiteY31" fmla="*/ 166219 h 446281"/>
                <a:gd name="connsiteX32" fmla="*/ 122929 w 388684"/>
                <a:gd name="connsiteY32" fmla="*/ 148139 h 446281"/>
                <a:gd name="connsiteX33" fmla="*/ 134362 w 388684"/>
                <a:gd name="connsiteY33" fmla="*/ 128159 h 446281"/>
                <a:gd name="connsiteX34" fmla="*/ 158134 w 388684"/>
                <a:gd name="connsiteY34" fmla="*/ 112927 h 446281"/>
                <a:gd name="connsiteX35" fmla="*/ 193383 w 388684"/>
                <a:gd name="connsiteY35" fmla="*/ 106238 h 446281"/>
                <a:gd name="connsiteX36" fmla="*/ 186701 w 388684"/>
                <a:gd name="connsiteY36" fmla="*/ 1456 h 446281"/>
                <a:gd name="connsiteX37" fmla="*/ 196241 w 388684"/>
                <a:gd name="connsiteY37" fmla="*/ 1456 h 446281"/>
                <a:gd name="connsiteX38" fmla="*/ 359157 w 388684"/>
                <a:gd name="connsiteY38" fmla="*/ 90024 h 446281"/>
                <a:gd name="connsiteX39" fmla="*/ 362956 w 388684"/>
                <a:gd name="connsiteY39" fmla="*/ 103361 h 446281"/>
                <a:gd name="connsiteX40" fmla="*/ 349617 w 388684"/>
                <a:gd name="connsiteY40" fmla="*/ 107159 h 446281"/>
                <a:gd name="connsiteX41" fmla="*/ 191493 w 388684"/>
                <a:gd name="connsiteY41" fmla="*/ 20491 h 446281"/>
                <a:gd name="connsiteX42" fmla="*/ 19037 w 388684"/>
                <a:gd name="connsiteY42" fmla="*/ 123345 h 446281"/>
                <a:gd name="connsiteX43" fmla="*/ 19037 w 388684"/>
                <a:gd name="connsiteY43" fmla="*/ 323400 h 446281"/>
                <a:gd name="connsiteX44" fmla="*/ 192443 w 388684"/>
                <a:gd name="connsiteY44" fmla="*/ 426254 h 446281"/>
                <a:gd name="connsiteX45" fmla="*/ 369647 w 388684"/>
                <a:gd name="connsiteY45" fmla="*/ 323400 h 446281"/>
                <a:gd name="connsiteX46" fmla="*/ 369647 w 388684"/>
                <a:gd name="connsiteY46" fmla="*/ 151918 h 446281"/>
                <a:gd name="connsiteX47" fmla="*/ 379144 w 388684"/>
                <a:gd name="connsiteY47" fmla="*/ 142422 h 446281"/>
                <a:gd name="connsiteX48" fmla="*/ 388684 w 388684"/>
                <a:gd name="connsiteY48" fmla="*/ 151918 h 446281"/>
                <a:gd name="connsiteX49" fmla="*/ 388684 w 388684"/>
                <a:gd name="connsiteY49" fmla="*/ 328147 h 446281"/>
                <a:gd name="connsiteX50" fmla="*/ 383936 w 388684"/>
                <a:gd name="connsiteY50" fmla="*/ 336737 h 446281"/>
                <a:gd name="connsiteX51" fmla="*/ 196241 w 388684"/>
                <a:gd name="connsiteY51" fmla="*/ 445331 h 446281"/>
                <a:gd name="connsiteX52" fmla="*/ 191493 w 388684"/>
                <a:gd name="connsiteY52" fmla="*/ 446281 h 446281"/>
                <a:gd name="connsiteX53" fmla="*/ 186701 w 388684"/>
                <a:gd name="connsiteY53" fmla="*/ 445331 h 446281"/>
                <a:gd name="connsiteX54" fmla="*/ 4748 w 388684"/>
                <a:gd name="connsiteY54" fmla="*/ 336737 h 446281"/>
                <a:gd name="connsiteX55" fmla="*/ 0 w 388684"/>
                <a:gd name="connsiteY55" fmla="*/ 328147 h 446281"/>
                <a:gd name="connsiteX56" fmla="*/ 0 w 388684"/>
                <a:gd name="connsiteY56" fmla="*/ 117648 h 446281"/>
                <a:gd name="connsiteX57" fmla="*/ 4748 w 388684"/>
                <a:gd name="connsiteY57" fmla="*/ 109058 h 4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88684" h="446281">
                  <a:moveTo>
                    <a:pt x="171466" y="299559"/>
                  </a:moveTo>
                  <a:lnTo>
                    <a:pt x="220046" y="299559"/>
                  </a:lnTo>
                  <a:lnTo>
                    <a:pt x="220046" y="347199"/>
                  </a:lnTo>
                  <a:lnTo>
                    <a:pt x="171466" y="347199"/>
                  </a:lnTo>
                  <a:close/>
                  <a:moveTo>
                    <a:pt x="193383" y="106238"/>
                  </a:moveTo>
                  <a:cubicBezTo>
                    <a:pt x="211461" y="106238"/>
                    <a:pt x="226691" y="110985"/>
                    <a:pt x="237175" y="117673"/>
                  </a:cubicBezTo>
                  <a:cubicBezTo>
                    <a:pt x="247659" y="125268"/>
                    <a:pt x="255252" y="132906"/>
                    <a:pt x="259092" y="141493"/>
                  </a:cubicBezTo>
                  <a:cubicBezTo>
                    <a:pt x="262889" y="150037"/>
                    <a:pt x="264787" y="157675"/>
                    <a:pt x="264787" y="165270"/>
                  </a:cubicBezTo>
                  <a:cubicBezTo>
                    <a:pt x="264787" y="172908"/>
                    <a:pt x="263838" y="179553"/>
                    <a:pt x="261939" y="185293"/>
                  </a:cubicBezTo>
                  <a:cubicBezTo>
                    <a:pt x="259092" y="191938"/>
                    <a:pt x="256244" y="196728"/>
                    <a:pt x="252405" y="200525"/>
                  </a:cubicBezTo>
                  <a:cubicBezTo>
                    <a:pt x="248608" y="204323"/>
                    <a:pt x="243862" y="208120"/>
                    <a:pt x="238124" y="211960"/>
                  </a:cubicBezTo>
                  <a:cubicBezTo>
                    <a:pt x="232429" y="215758"/>
                    <a:pt x="227640" y="218606"/>
                    <a:pt x="225741" y="221454"/>
                  </a:cubicBezTo>
                  <a:cubicBezTo>
                    <a:pt x="222894" y="224345"/>
                    <a:pt x="221945" y="227193"/>
                    <a:pt x="220996" y="230041"/>
                  </a:cubicBezTo>
                  <a:cubicBezTo>
                    <a:pt x="220046" y="232889"/>
                    <a:pt x="220046" y="240527"/>
                    <a:pt x="220046" y="251013"/>
                  </a:cubicBezTo>
                  <a:lnTo>
                    <a:pt x="220046" y="271942"/>
                  </a:lnTo>
                  <a:lnTo>
                    <a:pt x="172415" y="271942"/>
                  </a:lnTo>
                  <a:lnTo>
                    <a:pt x="171466" y="246223"/>
                  </a:lnTo>
                  <a:lnTo>
                    <a:pt x="171466" y="233839"/>
                  </a:lnTo>
                  <a:cubicBezTo>
                    <a:pt x="172415" y="229092"/>
                    <a:pt x="173407" y="223396"/>
                    <a:pt x="174357" y="218606"/>
                  </a:cubicBezTo>
                  <a:cubicBezTo>
                    <a:pt x="176255" y="213859"/>
                    <a:pt x="178153" y="208120"/>
                    <a:pt x="182899" y="203373"/>
                  </a:cubicBezTo>
                  <a:cubicBezTo>
                    <a:pt x="186696" y="197677"/>
                    <a:pt x="192434" y="192887"/>
                    <a:pt x="200027" y="189090"/>
                  </a:cubicBezTo>
                  <a:cubicBezTo>
                    <a:pt x="207664" y="184343"/>
                    <a:pt x="211461" y="180503"/>
                    <a:pt x="213359" y="178604"/>
                  </a:cubicBezTo>
                  <a:cubicBezTo>
                    <a:pt x="215301" y="175756"/>
                    <a:pt x="216250" y="171959"/>
                    <a:pt x="216250" y="166219"/>
                  </a:cubicBezTo>
                  <a:cubicBezTo>
                    <a:pt x="216250" y="160523"/>
                    <a:pt x="214308" y="155777"/>
                    <a:pt x="210512" y="151936"/>
                  </a:cubicBezTo>
                  <a:cubicBezTo>
                    <a:pt x="207664" y="150037"/>
                    <a:pt x="204816" y="149088"/>
                    <a:pt x="200027" y="148139"/>
                  </a:cubicBezTo>
                  <a:cubicBezTo>
                    <a:pt x="196231" y="147189"/>
                    <a:pt x="191485" y="146240"/>
                    <a:pt x="188637" y="146240"/>
                  </a:cubicBezTo>
                  <a:cubicBezTo>
                    <a:pt x="184798" y="146240"/>
                    <a:pt x="181001" y="147189"/>
                    <a:pt x="176255" y="150987"/>
                  </a:cubicBezTo>
                  <a:cubicBezTo>
                    <a:pt x="172415" y="153878"/>
                    <a:pt x="170517" y="157675"/>
                    <a:pt x="168618" y="160523"/>
                  </a:cubicBezTo>
                  <a:cubicBezTo>
                    <a:pt x="167669" y="164321"/>
                    <a:pt x="166720" y="169111"/>
                    <a:pt x="166720" y="173857"/>
                  </a:cubicBezTo>
                  <a:lnTo>
                    <a:pt x="166720" y="183394"/>
                  </a:lnTo>
                  <a:lnTo>
                    <a:pt x="119132" y="183394"/>
                  </a:lnTo>
                  <a:lnTo>
                    <a:pt x="119132" y="166219"/>
                  </a:lnTo>
                  <a:cubicBezTo>
                    <a:pt x="119132" y="161473"/>
                    <a:pt x="120081" y="154827"/>
                    <a:pt x="122929" y="148139"/>
                  </a:cubicBezTo>
                  <a:cubicBezTo>
                    <a:pt x="125776" y="140544"/>
                    <a:pt x="129573" y="134805"/>
                    <a:pt x="134362" y="128159"/>
                  </a:cubicBezTo>
                  <a:cubicBezTo>
                    <a:pt x="140057" y="122420"/>
                    <a:pt x="147693" y="117673"/>
                    <a:pt x="158134" y="112927"/>
                  </a:cubicBezTo>
                  <a:cubicBezTo>
                    <a:pt x="168618" y="109086"/>
                    <a:pt x="180052" y="106238"/>
                    <a:pt x="193383" y="106238"/>
                  </a:cubicBezTo>
                  <a:close/>
                  <a:moveTo>
                    <a:pt x="186701" y="1456"/>
                  </a:moveTo>
                  <a:cubicBezTo>
                    <a:pt x="189594" y="-486"/>
                    <a:pt x="193392" y="-486"/>
                    <a:pt x="196241" y="1456"/>
                  </a:cubicBezTo>
                  <a:lnTo>
                    <a:pt x="359157" y="90024"/>
                  </a:lnTo>
                  <a:cubicBezTo>
                    <a:pt x="363906" y="92873"/>
                    <a:pt x="365805" y="98613"/>
                    <a:pt x="362956" y="103361"/>
                  </a:cubicBezTo>
                  <a:cubicBezTo>
                    <a:pt x="360107" y="108109"/>
                    <a:pt x="354409" y="110008"/>
                    <a:pt x="349617" y="107159"/>
                  </a:cubicBezTo>
                  <a:lnTo>
                    <a:pt x="191493" y="20491"/>
                  </a:lnTo>
                  <a:lnTo>
                    <a:pt x="19037" y="123345"/>
                  </a:lnTo>
                  <a:lnTo>
                    <a:pt x="19037" y="323400"/>
                  </a:lnTo>
                  <a:lnTo>
                    <a:pt x="192443" y="426254"/>
                  </a:lnTo>
                  <a:lnTo>
                    <a:pt x="369647" y="323400"/>
                  </a:lnTo>
                  <a:lnTo>
                    <a:pt x="369647" y="151918"/>
                  </a:lnTo>
                  <a:cubicBezTo>
                    <a:pt x="369647" y="146221"/>
                    <a:pt x="373446" y="142422"/>
                    <a:pt x="379144" y="142422"/>
                  </a:cubicBezTo>
                  <a:cubicBezTo>
                    <a:pt x="384885" y="142422"/>
                    <a:pt x="388684" y="146221"/>
                    <a:pt x="388684" y="151918"/>
                  </a:cubicBezTo>
                  <a:lnTo>
                    <a:pt x="388684" y="328147"/>
                  </a:lnTo>
                  <a:cubicBezTo>
                    <a:pt x="388684" y="331946"/>
                    <a:pt x="386785" y="334837"/>
                    <a:pt x="383936" y="336737"/>
                  </a:cubicBezTo>
                  <a:lnTo>
                    <a:pt x="196241" y="445331"/>
                  </a:lnTo>
                  <a:cubicBezTo>
                    <a:pt x="195292" y="446281"/>
                    <a:pt x="193392" y="446281"/>
                    <a:pt x="191493" y="446281"/>
                  </a:cubicBezTo>
                  <a:cubicBezTo>
                    <a:pt x="189594" y="446281"/>
                    <a:pt x="187694" y="446281"/>
                    <a:pt x="186701" y="445331"/>
                  </a:cubicBezTo>
                  <a:lnTo>
                    <a:pt x="4748" y="336737"/>
                  </a:lnTo>
                  <a:cubicBezTo>
                    <a:pt x="1899" y="334837"/>
                    <a:pt x="0" y="331946"/>
                    <a:pt x="0" y="328147"/>
                  </a:cubicBezTo>
                  <a:lnTo>
                    <a:pt x="0" y="117648"/>
                  </a:lnTo>
                  <a:cubicBezTo>
                    <a:pt x="0" y="113849"/>
                    <a:pt x="1899" y="110958"/>
                    <a:pt x="4748" y="109058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  <p:sp>
          <p:nvSpPr>
            <p:cNvPr id="17" name="iconfont-11117-5237996"/>
            <p:cNvSpPr>
              <a:spLocks noChangeAspect="1"/>
            </p:cNvSpPr>
            <p:nvPr/>
          </p:nvSpPr>
          <p:spPr bwMode="auto">
            <a:xfrm>
              <a:off x="11301" y="8801"/>
              <a:ext cx="1417" cy="1627"/>
            </a:xfrm>
            <a:custGeom>
              <a:avLst/>
              <a:gdLst>
                <a:gd name="connsiteX0" fmla="*/ 171466 w 388684"/>
                <a:gd name="connsiteY0" fmla="*/ 299559 h 446281"/>
                <a:gd name="connsiteX1" fmla="*/ 220046 w 388684"/>
                <a:gd name="connsiteY1" fmla="*/ 299559 h 446281"/>
                <a:gd name="connsiteX2" fmla="*/ 220046 w 388684"/>
                <a:gd name="connsiteY2" fmla="*/ 347199 h 446281"/>
                <a:gd name="connsiteX3" fmla="*/ 171466 w 388684"/>
                <a:gd name="connsiteY3" fmla="*/ 347199 h 446281"/>
                <a:gd name="connsiteX4" fmla="*/ 193383 w 388684"/>
                <a:gd name="connsiteY4" fmla="*/ 106238 h 446281"/>
                <a:gd name="connsiteX5" fmla="*/ 237175 w 388684"/>
                <a:gd name="connsiteY5" fmla="*/ 117673 h 446281"/>
                <a:gd name="connsiteX6" fmla="*/ 259092 w 388684"/>
                <a:gd name="connsiteY6" fmla="*/ 141493 h 446281"/>
                <a:gd name="connsiteX7" fmla="*/ 264787 w 388684"/>
                <a:gd name="connsiteY7" fmla="*/ 165270 h 446281"/>
                <a:gd name="connsiteX8" fmla="*/ 261939 w 388684"/>
                <a:gd name="connsiteY8" fmla="*/ 185293 h 446281"/>
                <a:gd name="connsiteX9" fmla="*/ 252405 w 388684"/>
                <a:gd name="connsiteY9" fmla="*/ 200525 h 446281"/>
                <a:gd name="connsiteX10" fmla="*/ 238124 w 388684"/>
                <a:gd name="connsiteY10" fmla="*/ 211960 h 446281"/>
                <a:gd name="connsiteX11" fmla="*/ 225741 w 388684"/>
                <a:gd name="connsiteY11" fmla="*/ 221454 h 446281"/>
                <a:gd name="connsiteX12" fmla="*/ 220996 w 388684"/>
                <a:gd name="connsiteY12" fmla="*/ 230041 h 446281"/>
                <a:gd name="connsiteX13" fmla="*/ 220046 w 388684"/>
                <a:gd name="connsiteY13" fmla="*/ 251013 h 446281"/>
                <a:gd name="connsiteX14" fmla="*/ 220046 w 388684"/>
                <a:gd name="connsiteY14" fmla="*/ 271942 h 446281"/>
                <a:gd name="connsiteX15" fmla="*/ 172415 w 388684"/>
                <a:gd name="connsiteY15" fmla="*/ 271942 h 446281"/>
                <a:gd name="connsiteX16" fmla="*/ 171466 w 388684"/>
                <a:gd name="connsiteY16" fmla="*/ 246223 h 446281"/>
                <a:gd name="connsiteX17" fmla="*/ 171466 w 388684"/>
                <a:gd name="connsiteY17" fmla="*/ 233839 h 446281"/>
                <a:gd name="connsiteX18" fmla="*/ 174357 w 388684"/>
                <a:gd name="connsiteY18" fmla="*/ 218606 h 446281"/>
                <a:gd name="connsiteX19" fmla="*/ 182899 w 388684"/>
                <a:gd name="connsiteY19" fmla="*/ 203373 h 446281"/>
                <a:gd name="connsiteX20" fmla="*/ 200027 w 388684"/>
                <a:gd name="connsiteY20" fmla="*/ 189090 h 446281"/>
                <a:gd name="connsiteX21" fmla="*/ 213359 w 388684"/>
                <a:gd name="connsiteY21" fmla="*/ 178604 h 446281"/>
                <a:gd name="connsiteX22" fmla="*/ 216250 w 388684"/>
                <a:gd name="connsiteY22" fmla="*/ 166219 h 446281"/>
                <a:gd name="connsiteX23" fmla="*/ 210512 w 388684"/>
                <a:gd name="connsiteY23" fmla="*/ 151936 h 446281"/>
                <a:gd name="connsiteX24" fmla="*/ 200027 w 388684"/>
                <a:gd name="connsiteY24" fmla="*/ 148139 h 446281"/>
                <a:gd name="connsiteX25" fmla="*/ 188637 w 388684"/>
                <a:gd name="connsiteY25" fmla="*/ 146240 h 446281"/>
                <a:gd name="connsiteX26" fmla="*/ 176255 w 388684"/>
                <a:gd name="connsiteY26" fmla="*/ 150987 h 446281"/>
                <a:gd name="connsiteX27" fmla="*/ 168618 w 388684"/>
                <a:gd name="connsiteY27" fmla="*/ 160523 h 446281"/>
                <a:gd name="connsiteX28" fmla="*/ 166720 w 388684"/>
                <a:gd name="connsiteY28" fmla="*/ 173857 h 446281"/>
                <a:gd name="connsiteX29" fmla="*/ 166720 w 388684"/>
                <a:gd name="connsiteY29" fmla="*/ 183394 h 446281"/>
                <a:gd name="connsiteX30" fmla="*/ 119132 w 388684"/>
                <a:gd name="connsiteY30" fmla="*/ 183394 h 446281"/>
                <a:gd name="connsiteX31" fmla="*/ 119132 w 388684"/>
                <a:gd name="connsiteY31" fmla="*/ 166219 h 446281"/>
                <a:gd name="connsiteX32" fmla="*/ 122929 w 388684"/>
                <a:gd name="connsiteY32" fmla="*/ 148139 h 446281"/>
                <a:gd name="connsiteX33" fmla="*/ 134362 w 388684"/>
                <a:gd name="connsiteY33" fmla="*/ 128159 h 446281"/>
                <a:gd name="connsiteX34" fmla="*/ 158134 w 388684"/>
                <a:gd name="connsiteY34" fmla="*/ 112927 h 446281"/>
                <a:gd name="connsiteX35" fmla="*/ 193383 w 388684"/>
                <a:gd name="connsiteY35" fmla="*/ 106238 h 446281"/>
                <a:gd name="connsiteX36" fmla="*/ 186701 w 388684"/>
                <a:gd name="connsiteY36" fmla="*/ 1456 h 446281"/>
                <a:gd name="connsiteX37" fmla="*/ 196241 w 388684"/>
                <a:gd name="connsiteY37" fmla="*/ 1456 h 446281"/>
                <a:gd name="connsiteX38" fmla="*/ 359157 w 388684"/>
                <a:gd name="connsiteY38" fmla="*/ 90024 h 446281"/>
                <a:gd name="connsiteX39" fmla="*/ 362956 w 388684"/>
                <a:gd name="connsiteY39" fmla="*/ 103361 h 446281"/>
                <a:gd name="connsiteX40" fmla="*/ 349617 w 388684"/>
                <a:gd name="connsiteY40" fmla="*/ 107159 h 446281"/>
                <a:gd name="connsiteX41" fmla="*/ 191493 w 388684"/>
                <a:gd name="connsiteY41" fmla="*/ 20491 h 446281"/>
                <a:gd name="connsiteX42" fmla="*/ 19037 w 388684"/>
                <a:gd name="connsiteY42" fmla="*/ 123345 h 446281"/>
                <a:gd name="connsiteX43" fmla="*/ 19037 w 388684"/>
                <a:gd name="connsiteY43" fmla="*/ 323400 h 446281"/>
                <a:gd name="connsiteX44" fmla="*/ 192443 w 388684"/>
                <a:gd name="connsiteY44" fmla="*/ 426254 h 446281"/>
                <a:gd name="connsiteX45" fmla="*/ 369647 w 388684"/>
                <a:gd name="connsiteY45" fmla="*/ 323400 h 446281"/>
                <a:gd name="connsiteX46" fmla="*/ 369647 w 388684"/>
                <a:gd name="connsiteY46" fmla="*/ 151918 h 446281"/>
                <a:gd name="connsiteX47" fmla="*/ 379144 w 388684"/>
                <a:gd name="connsiteY47" fmla="*/ 142422 h 446281"/>
                <a:gd name="connsiteX48" fmla="*/ 388684 w 388684"/>
                <a:gd name="connsiteY48" fmla="*/ 151918 h 446281"/>
                <a:gd name="connsiteX49" fmla="*/ 388684 w 388684"/>
                <a:gd name="connsiteY49" fmla="*/ 328147 h 446281"/>
                <a:gd name="connsiteX50" fmla="*/ 383936 w 388684"/>
                <a:gd name="connsiteY50" fmla="*/ 336737 h 446281"/>
                <a:gd name="connsiteX51" fmla="*/ 196241 w 388684"/>
                <a:gd name="connsiteY51" fmla="*/ 445331 h 446281"/>
                <a:gd name="connsiteX52" fmla="*/ 191493 w 388684"/>
                <a:gd name="connsiteY52" fmla="*/ 446281 h 446281"/>
                <a:gd name="connsiteX53" fmla="*/ 186701 w 388684"/>
                <a:gd name="connsiteY53" fmla="*/ 445331 h 446281"/>
                <a:gd name="connsiteX54" fmla="*/ 4748 w 388684"/>
                <a:gd name="connsiteY54" fmla="*/ 336737 h 446281"/>
                <a:gd name="connsiteX55" fmla="*/ 0 w 388684"/>
                <a:gd name="connsiteY55" fmla="*/ 328147 h 446281"/>
                <a:gd name="connsiteX56" fmla="*/ 0 w 388684"/>
                <a:gd name="connsiteY56" fmla="*/ 117648 h 446281"/>
                <a:gd name="connsiteX57" fmla="*/ 4748 w 388684"/>
                <a:gd name="connsiteY57" fmla="*/ 109058 h 4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88684" h="446281">
                  <a:moveTo>
                    <a:pt x="171466" y="299559"/>
                  </a:moveTo>
                  <a:lnTo>
                    <a:pt x="220046" y="299559"/>
                  </a:lnTo>
                  <a:lnTo>
                    <a:pt x="220046" y="347199"/>
                  </a:lnTo>
                  <a:lnTo>
                    <a:pt x="171466" y="347199"/>
                  </a:lnTo>
                  <a:close/>
                  <a:moveTo>
                    <a:pt x="193383" y="106238"/>
                  </a:moveTo>
                  <a:cubicBezTo>
                    <a:pt x="211461" y="106238"/>
                    <a:pt x="226691" y="110985"/>
                    <a:pt x="237175" y="117673"/>
                  </a:cubicBezTo>
                  <a:cubicBezTo>
                    <a:pt x="247659" y="125268"/>
                    <a:pt x="255252" y="132906"/>
                    <a:pt x="259092" y="141493"/>
                  </a:cubicBezTo>
                  <a:cubicBezTo>
                    <a:pt x="262889" y="150037"/>
                    <a:pt x="264787" y="157675"/>
                    <a:pt x="264787" y="165270"/>
                  </a:cubicBezTo>
                  <a:cubicBezTo>
                    <a:pt x="264787" y="172908"/>
                    <a:pt x="263838" y="179553"/>
                    <a:pt x="261939" y="185293"/>
                  </a:cubicBezTo>
                  <a:cubicBezTo>
                    <a:pt x="259092" y="191938"/>
                    <a:pt x="256244" y="196728"/>
                    <a:pt x="252405" y="200525"/>
                  </a:cubicBezTo>
                  <a:cubicBezTo>
                    <a:pt x="248608" y="204323"/>
                    <a:pt x="243862" y="208120"/>
                    <a:pt x="238124" y="211960"/>
                  </a:cubicBezTo>
                  <a:cubicBezTo>
                    <a:pt x="232429" y="215758"/>
                    <a:pt x="227640" y="218606"/>
                    <a:pt x="225741" y="221454"/>
                  </a:cubicBezTo>
                  <a:cubicBezTo>
                    <a:pt x="222894" y="224345"/>
                    <a:pt x="221945" y="227193"/>
                    <a:pt x="220996" y="230041"/>
                  </a:cubicBezTo>
                  <a:cubicBezTo>
                    <a:pt x="220046" y="232889"/>
                    <a:pt x="220046" y="240527"/>
                    <a:pt x="220046" y="251013"/>
                  </a:cubicBezTo>
                  <a:lnTo>
                    <a:pt x="220046" y="271942"/>
                  </a:lnTo>
                  <a:lnTo>
                    <a:pt x="172415" y="271942"/>
                  </a:lnTo>
                  <a:lnTo>
                    <a:pt x="171466" y="246223"/>
                  </a:lnTo>
                  <a:lnTo>
                    <a:pt x="171466" y="233839"/>
                  </a:lnTo>
                  <a:cubicBezTo>
                    <a:pt x="172415" y="229092"/>
                    <a:pt x="173407" y="223396"/>
                    <a:pt x="174357" y="218606"/>
                  </a:cubicBezTo>
                  <a:cubicBezTo>
                    <a:pt x="176255" y="213859"/>
                    <a:pt x="178153" y="208120"/>
                    <a:pt x="182899" y="203373"/>
                  </a:cubicBezTo>
                  <a:cubicBezTo>
                    <a:pt x="186696" y="197677"/>
                    <a:pt x="192434" y="192887"/>
                    <a:pt x="200027" y="189090"/>
                  </a:cubicBezTo>
                  <a:cubicBezTo>
                    <a:pt x="207664" y="184343"/>
                    <a:pt x="211461" y="180503"/>
                    <a:pt x="213359" y="178604"/>
                  </a:cubicBezTo>
                  <a:cubicBezTo>
                    <a:pt x="215301" y="175756"/>
                    <a:pt x="216250" y="171959"/>
                    <a:pt x="216250" y="166219"/>
                  </a:cubicBezTo>
                  <a:cubicBezTo>
                    <a:pt x="216250" y="160523"/>
                    <a:pt x="214308" y="155777"/>
                    <a:pt x="210512" y="151936"/>
                  </a:cubicBezTo>
                  <a:cubicBezTo>
                    <a:pt x="207664" y="150037"/>
                    <a:pt x="204816" y="149088"/>
                    <a:pt x="200027" y="148139"/>
                  </a:cubicBezTo>
                  <a:cubicBezTo>
                    <a:pt x="196231" y="147189"/>
                    <a:pt x="191485" y="146240"/>
                    <a:pt x="188637" y="146240"/>
                  </a:cubicBezTo>
                  <a:cubicBezTo>
                    <a:pt x="184798" y="146240"/>
                    <a:pt x="181001" y="147189"/>
                    <a:pt x="176255" y="150987"/>
                  </a:cubicBezTo>
                  <a:cubicBezTo>
                    <a:pt x="172415" y="153878"/>
                    <a:pt x="170517" y="157675"/>
                    <a:pt x="168618" y="160523"/>
                  </a:cubicBezTo>
                  <a:cubicBezTo>
                    <a:pt x="167669" y="164321"/>
                    <a:pt x="166720" y="169111"/>
                    <a:pt x="166720" y="173857"/>
                  </a:cubicBezTo>
                  <a:lnTo>
                    <a:pt x="166720" y="183394"/>
                  </a:lnTo>
                  <a:lnTo>
                    <a:pt x="119132" y="183394"/>
                  </a:lnTo>
                  <a:lnTo>
                    <a:pt x="119132" y="166219"/>
                  </a:lnTo>
                  <a:cubicBezTo>
                    <a:pt x="119132" y="161473"/>
                    <a:pt x="120081" y="154827"/>
                    <a:pt x="122929" y="148139"/>
                  </a:cubicBezTo>
                  <a:cubicBezTo>
                    <a:pt x="125776" y="140544"/>
                    <a:pt x="129573" y="134805"/>
                    <a:pt x="134362" y="128159"/>
                  </a:cubicBezTo>
                  <a:cubicBezTo>
                    <a:pt x="140057" y="122420"/>
                    <a:pt x="147693" y="117673"/>
                    <a:pt x="158134" y="112927"/>
                  </a:cubicBezTo>
                  <a:cubicBezTo>
                    <a:pt x="168618" y="109086"/>
                    <a:pt x="180052" y="106238"/>
                    <a:pt x="193383" y="106238"/>
                  </a:cubicBezTo>
                  <a:close/>
                  <a:moveTo>
                    <a:pt x="186701" y="1456"/>
                  </a:moveTo>
                  <a:cubicBezTo>
                    <a:pt x="189594" y="-486"/>
                    <a:pt x="193392" y="-486"/>
                    <a:pt x="196241" y="1456"/>
                  </a:cubicBezTo>
                  <a:lnTo>
                    <a:pt x="359157" y="90024"/>
                  </a:lnTo>
                  <a:cubicBezTo>
                    <a:pt x="363906" y="92873"/>
                    <a:pt x="365805" y="98613"/>
                    <a:pt x="362956" y="103361"/>
                  </a:cubicBezTo>
                  <a:cubicBezTo>
                    <a:pt x="360107" y="108109"/>
                    <a:pt x="354409" y="110008"/>
                    <a:pt x="349617" y="107159"/>
                  </a:cubicBezTo>
                  <a:lnTo>
                    <a:pt x="191493" y="20491"/>
                  </a:lnTo>
                  <a:lnTo>
                    <a:pt x="19037" y="123345"/>
                  </a:lnTo>
                  <a:lnTo>
                    <a:pt x="19037" y="323400"/>
                  </a:lnTo>
                  <a:lnTo>
                    <a:pt x="192443" y="426254"/>
                  </a:lnTo>
                  <a:lnTo>
                    <a:pt x="369647" y="323400"/>
                  </a:lnTo>
                  <a:lnTo>
                    <a:pt x="369647" y="151918"/>
                  </a:lnTo>
                  <a:cubicBezTo>
                    <a:pt x="369647" y="146221"/>
                    <a:pt x="373446" y="142422"/>
                    <a:pt x="379144" y="142422"/>
                  </a:cubicBezTo>
                  <a:cubicBezTo>
                    <a:pt x="384885" y="142422"/>
                    <a:pt x="388684" y="146221"/>
                    <a:pt x="388684" y="151918"/>
                  </a:cubicBezTo>
                  <a:lnTo>
                    <a:pt x="388684" y="328147"/>
                  </a:lnTo>
                  <a:cubicBezTo>
                    <a:pt x="388684" y="331946"/>
                    <a:pt x="386785" y="334837"/>
                    <a:pt x="383936" y="336737"/>
                  </a:cubicBezTo>
                  <a:lnTo>
                    <a:pt x="196241" y="445331"/>
                  </a:lnTo>
                  <a:cubicBezTo>
                    <a:pt x="195292" y="446281"/>
                    <a:pt x="193392" y="446281"/>
                    <a:pt x="191493" y="446281"/>
                  </a:cubicBezTo>
                  <a:cubicBezTo>
                    <a:pt x="189594" y="446281"/>
                    <a:pt x="187694" y="446281"/>
                    <a:pt x="186701" y="445331"/>
                  </a:cubicBezTo>
                  <a:lnTo>
                    <a:pt x="4748" y="336737"/>
                  </a:lnTo>
                  <a:cubicBezTo>
                    <a:pt x="1899" y="334837"/>
                    <a:pt x="0" y="331946"/>
                    <a:pt x="0" y="328147"/>
                  </a:cubicBezTo>
                  <a:lnTo>
                    <a:pt x="0" y="117648"/>
                  </a:lnTo>
                  <a:cubicBezTo>
                    <a:pt x="0" y="113849"/>
                    <a:pt x="1899" y="110958"/>
                    <a:pt x="4748" y="109058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  <p:sp>
          <p:nvSpPr>
            <p:cNvPr id="18" name="iconfont-11117-5237996"/>
            <p:cNvSpPr>
              <a:spLocks noChangeAspect="1"/>
            </p:cNvSpPr>
            <p:nvPr/>
          </p:nvSpPr>
          <p:spPr bwMode="auto">
            <a:xfrm>
              <a:off x="11301" y="12468"/>
              <a:ext cx="1417" cy="1627"/>
            </a:xfrm>
            <a:custGeom>
              <a:avLst/>
              <a:gdLst>
                <a:gd name="connsiteX0" fmla="*/ 171466 w 388684"/>
                <a:gd name="connsiteY0" fmla="*/ 299559 h 446281"/>
                <a:gd name="connsiteX1" fmla="*/ 220046 w 388684"/>
                <a:gd name="connsiteY1" fmla="*/ 299559 h 446281"/>
                <a:gd name="connsiteX2" fmla="*/ 220046 w 388684"/>
                <a:gd name="connsiteY2" fmla="*/ 347199 h 446281"/>
                <a:gd name="connsiteX3" fmla="*/ 171466 w 388684"/>
                <a:gd name="connsiteY3" fmla="*/ 347199 h 446281"/>
                <a:gd name="connsiteX4" fmla="*/ 193383 w 388684"/>
                <a:gd name="connsiteY4" fmla="*/ 106238 h 446281"/>
                <a:gd name="connsiteX5" fmla="*/ 237175 w 388684"/>
                <a:gd name="connsiteY5" fmla="*/ 117673 h 446281"/>
                <a:gd name="connsiteX6" fmla="*/ 259092 w 388684"/>
                <a:gd name="connsiteY6" fmla="*/ 141493 h 446281"/>
                <a:gd name="connsiteX7" fmla="*/ 264787 w 388684"/>
                <a:gd name="connsiteY7" fmla="*/ 165270 h 446281"/>
                <a:gd name="connsiteX8" fmla="*/ 261939 w 388684"/>
                <a:gd name="connsiteY8" fmla="*/ 185293 h 446281"/>
                <a:gd name="connsiteX9" fmla="*/ 252405 w 388684"/>
                <a:gd name="connsiteY9" fmla="*/ 200525 h 446281"/>
                <a:gd name="connsiteX10" fmla="*/ 238124 w 388684"/>
                <a:gd name="connsiteY10" fmla="*/ 211960 h 446281"/>
                <a:gd name="connsiteX11" fmla="*/ 225741 w 388684"/>
                <a:gd name="connsiteY11" fmla="*/ 221454 h 446281"/>
                <a:gd name="connsiteX12" fmla="*/ 220996 w 388684"/>
                <a:gd name="connsiteY12" fmla="*/ 230041 h 446281"/>
                <a:gd name="connsiteX13" fmla="*/ 220046 w 388684"/>
                <a:gd name="connsiteY13" fmla="*/ 251013 h 446281"/>
                <a:gd name="connsiteX14" fmla="*/ 220046 w 388684"/>
                <a:gd name="connsiteY14" fmla="*/ 271942 h 446281"/>
                <a:gd name="connsiteX15" fmla="*/ 172415 w 388684"/>
                <a:gd name="connsiteY15" fmla="*/ 271942 h 446281"/>
                <a:gd name="connsiteX16" fmla="*/ 171466 w 388684"/>
                <a:gd name="connsiteY16" fmla="*/ 246223 h 446281"/>
                <a:gd name="connsiteX17" fmla="*/ 171466 w 388684"/>
                <a:gd name="connsiteY17" fmla="*/ 233839 h 446281"/>
                <a:gd name="connsiteX18" fmla="*/ 174357 w 388684"/>
                <a:gd name="connsiteY18" fmla="*/ 218606 h 446281"/>
                <a:gd name="connsiteX19" fmla="*/ 182899 w 388684"/>
                <a:gd name="connsiteY19" fmla="*/ 203373 h 446281"/>
                <a:gd name="connsiteX20" fmla="*/ 200027 w 388684"/>
                <a:gd name="connsiteY20" fmla="*/ 189090 h 446281"/>
                <a:gd name="connsiteX21" fmla="*/ 213359 w 388684"/>
                <a:gd name="connsiteY21" fmla="*/ 178604 h 446281"/>
                <a:gd name="connsiteX22" fmla="*/ 216250 w 388684"/>
                <a:gd name="connsiteY22" fmla="*/ 166219 h 446281"/>
                <a:gd name="connsiteX23" fmla="*/ 210512 w 388684"/>
                <a:gd name="connsiteY23" fmla="*/ 151936 h 446281"/>
                <a:gd name="connsiteX24" fmla="*/ 200027 w 388684"/>
                <a:gd name="connsiteY24" fmla="*/ 148139 h 446281"/>
                <a:gd name="connsiteX25" fmla="*/ 188637 w 388684"/>
                <a:gd name="connsiteY25" fmla="*/ 146240 h 446281"/>
                <a:gd name="connsiteX26" fmla="*/ 176255 w 388684"/>
                <a:gd name="connsiteY26" fmla="*/ 150987 h 446281"/>
                <a:gd name="connsiteX27" fmla="*/ 168618 w 388684"/>
                <a:gd name="connsiteY27" fmla="*/ 160523 h 446281"/>
                <a:gd name="connsiteX28" fmla="*/ 166720 w 388684"/>
                <a:gd name="connsiteY28" fmla="*/ 173857 h 446281"/>
                <a:gd name="connsiteX29" fmla="*/ 166720 w 388684"/>
                <a:gd name="connsiteY29" fmla="*/ 183394 h 446281"/>
                <a:gd name="connsiteX30" fmla="*/ 119132 w 388684"/>
                <a:gd name="connsiteY30" fmla="*/ 183394 h 446281"/>
                <a:gd name="connsiteX31" fmla="*/ 119132 w 388684"/>
                <a:gd name="connsiteY31" fmla="*/ 166219 h 446281"/>
                <a:gd name="connsiteX32" fmla="*/ 122929 w 388684"/>
                <a:gd name="connsiteY32" fmla="*/ 148139 h 446281"/>
                <a:gd name="connsiteX33" fmla="*/ 134362 w 388684"/>
                <a:gd name="connsiteY33" fmla="*/ 128159 h 446281"/>
                <a:gd name="connsiteX34" fmla="*/ 158134 w 388684"/>
                <a:gd name="connsiteY34" fmla="*/ 112927 h 446281"/>
                <a:gd name="connsiteX35" fmla="*/ 193383 w 388684"/>
                <a:gd name="connsiteY35" fmla="*/ 106238 h 446281"/>
                <a:gd name="connsiteX36" fmla="*/ 186701 w 388684"/>
                <a:gd name="connsiteY36" fmla="*/ 1456 h 446281"/>
                <a:gd name="connsiteX37" fmla="*/ 196241 w 388684"/>
                <a:gd name="connsiteY37" fmla="*/ 1456 h 446281"/>
                <a:gd name="connsiteX38" fmla="*/ 359157 w 388684"/>
                <a:gd name="connsiteY38" fmla="*/ 90024 h 446281"/>
                <a:gd name="connsiteX39" fmla="*/ 362956 w 388684"/>
                <a:gd name="connsiteY39" fmla="*/ 103361 h 446281"/>
                <a:gd name="connsiteX40" fmla="*/ 349617 w 388684"/>
                <a:gd name="connsiteY40" fmla="*/ 107159 h 446281"/>
                <a:gd name="connsiteX41" fmla="*/ 191493 w 388684"/>
                <a:gd name="connsiteY41" fmla="*/ 20491 h 446281"/>
                <a:gd name="connsiteX42" fmla="*/ 19037 w 388684"/>
                <a:gd name="connsiteY42" fmla="*/ 123345 h 446281"/>
                <a:gd name="connsiteX43" fmla="*/ 19037 w 388684"/>
                <a:gd name="connsiteY43" fmla="*/ 323400 h 446281"/>
                <a:gd name="connsiteX44" fmla="*/ 192443 w 388684"/>
                <a:gd name="connsiteY44" fmla="*/ 426254 h 446281"/>
                <a:gd name="connsiteX45" fmla="*/ 369647 w 388684"/>
                <a:gd name="connsiteY45" fmla="*/ 323400 h 446281"/>
                <a:gd name="connsiteX46" fmla="*/ 369647 w 388684"/>
                <a:gd name="connsiteY46" fmla="*/ 151918 h 446281"/>
                <a:gd name="connsiteX47" fmla="*/ 379144 w 388684"/>
                <a:gd name="connsiteY47" fmla="*/ 142422 h 446281"/>
                <a:gd name="connsiteX48" fmla="*/ 388684 w 388684"/>
                <a:gd name="connsiteY48" fmla="*/ 151918 h 446281"/>
                <a:gd name="connsiteX49" fmla="*/ 388684 w 388684"/>
                <a:gd name="connsiteY49" fmla="*/ 328147 h 446281"/>
                <a:gd name="connsiteX50" fmla="*/ 383936 w 388684"/>
                <a:gd name="connsiteY50" fmla="*/ 336737 h 446281"/>
                <a:gd name="connsiteX51" fmla="*/ 196241 w 388684"/>
                <a:gd name="connsiteY51" fmla="*/ 445331 h 446281"/>
                <a:gd name="connsiteX52" fmla="*/ 191493 w 388684"/>
                <a:gd name="connsiteY52" fmla="*/ 446281 h 446281"/>
                <a:gd name="connsiteX53" fmla="*/ 186701 w 388684"/>
                <a:gd name="connsiteY53" fmla="*/ 445331 h 446281"/>
                <a:gd name="connsiteX54" fmla="*/ 4748 w 388684"/>
                <a:gd name="connsiteY54" fmla="*/ 336737 h 446281"/>
                <a:gd name="connsiteX55" fmla="*/ 0 w 388684"/>
                <a:gd name="connsiteY55" fmla="*/ 328147 h 446281"/>
                <a:gd name="connsiteX56" fmla="*/ 0 w 388684"/>
                <a:gd name="connsiteY56" fmla="*/ 117648 h 446281"/>
                <a:gd name="connsiteX57" fmla="*/ 4748 w 388684"/>
                <a:gd name="connsiteY57" fmla="*/ 109058 h 4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88684" h="446281">
                  <a:moveTo>
                    <a:pt x="171466" y="299559"/>
                  </a:moveTo>
                  <a:lnTo>
                    <a:pt x="220046" y="299559"/>
                  </a:lnTo>
                  <a:lnTo>
                    <a:pt x="220046" y="347199"/>
                  </a:lnTo>
                  <a:lnTo>
                    <a:pt x="171466" y="347199"/>
                  </a:lnTo>
                  <a:close/>
                  <a:moveTo>
                    <a:pt x="193383" y="106238"/>
                  </a:moveTo>
                  <a:cubicBezTo>
                    <a:pt x="211461" y="106238"/>
                    <a:pt x="226691" y="110985"/>
                    <a:pt x="237175" y="117673"/>
                  </a:cubicBezTo>
                  <a:cubicBezTo>
                    <a:pt x="247659" y="125268"/>
                    <a:pt x="255252" y="132906"/>
                    <a:pt x="259092" y="141493"/>
                  </a:cubicBezTo>
                  <a:cubicBezTo>
                    <a:pt x="262889" y="150037"/>
                    <a:pt x="264787" y="157675"/>
                    <a:pt x="264787" y="165270"/>
                  </a:cubicBezTo>
                  <a:cubicBezTo>
                    <a:pt x="264787" y="172908"/>
                    <a:pt x="263838" y="179553"/>
                    <a:pt x="261939" y="185293"/>
                  </a:cubicBezTo>
                  <a:cubicBezTo>
                    <a:pt x="259092" y="191938"/>
                    <a:pt x="256244" y="196728"/>
                    <a:pt x="252405" y="200525"/>
                  </a:cubicBezTo>
                  <a:cubicBezTo>
                    <a:pt x="248608" y="204323"/>
                    <a:pt x="243862" y="208120"/>
                    <a:pt x="238124" y="211960"/>
                  </a:cubicBezTo>
                  <a:cubicBezTo>
                    <a:pt x="232429" y="215758"/>
                    <a:pt x="227640" y="218606"/>
                    <a:pt x="225741" y="221454"/>
                  </a:cubicBezTo>
                  <a:cubicBezTo>
                    <a:pt x="222894" y="224345"/>
                    <a:pt x="221945" y="227193"/>
                    <a:pt x="220996" y="230041"/>
                  </a:cubicBezTo>
                  <a:cubicBezTo>
                    <a:pt x="220046" y="232889"/>
                    <a:pt x="220046" y="240527"/>
                    <a:pt x="220046" y="251013"/>
                  </a:cubicBezTo>
                  <a:lnTo>
                    <a:pt x="220046" y="271942"/>
                  </a:lnTo>
                  <a:lnTo>
                    <a:pt x="172415" y="271942"/>
                  </a:lnTo>
                  <a:lnTo>
                    <a:pt x="171466" y="246223"/>
                  </a:lnTo>
                  <a:lnTo>
                    <a:pt x="171466" y="233839"/>
                  </a:lnTo>
                  <a:cubicBezTo>
                    <a:pt x="172415" y="229092"/>
                    <a:pt x="173407" y="223396"/>
                    <a:pt x="174357" y="218606"/>
                  </a:cubicBezTo>
                  <a:cubicBezTo>
                    <a:pt x="176255" y="213859"/>
                    <a:pt x="178153" y="208120"/>
                    <a:pt x="182899" y="203373"/>
                  </a:cubicBezTo>
                  <a:cubicBezTo>
                    <a:pt x="186696" y="197677"/>
                    <a:pt x="192434" y="192887"/>
                    <a:pt x="200027" y="189090"/>
                  </a:cubicBezTo>
                  <a:cubicBezTo>
                    <a:pt x="207664" y="184343"/>
                    <a:pt x="211461" y="180503"/>
                    <a:pt x="213359" y="178604"/>
                  </a:cubicBezTo>
                  <a:cubicBezTo>
                    <a:pt x="215301" y="175756"/>
                    <a:pt x="216250" y="171959"/>
                    <a:pt x="216250" y="166219"/>
                  </a:cubicBezTo>
                  <a:cubicBezTo>
                    <a:pt x="216250" y="160523"/>
                    <a:pt x="214308" y="155777"/>
                    <a:pt x="210512" y="151936"/>
                  </a:cubicBezTo>
                  <a:cubicBezTo>
                    <a:pt x="207664" y="150037"/>
                    <a:pt x="204816" y="149088"/>
                    <a:pt x="200027" y="148139"/>
                  </a:cubicBezTo>
                  <a:cubicBezTo>
                    <a:pt x="196231" y="147189"/>
                    <a:pt x="191485" y="146240"/>
                    <a:pt x="188637" y="146240"/>
                  </a:cubicBezTo>
                  <a:cubicBezTo>
                    <a:pt x="184798" y="146240"/>
                    <a:pt x="181001" y="147189"/>
                    <a:pt x="176255" y="150987"/>
                  </a:cubicBezTo>
                  <a:cubicBezTo>
                    <a:pt x="172415" y="153878"/>
                    <a:pt x="170517" y="157675"/>
                    <a:pt x="168618" y="160523"/>
                  </a:cubicBezTo>
                  <a:cubicBezTo>
                    <a:pt x="167669" y="164321"/>
                    <a:pt x="166720" y="169111"/>
                    <a:pt x="166720" y="173857"/>
                  </a:cubicBezTo>
                  <a:lnTo>
                    <a:pt x="166720" y="183394"/>
                  </a:lnTo>
                  <a:lnTo>
                    <a:pt x="119132" y="183394"/>
                  </a:lnTo>
                  <a:lnTo>
                    <a:pt x="119132" y="166219"/>
                  </a:lnTo>
                  <a:cubicBezTo>
                    <a:pt x="119132" y="161473"/>
                    <a:pt x="120081" y="154827"/>
                    <a:pt x="122929" y="148139"/>
                  </a:cubicBezTo>
                  <a:cubicBezTo>
                    <a:pt x="125776" y="140544"/>
                    <a:pt x="129573" y="134805"/>
                    <a:pt x="134362" y="128159"/>
                  </a:cubicBezTo>
                  <a:cubicBezTo>
                    <a:pt x="140057" y="122420"/>
                    <a:pt x="147693" y="117673"/>
                    <a:pt x="158134" y="112927"/>
                  </a:cubicBezTo>
                  <a:cubicBezTo>
                    <a:pt x="168618" y="109086"/>
                    <a:pt x="180052" y="106238"/>
                    <a:pt x="193383" y="106238"/>
                  </a:cubicBezTo>
                  <a:close/>
                  <a:moveTo>
                    <a:pt x="186701" y="1456"/>
                  </a:moveTo>
                  <a:cubicBezTo>
                    <a:pt x="189594" y="-486"/>
                    <a:pt x="193392" y="-486"/>
                    <a:pt x="196241" y="1456"/>
                  </a:cubicBezTo>
                  <a:lnTo>
                    <a:pt x="359157" y="90024"/>
                  </a:lnTo>
                  <a:cubicBezTo>
                    <a:pt x="363906" y="92873"/>
                    <a:pt x="365805" y="98613"/>
                    <a:pt x="362956" y="103361"/>
                  </a:cubicBezTo>
                  <a:cubicBezTo>
                    <a:pt x="360107" y="108109"/>
                    <a:pt x="354409" y="110008"/>
                    <a:pt x="349617" y="107159"/>
                  </a:cubicBezTo>
                  <a:lnTo>
                    <a:pt x="191493" y="20491"/>
                  </a:lnTo>
                  <a:lnTo>
                    <a:pt x="19037" y="123345"/>
                  </a:lnTo>
                  <a:lnTo>
                    <a:pt x="19037" y="323400"/>
                  </a:lnTo>
                  <a:lnTo>
                    <a:pt x="192443" y="426254"/>
                  </a:lnTo>
                  <a:lnTo>
                    <a:pt x="369647" y="323400"/>
                  </a:lnTo>
                  <a:lnTo>
                    <a:pt x="369647" y="151918"/>
                  </a:lnTo>
                  <a:cubicBezTo>
                    <a:pt x="369647" y="146221"/>
                    <a:pt x="373446" y="142422"/>
                    <a:pt x="379144" y="142422"/>
                  </a:cubicBezTo>
                  <a:cubicBezTo>
                    <a:pt x="384885" y="142422"/>
                    <a:pt x="388684" y="146221"/>
                    <a:pt x="388684" y="151918"/>
                  </a:cubicBezTo>
                  <a:lnTo>
                    <a:pt x="388684" y="328147"/>
                  </a:lnTo>
                  <a:cubicBezTo>
                    <a:pt x="388684" y="331946"/>
                    <a:pt x="386785" y="334837"/>
                    <a:pt x="383936" y="336737"/>
                  </a:cubicBezTo>
                  <a:lnTo>
                    <a:pt x="196241" y="445331"/>
                  </a:lnTo>
                  <a:cubicBezTo>
                    <a:pt x="195292" y="446281"/>
                    <a:pt x="193392" y="446281"/>
                    <a:pt x="191493" y="446281"/>
                  </a:cubicBezTo>
                  <a:cubicBezTo>
                    <a:pt x="189594" y="446281"/>
                    <a:pt x="187694" y="446281"/>
                    <a:pt x="186701" y="445331"/>
                  </a:cubicBezTo>
                  <a:lnTo>
                    <a:pt x="4748" y="336737"/>
                  </a:lnTo>
                  <a:cubicBezTo>
                    <a:pt x="1899" y="334837"/>
                    <a:pt x="0" y="331946"/>
                    <a:pt x="0" y="328147"/>
                  </a:cubicBezTo>
                  <a:lnTo>
                    <a:pt x="0" y="117648"/>
                  </a:lnTo>
                  <a:cubicBezTo>
                    <a:pt x="0" y="113849"/>
                    <a:pt x="1899" y="110958"/>
                    <a:pt x="4748" y="109058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  <p:sp>
          <p:nvSpPr>
            <p:cNvPr id="19" name="iconfont-11117-5237996"/>
            <p:cNvSpPr>
              <a:spLocks noChangeAspect="1"/>
            </p:cNvSpPr>
            <p:nvPr/>
          </p:nvSpPr>
          <p:spPr bwMode="auto">
            <a:xfrm>
              <a:off x="11301" y="15759"/>
              <a:ext cx="1417" cy="1627"/>
            </a:xfrm>
            <a:custGeom>
              <a:avLst/>
              <a:gdLst>
                <a:gd name="connsiteX0" fmla="*/ 171466 w 388684"/>
                <a:gd name="connsiteY0" fmla="*/ 299559 h 446281"/>
                <a:gd name="connsiteX1" fmla="*/ 220046 w 388684"/>
                <a:gd name="connsiteY1" fmla="*/ 299559 h 446281"/>
                <a:gd name="connsiteX2" fmla="*/ 220046 w 388684"/>
                <a:gd name="connsiteY2" fmla="*/ 347199 h 446281"/>
                <a:gd name="connsiteX3" fmla="*/ 171466 w 388684"/>
                <a:gd name="connsiteY3" fmla="*/ 347199 h 446281"/>
                <a:gd name="connsiteX4" fmla="*/ 193383 w 388684"/>
                <a:gd name="connsiteY4" fmla="*/ 106238 h 446281"/>
                <a:gd name="connsiteX5" fmla="*/ 237175 w 388684"/>
                <a:gd name="connsiteY5" fmla="*/ 117673 h 446281"/>
                <a:gd name="connsiteX6" fmla="*/ 259092 w 388684"/>
                <a:gd name="connsiteY6" fmla="*/ 141493 h 446281"/>
                <a:gd name="connsiteX7" fmla="*/ 264787 w 388684"/>
                <a:gd name="connsiteY7" fmla="*/ 165270 h 446281"/>
                <a:gd name="connsiteX8" fmla="*/ 261939 w 388684"/>
                <a:gd name="connsiteY8" fmla="*/ 185293 h 446281"/>
                <a:gd name="connsiteX9" fmla="*/ 252405 w 388684"/>
                <a:gd name="connsiteY9" fmla="*/ 200525 h 446281"/>
                <a:gd name="connsiteX10" fmla="*/ 238124 w 388684"/>
                <a:gd name="connsiteY10" fmla="*/ 211960 h 446281"/>
                <a:gd name="connsiteX11" fmla="*/ 225741 w 388684"/>
                <a:gd name="connsiteY11" fmla="*/ 221454 h 446281"/>
                <a:gd name="connsiteX12" fmla="*/ 220996 w 388684"/>
                <a:gd name="connsiteY12" fmla="*/ 230041 h 446281"/>
                <a:gd name="connsiteX13" fmla="*/ 220046 w 388684"/>
                <a:gd name="connsiteY13" fmla="*/ 251013 h 446281"/>
                <a:gd name="connsiteX14" fmla="*/ 220046 w 388684"/>
                <a:gd name="connsiteY14" fmla="*/ 271942 h 446281"/>
                <a:gd name="connsiteX15" fmla="*/ 172415 w 388684"/>
                <a:gd name="connsiteY15" fmla="*/ 271942 h 446281"/>
                <a:gd name="connsiteX16" fmla="*/ 171466 w 388684"/>
                <a:gd name="connsiteY16" fmla="*/ 246223 h 446281"/>
                <a:gd name="connsiteX17" fmla="*/ 171466 w 388684"/>
                <a:gd name="connsiteY17" fmla="*/ 233839 h 446281"/>
                <a:gd name="connsiteX18" fmla="*/ 174357 w 388684"/>
                <a:gd name="connsiteY18" fmla="*/ 218606 h 446281"/>
                <a:gd name="connsiteX19" fmla="*/ 182899 w 388684"/>
                <a:gd name="connsiteY19" fmla="*/ 203373 h 446281"/>
                <a:gd name="connsiteX20" fmla="*/ 200027 w 388684"/>
                <a:gd name="connsiteY20" fmla="*/ 189090 h 446281"/>
                <a:gd name="connsiteX21" fmla="*/ 213359 w 388684"/>
                <a:gd name="connsiteY21" fmla="*/ 178604 h 446281"/>
                <a:gd name="connsiteX22" fmla="*/ 216250 w 388684"/>
                <a:gd name="connsiteY22" fmla="*/ 166219 h 446281"/>
                <a:gd name="connsiteX23" fmla="*/ 210512 w 388684"/>
                <a:gd name="connsiteY23" fmla="*/ 151936 h 446281"/>
                <a:gd name="connsiteX24" fmla="*/ 200027 w 388684"/>
                <a:gd name="connsiteY24" fmla="*/ 148139 h 446281"/>
                <a:gd name="connsiteX25" fmla="*/ 188637 w 388684"/>
                <a:gd name="connsiteY25" fmla="*/ 146240 h 446281"/>
                <a:gd name="connsiteX26" fmla="*/ 176255 w 388684"/>
                <a:gd name="connsiteY26" fmla="*/ 150987 h 446281"/>
                <a:gd name="connsiteX27" fmla="*/ 168618 w 388684"/>
                <a:gd name="connsiteY27" fmla="*/ 160523 h 446281"/>
                <a:gd name="connsiteX28" fmla="*/ 166720 w 388684"/>
                <a:gd name="connsiteY28" fmla="*/ 173857 h 446281"/>
                <a:gd name="connsiteX29" fmla="*/ 166720 w 388684"/>
                <a:gd name="connsiteY29" fmla="*/ 183394 h 446281"/>
                <a:gd name="connsiteX30" fmla="*/ 119132 w 388684"/>
                <a:gd name="connsiteY30" fmla="*/ 183394 h 446281"/>
                <a:gd name="connsiteX31" fmla="*/ 119132 w 388684"/>
                <a:gd name="connsiteY31" fmla="*/ 166219 h 446281"/>
                <a:gd name="connsiteX32" fmla="*/ 122929 w 388684"/>
                <a:gd name="connsiteY32" fmla="*/ 148139 h 446281"/>
                <a:gd name="connsiteX33" fmla="*/ 134362 w 388684"/>
                <a:gd name="connsiteY33" fmla="*/ 128159 h 446281"/>
                <a:gd name="connsiteX34" fmla="*/ 158134 w 388684"/>
                <a:gd name="connsiteY34" fmla="*/ 112927 h 446281"/>
                <a:gd name="connsiteX35" fmla="*/ 193383 w 388684"/>
                <a:gd name="connsiteY35" fmla="*/ 106238 h 446281"/>
                <a:gd name="connsiteX36" fmla="*/ 186701 w 388684"/>
                <a:gd name="connsiteY36" fmla="*/ 1456 h 446281"/>
                <a:gd name="connsiteX37" fmla="*/ 196241 w 388684"/>
                <a:gd name="connsiteY37" fmla="*/ 1456 h 446281"/>
                <a:gd name="connsiteX38" fmla="*/ 359157 w 388684"/>
                <a:gd name="connsiteY38" fmla="*/ 90024 h 446281"/>
                <a:gd name="connsiteX39" fmla="*/ 362956 w 388684"/>
                <a:gd name="connsiteY39" fmla="*/ 103361 h 446281"/>
                <a:gd name="connsiteX40" fmla="*/ 349617 w 388684"/>
                <a:gd name="connsiteY40" fmla="*/ 107159 h 446281"/>
                <a:gd name="connsiteX41" fmla="*/ 191493 w 388684"/>
                <a:gd name="connsiteY41" fmla="*/ 20491 h 446281"/>
                <a:gd name="connsiteX42" fmla="*/ 19037 w 388684"/>
                <a:gd name="connsiteY42" fmla="*/ 123345 h 446281"/>
                <a:gd name="connsiteX43" fmla="*/ 19037 w 388684"/>
                <a:gd name="connsiteY43" fmla="*/ 323400 h 446281"/>
                <a:gd name="connsiteX44" fmla="*/ 192443 w 388684"/>
                <a:gd name="connsiteY44" fmla="*/ 426254 h 446281"/>
                <a:gd name="connsiteX45" fmla="*/ 369647 w 388684"/>
                <a:gd name="connsiteY45" fmla="*/ 323400 h 446281"/>
                <a:gd name="connsiteX46" fmla="*/ 369647 w 388684"/>
                <a:gd name="connsiteY46" fmla="*/ 151918 h 446281"/>
                <a:gd name="connsiteX47" fmla="*/ 379144 w 388684"/>
                <a:gd name="connsiteY47" fmla="*/ 142422 h 446281"/>
                <a:gd name="connsiteX48" fmla="*/ 388684 w 388684"/>
                <a:gd name="connsiteY48" fmla="*/ 151918 h 446281"/>
                <a:gd name="connsiteX49" fmla="*/ 388684 w 388684"/>
                <a:gd name="connsiteY49" fmla="*/ 328147 h 446281"/>
                <a:gd name="connsiteX50" fmla="*/ 383936 w 388684"/>
                <a:gd name="connsiteY50" fmla="*/ 336737 h 446281"/>
                <a:gd name="connsiteX51" fmla="*/ 196241 w 388684"/>
                <a:gd name="connsiteY51" fmla="*/ 445331 h 446281"/>
                <a:gd name="connsiteX52" fmla="*/ 191493 w 388684"/>
                <a:gd name="connsiteY52" fmla="*/ 446281 h 446281"/>
                <a:gd name="connsiteX53" fmla="*/ 186701 w 388684"/>
                <a:gd name="connsiteY53" fmla="*/ 445331 h 446281"/>
                <a:gd name="connsiteX54" fmla="*/ 4748 w 388684"/>
                <a:gd name="connsiteY54" fmla="*/ 336737 h 446281"/>
                <a:gd name="connsiteX55" fmla="*/ 0 w 388684"/>
                <a:gd name="connsiteY55" fmla="*/ 328147 h 446281"/>
                <a:gd name="connsiteX56" fmla="*/ 0 w 388684"/>
                <a:gd name="connsiteY56" fmla="*/ 117648 h 446281"/>
                <a:gd name="connsiteX57" fmla="*/ 4748 w 388684"/>
                <a:gd name="connsiteY57" fmla="*/ 109058 h 4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88684" h="446281">
                  <a:moveTo>
                    <a:pt x="171466" y="299559"/>
                  </a:moveTo>
                  <a:lnTo>
                    <a:pt x="220046" y="299559"/>
                  </a:lnTo>
                  <a:lnTo>
                    <a:pt x="220046" y="347199"/>
                  </a:lnTo>
                  <a:lnTo>
                    <a:pt x="171466" y="347199"/>
                  </a:lnTo>
                  <a:close/>
                  <a:moveTo>
                    <a:pt x="193383" y="106238"/>
                  </a:moveTo>
                  <a:cubicBezTo>
                    <a:pt x="211461" y="106238"/>
                    <a:pt x="226691" y="110985"/>
                    <a:pt x="237175" y="117673"/>
                  </a:cubicBezTo>
                  <a:cubicBezTo>
                    <a:pt x="247659" y="125268"/>
                    <a:pt x="255252" y="132906"/>
                    <a:pt x="259092" y="141493"/>
                  </a:cubicBezTo>
                  <a:cubicBezTo>
                    <a:pt x="262889" y="150037"/>
                    <a:pt x="264787" y="157675"/>
                    <a:pt x="264787" y="165270"/>
                  </a:cubicBezTo>
                  <a:cubicBezTo>
                    <a:pt x="264787" y="172908"/>
                    <a:pt x="263838" y="179553"/>
                    <a:pt x="261939" y="185293"/>
                  </a:cubicBezTo>
                  <a:cubicBezTo>
                    <a:pt x="259092" y="191938"/>
                    <a:pt x="256244" y="196728"/>
                    <a:pt x="252405" y="200525"/>
                  </a:cubicBezTo>
                  <a:cubicBezTo>
                    <a:pt x="248608" y="204323"/>
                    <a:pt x="243862" y="208120"/>
                    <a:pt x="238124" y="211960"/>
                  </a:cubicBezTo>
                  <a:cubicBezTo>
                    <a:pt x="232429" y="215758"/>
                    <a:pt x="227640" y="218606"/>
                    <a:pt x="225741" y="221454"/>
                  </a:cubicBezTo>
                  <a:cubicBezTo>
                    <a:pt x="222894" y="224345"/>
                    <a:pt x="221945" y="227193"/>
                    <a:pt x="220996" y="230041"/>
                  </a:cubicBezTo>
                  <a:cubicBezTo>
                    <a:pt x="220046" y="232889"/>
                    <a:pt x="220046" y="240527"/>
                    <a:pt x="220046" y="251013"/>
                  </a:cubicBezTo>
                  <a:lnTo>
                    <a:pt x="220046" y="271942"/>
                  </a:lnTo>
                  <a:lnTo>
                    <a:pt x="172415" y="271942"/>
                  </a:lnTo>
                  <a:lnTo>
                    <a:pt x="171466" y="246223"/>
                  </a:lnTo>
                  <a:lnTo>
                    <a:pt x="171466" y="233839"/>
                  </a:lnTo>
                  <a:cubicBezTo>
                    <a:pt x="172415" y="229092"/>
                    <a:pt x="173407" y="223396"/>
                    <a:pt x="174357" y="218606"/>
                  </a:cubicBezTo>
                  <a:cubicBezTo>
                    <a:pt x="176255" y="213859"/>
                    <a:pt x="178153" y="208120"/>
                    <a:pt x="182899" y="203373"/>
                  </a:cubicBezTo>
                  <a:cubicBezTo>
                    <a:pt x="186696" y="197677"/>
                    <a:pt x="192434" y="192887"/>
                    <a:pt x="200027" y="189090"/>
                  </a:cubicBezTo>
                  <a:cubicBezTo>
                    <a:pt x="207664" y="184343"/>
                    <a:pt x="211461" y="180503"/>
                    <a:pt x="213359" y="178604"/>
                  </a:cubicBezTo>
                  <a:cubicBezTo>
                    <a:pt x="215301" y="175756"/>
                    <a:pt x="216250" y="171959"/>
                    <a:pt x="216250" y="166219"/>
                  </a:cubicBezTo>
                  <a:cubicBezTo>
                    <a:pt x="216250" y="160523"/>
                    <a:pt x="214308" y="155777"/>
                    <a:pt x="210512" y="151936"/>
                  </a:cubicBezTo>
                  <a:cubicBezTo>
                    <a:pt x="207664" y="150037"/>
                    <a:pt x="204816" y="149088"/>
                    <a:pt x="200027" y="148139"/>
                  </a:cubicBezTo>
                  <a:cubicBezTo>
                    <a:pt x="196231" y="147189"/>
                    <a:pt x="191485" y="146240"/>
                    <a:pt x="188637" y="146240"/>
                  </a:cubicBezTo>
                  <a:cubicBezTo>
                    <a:pt x="184798" y="146240"/>
                    <a:pt x="181001" y="147189"/>
                    <a:pt x="176255" y="150987"/>
                  </a:cubicBezTo>
                  <a:cubicBezTo>
                    <a:pt x="172415" y="153878"/>
                    <a:pt x="170517" y="157675"/>
                    <a:pt x="168618" y="160523"/>
                  </a:cubicBezTo>
                  <a:cubicBezTo>
                    <a:pt x="167669" y="164321"/>
                    <a:pt x="166720" y="169111"/>
                    <a:pt x="166720" y="173857"/>
                  </a:cubicBezTo>
                  <a:lnTo>
                    <a:pt x="166720" y="183394"/>
                  </a:lnTo>
                  <a:lnTo>
                    <a:pt x="119132" y="183394"/>
                  </a:lnTo>
                  <a:lnTo>
                    <a:pt x="119132" y="166219"/>
                  </a:lnTo>
                  <a:cubicBezTo>
                    <a:pt x="119132" y="161473"/>
                    <a:pt x="120081" y="154827"/>
                    <a:pt x="122929" y="148139"/>
                  </a:cubicBezTo>
                  <a:cubicBezTo>
                    <a:pt x="125776" y="140544"/>
                    <a:pt x="129573" y="134805"/>
                    <a:pt x="134362" y="128159"/>
                  </a:cubicBezTo>
                  <a:cubicBezTo>
                    <a:pt x="140057" y="122420"/>
                    <a:pt x="147693" y="117673"/>
                    <a:pt x="158134" y="112927"/>
                  </a:cubicBezTo>
                  <a:cubicBezTo>
                    <a:pt x="168618" y="109086"/>
                    <a:pt x="180052" y="106238"/>
                    <a:pt x="193383" y="106238"/>
                  </a:cubicBezTo>
                  <a:close/>
                  <a:moveTo>
                    <a:pt x="186701" y="1456"/>
                  </a:moveTo>
                  <a:cubicBezTo>
                    <a:pt x="189594" y="-486"/>
                    <a:pt x="193392" y="-486"/>
                    <a:pt x="196241" y="1456"/>
                  </a:cubicBezTo>
                  <a:lnTo>
                    <a:pt x="359157" y="90024"/>
                  </a:lnTo>
                  <a:cubicBezTo>
                    <a:pt x="363906" y="92873"/>
                    <a:pt x="365805" y="98613"/>
                    <a:pt x="362956" y="103361"/>
                  </a:cubicBezTo>
                  <a:cubicBezTo>
                    <a:pt x="360107" y="108109"/>
                    <a:pt x="354409" y="110008"/>
                    <a:pt x="349617" y="107159"/>
                  </a:cubicBezTo>
                  <a:lnTo>
                    <a:pt x="191493" y="20491"/>
                  </a:lnTo>
                  <a:lnTo>
                    <a:pt x="19037" y="123345"/>
                  </a:lnTo>
                  <a:lnTo>
                    <a:pt x="19037" y="323400"/>
                  </a:lnTo>
                  <a:lnTo>
                    <a:pt x="192443" y="426254"/>
                  </a:lnTo>
                  <a:lnTo>
                    <a:pt x="369647" y="323400"/>
                  </a:lnTo>
                  <a:lnTo>
                    <a:pt x="369647" y="151918"/>
                  </a:lnTo>
                  <a:cubicBezTo>
                    <a:pt x="369647" y="146221"/>
                    <a:pt x="373446" y="142422"/>
                    <a:pt x="379144" y="142422"/>
                  </a:cubicBezTo>
                  <a:cubicBezTo>
                    <a:pt x="384885" y="142422"/>
                    <a:pt x="388684" y="146221"/>
                    <a:pt x="388684" y="151918"/>
                  </a:cubicBezTo>
                  <a:lnTo>
                    <a:pt x="388684" y="328147"/>
                  </a:lnTo>
                  <a:cubicBezTo>
                    <a:pt x="388684" y="331946"/>
                    <a:pt x="386785" y="334837"/>
                    <a:pt x="383936" y="336737"/>
                  </a:cubicBezTo>
                  <a:lnTo>
                    <a:pt x="196241" y="445331"/>
                  </a:lnTo>
                  <a:cubicBezTo>
                    <a:pt x="195292" y="446281"/>
                    <a:pt x="193392" y="446281"/>
                    <a:pt x="191493" y="446281"/>
                  </a:cubicBezTo>
                  <a:cubicBezTo>
                    <a:pt x="189594" y="446281"/>
                    <a:pt x="187694" y="446281"/>
                    <a:pt x="186701" y="445331"/>
                  </a:cubicBezTo>
                  <a:lnTo>
                    <a:pt x="4748" y="336737"/>
                  </a:lnTo>
                  <a:cubicBezTo>
                    <a:pt x="1899" y="334837"/>
                    <a:pt x="0" y="331946"/>
                    <a:pt x="0" y="328147"/>
                  </a:cubicBezTo>
                  <a:lnTo>
                    <a:pt x="0" y="117648"/>
                  </a:lnTo>
                  <a:cubicBezTo>
                    <a:pt x="0" y="113849"/>
                    <a:pt x="1899" y="110958"/>
                    <a:pt x="4748" y="109058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396811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  <a:sym typeface="+mn-ea"/>
              </a:rPr>
              <a:t>挑战与发展</a:t>
            </a:r>
            <a:endParaRPr lang="zh-CN" altLang="en-US" sz="4400">
              <a:latin typeface="仿宋" panose="02010609060101010101" charset="-122"/>
              <a:ea typeface="仿宋" panose="02010609060101010101" charset="-122"/>
              <a:sym typeface="+mn-ea"/>
            </a:endParaRPr>
          </a:p>
          <a:p>
            <a:r>
              <a:rPr lang="en-US" altLang="zh-CN" sz="2800">
                <a:latin typeface="仿宋" panose="02010609060101010101" charset="-122"/>
                <a:ea typeface="仿宋" panose="02010609060101010101" charset="-122"/>
              </a:rPr>
              <a:t>--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</a:rPr>
              <a:t>未来</a:t>
            </a:r>
            <a:r>
              <a:rPr lang="zh-CN" altLang="en-US" sz="2800">
                <a:latin typeface="仿宋" panose="02010609060101010101" charset="-122"/>
                <a:ea typeface="仿宋" panose="02010609060101010101" charset="-122"/>
              </a:rPr>
              <a:t>发展</a:t>
            </a:r>
            <a:endParaRPr lang="zh-CN" altLang="en-US" sz="2800">
              <a:latin typeface="仿宋" panose="02010609060101010101" charset="-122"/>
              <a:ea typeface="仿宋" panose="02010609060101010101" charset="-122"/>
            </a:endParaRPr>
          </a:p>
        </p:txBody>
      </p:sp>
      <p:grpSp>
        <p:nvGrpSpPr>
          <p:cNvPr id="21" name="ELGrUBUzXt8VKCN组合 20"/>
          <p:cNvGrpSpPr/>
          <p:nvPr/>
        </p:nvGrpSpPr>
        <p:grpSpPr>
          <a:xfrm>
            <a:off x="3811270" y="2491740"/>
            <a:ext cx="13289280" cy="8632825"/>
            <a:chOff x="10769" y="4504"/>
            <a:chExt cx="20928" cy="13595"/>
          </a:xfrm>
        </p:grpSpPr>
        <p:sp>
          <p:nvSpPr>
            <p:cNvPr id="52" name="圆角矩形 51"/>
            <p:cNvSpPr/>
            <p:nvPr/>
          </p:nvSpPr>
          <p:spPr>
            <a:xfrm>
              <a:off x="10770" y="4504"/>
              <a:ext cx="20927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0769" y="8044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3" name="圆角矩形 22"/>
            <p:cNvSpPr/>
            <p:nvPr/>
          </p:nvSpPr>
          <p:spPr>
            <a:xfrm>
              <a:off x="10769" y="11608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10769" y="15045"/>
              <a:ext cx="20928" cy="3054"/>
            </a:xfrm>
            <a:prstGeom prst="roundRect">
              <a:avLst/>
            </a:prstGeom>
            <a:noFill/>
            <a:ln w="22225">
              <a:solidFill>
                <a:schemeClr val="bg1">
                  <a:lumMod val="85000"/>
                </a:schemeClr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13577" y="5741"/>
              <a:ext cx="1180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lvl="0" algn="l">
                <a:buClrTx/>
                <a:buSzTx/>
                <a:buFont typeface="Arial" panose="020B0604020202020204" pitchFamily="34" charset="0"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建立资历架构和标准体系，获取市场信任</a:t>
              </a:r>
              <a:endParaRPr lang="zh-CN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3405" y="16113"/>
              <a:ext cx="540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提高其社会认知度</a:t>
              </a:r>
              <a:endParaRPr lang="zh-CN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13513" y="12822"/>
              <a:ext cx="1436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lvl="0" algn="l">
                <a:buClrTx/>
                <a:buSzTx/>
                <a:buFont typeface="Arial" panose="020B0604020202020204" pitchFamily="34" charset="0"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提高技术可靠性，发挥技术对商业模式的支持作用</a:t>
              </a:r>
              <a:endParaRPr lang="zh-CN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3505" y="9155"/>
              <a:ext cx="11168" cy="91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p>
              <a:pPr lvl="0" algn="l">
                <a:buClrTx/>
                <a:buSzTx/>
                <a:buFont typeface="Arial" panose="020B0604020202020204" pitchFamily="34" charset="0"/>
              </a:pPr>
              <a:r>
                <a:rPr lang="zh-CN" sz="3200" b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集聚学习者和教育机构，形成人群基数</a:t>
              </a:r>
              <a:endParaRPr lang="zh-CN" sz="3200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30" name="iconfont-11253-5327488"/>
          <p:cNvSpPr>
            <a:spLocks noChangeAspect="1"/>
          </p:cNvSpPr>
          <p:nvPr/>
        </p:nvSpPr>
        <p:spPr bwMode="auto">
          <a:xfrm>
            <a:off x="4287520" y="3202305"/>
            <a:ext cx="734060" cy="732790"/>
          </a:xfrm>
          <a:custGeom>
            <a:avLst/>
            <a:gdLst>
              <a:gd name="T0" fmla="*/ 9959 w 10021"/>
              <a:gd name="T1" fmla="*/ 662 h 10000"/>
              <a:gd name="T2" fmla="*/ 5414 w 10021"/>
              <a:gd name="T3" fmla="*/ 9752 h 10000"/>
              <a:gd name="T4" fmla="*/ 5009 w 10021"/>
              <a:gd name="T5" fmla="*/ 10000 h 10000"/>
              <a:gd name="T6" fmla="*/ 4902 w 10021"/>
              <a:gd name="T7" fmla="*/ 9985 h 10000"/>
              <a:gd name="T8" fmla="*/ 4650 w 10021"/>
              <a:gd name="T9" fmla="*/ 9825 h 10000"/>
              <a:gd name="T10" fmla="*/ 4555 w 10021"/>
              <a:gd name="T11" fmla="*/ 9544 h 10000"/>
              <a:gd name="T12" fmla="*/ 4555 w 10021"/>
              <a:gd name="T13" fmla="*/ 5455 h 10000"/>
              <a:gd name="T14" fmla="*/ 465 w 10021"/>
              <a:gd name="T15" fmla="*/ 5455 h 10000"/>
              <a:gd name="T16" fmla="*/ 184 w 10021"/>
              <a:gd name="T17" fmla="*/ 5360 h 10000"/>
              <a:gd name="T18" fmla="*/ 24 w 10021"/>
              <a:gd name="T19" fmla="*/ 5107 h 10000"/>
              <a:gd name="T20" fmla="*/ 52 w 10021"/>
              <a:gd name="T21" fmla="*/ 4808 h 10000"/>
              <a:gd name="T22" fmla="*/ 259 w 10021"/>
              <a:gd name="T23" fmla="*/ 4595 h 10000"/>
              <a:gd name="T24" fmla="*/ 9349 w 10021"/>
              <a:gd name="T25" fmla="*/ 50 h 10000"/>
              <a:gd name="T26" fmla="*/ 9555 w 10021"/>
              <a:gd name="T27" fmla="*/ 0 h 10000"/>
              <a:gd name="T28" fmla="*/ 9874 w 10021"/>
              <a:gd name="T29" fmla="*/ 135 h 10000"/>
              <a:gd name="T30" fmla="*/ 10005 w 10021"/>
              <a:gd name="T31" fmla="*/ 380 h 10000"/>
              <a:gd name="T32" fmla="*/ 9959 w 10021"/>
              <a:gd name="T33" fmla="*/ 662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21" h="10000">
                <a:moveTo>
                  <a:pt x="9959" y="662"/>
                </a:moveTo>
                <a:lnTo>
                  <a:pt x="5414" y="9752"/>
                </a:lnTo>
                <a:cubicBezTo>
                  <a:pt x="5334" y="9919"/>
                  <a:pt x="5199" y="10000"/>
                  <a:pt x="5009" y="10000"/>
                </a:cubicBezTo>
                <a:cubicBezTo>
                  <a:pt x="4985" y="10000"/>
                  <a:pt x="4949" y="9995"/>
                  <a:pt x="4902" y="9985"/>
                </a:cubicBezTo>
                <a:cubicBezTo>
                  <a:pt x="4799" y="9961"/>
                  <a:pt x="4714" y="9907"/>
                  <a:pt x="4650" y="9825"/>
                </a:cubicBezTo>
                <a:cubicBezTo>
                  <a:pt x="4586" y="9744"/>
                  <a:pt x="4555" y="9649"/>
                  <a:pt x="4555" y="9544"/>
                </a:cubicBezTo>
                <a:lnTo>
                  <a:pt x="4555" y="5455"/>
                </a:lnTo>
                <a:lnTo>
                  <a:pt x="465" y="5455"/>
                </a:lnTo>
                <a:cubicBezTo>
                  <a:pt x="361" y="5455"/>
                  <a:pt x="269" y="5423"/>
                  <a:pt x="184" y="5360"/>
                </a:cubicBezTo>
                <a:cubicBezTo>
                  <a:pt x="102" y="5296"/>
                  <a:pt x="47" y="5212"/>
                  <a:pt x="24" y="5107"/>
                </a:cubicBezTo>
                <a:cubicBezTo>
                  <a:pt x="0" y="5003"/>
                  <a:pt x="9" y="4905"/>
                  <a:pt x="52" y="4808"/>
                </a:cubicBezTo>
                <a:cubicBezTo>
                  <a:pt x="96" y="4715"/>
                  <a:pt x="162" y="4642"/>
                  <a:pt x="259" y="4595"/>
                </a:cubicBezTo>
                <a:lnTo>
                  <a:pt x="9349" y="50"/>
                </a:lnTo>
                <a:cubicBezTo>
                  <a:pt x="9410" y="16"/>
                  <a:pt x="9479" y="0"/>
                  <a:pt x="9555" y="0"/>
                </a:cubicBezTo>
                <a:cubicBezTo>
                  <a:pt x="9684" y="0"/>
                  <a:pt x="9789" y="45"/>
                  <a:pt x="9874" y="135"/>
                </a:cubicBezTo>
                <a:cubicBezTo>
                  <a:pt x="9945" y="200"/>
                  <a:pt x="9989" y="282"/>
                  <a:pt x="10005" y="380"/>
                </a:cubicBezTo>
                <a:cubicBezTo>
                  <a:pt x="10021" y="480"/>
                  <a:pt x="10006" y="572"/>
                  <a:pt x="9959" y="662"/>
                </a:cubicBezTo>
                <a:close/>
              </a:path>
            </a:pathLst>
          </a:custGeom>
          <a:gradFill>
            <a:gsLst>
              <a:gs pos="0">
                <a:srgbClr val="14CD68"/>
              </a:gs>
              <a:gs pos="100000">
                <a:srgbClr val="035C7D"/>
              </a:gs>
            </a:gsLst>
            <a:lin scaled="0"/>
          </a:gradFill>
          <a:ln>
            <a:noFill/>
          </a:ln>
        </p:spPr>
      </p:sp>
      <p:sp>
        <p:nvSpPr>
          <p:cNvPr id="31" name="iconfont-11253-5327488"/>
          <p:cNvSpPr>
            <a:spLocks noChangeAspect="1"/>
          </p:cNvSpPr>
          <p:nvPr/>
        </p:nvSpPr>
        <p:spPr bwMode="auto">
          <a:xfrm>
            <a:off x="4287520" y="5370830"/>
            <a:ext cx="734060" cy="732790"/>
          </a:xfrm>
          <a:custGeom>
            <a:avLst/>
            <a:gdLst>
              <a:gd name="T0" fmla="*/ 9959 w 10021"/>
              <a:gd name="T1" fmla="*/ 662 h 10000"/>
              <a:gd name="T2" fmla="*/ 5414 w 10021"/>
              <a:gd name="T3" fmla="*/ 9752 h 10000"/>
              <a:gd name="T4" fmla="*/ 5009 w 10021"/>
              <a:gd name="T5" fmla="*/ 10000 h 10000"/>
              <a:gd name="T6" fmla="*/ 4902 w 10021"/>
              <a:gd name="T7" fmla="*/ 9985 h 10000"/>
              <a:gd name="T8" fmla="*/ 4650 w 10021"/>
              <a:gd name="T9" fmla="*/ 9825 h 10000"/>
              <a:gd name="T10" fmla="*/ 4555 w 10021"/>
              <a:gd name="T11" fmla="*/ 9544 h 10000"/>
              <a:gd name="T12" fmla="*/ 4555 w 10021"/>
              <a:gd name="T13" fmla="*/ 5455 h 10000"/>
              <a:gd name="T14" fmla="*/ 465 w 10021"/>
              <a:gd name="T15" fmla="*/ 5455 h 10000"/>
              <a:gd name="T16" fmla="*/ 184 w 10021"/>
              <a:gd name="T17" fmla="*/ 5360 h 10000"/>
              <a:gd name="T18" fmla="*/ 24 w 10021"/>
              <a:gd name="T19" fmla="*/ 5107 h 10000"/>
              <a:gd name="T20" fmla="*/ 52 w 10021"/>
              <a:gd name="T21" fmla="*/ 4808 h 10000"/>
              <a:gd name="T22" fmla="*/ 259 w 10021"/>
              <a:gd name="T23" fmla="*/ 4595 h 10000"/>
              <a:gd name="T24" fmla="*/ 9349 w 10021"/>
              <a:gd name="T25" fmla="*/ 50 h 10000"/>
              <a:gd name="T26" fmla="*/ 9555 w 10021"/>
              <a:gd name="T27" fmla="*/ 0 h 10000"/>
              <a:gd name="T28" fmla="*/ 9874 w 10021"/>
              <a:gd name="T29" fmla="*/ 135 h 10000"/>
              <a:gd name="T30" fmla="*/ 10005 w 10021"/>
              <a:gd name="T31" fmla="*/ 380 h 10000"/>
              <a:gd name="T32" fmla="*/ 9959 w 10021"/>
              <a:gd name="T33" fmla="*/ 662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21" h="10000">
                <a:moveTo>
                  <a:pt x="9959" y="662"/>
                </a:moveTo>
                <a:lnTo>
                  <a:pt x="5414" y="9752"/>
                </a:lnTo>
                <a:cubicBezTo>
                  <a:pt x="5334" y="9919"/>
                  <a:pt x="5199" y="10000"/>
                  <a:pt x="5009" y="10000"/>
                </a:cubicBezTo>
                <a:cubicBezTo>
                  <a:pt x="4985" y="10000"/>
                  <a:pt x="4949" y="9995"/>
                  <a:pt x="4902" y="9985"/>
                </a:cubicBezTo>
                <a:cubicBezTo>
                  <a:pt x="4799" y="9961"/>
                  <a:pt x="4714" y="9907"/>
                  <a:pt x="4650" y="9825"/>
                </a:cubicBezTo>
                <a:cubicBezTo>
                  <a:pt x="4586" y="9744"/>
                  <a:pt x="4555" y="9649"/>
                  <a:pt x="4555" y="9544"/>
                </a:cubicBezTo>
                <a:lnTo>
                  <a:pt x="4555" y="5455"/>
                </a:lnTo>
                <a:lnTo>
                  <a:pt x="465" y="5455"/>
                </a:lnTo>
                <a:cubicBezTo>
                  <a:pt x="361" y="5455"/>
                  <a:pt x="269" y="5423"/>
                  <a:pt x="184" y="5360"/>
                </a:cubicBezTo>
                <a:cubicBezTo>
                  <a:pt x="102" y="5296"/>
                  <a:pt x="47" y="5212"/>
                  <a:pt x="24" y="5107"/>
                </a:cubicBezTo>
                <a:cubicBezTo>
                  <a:pt x="0" y="5003"/>
                  <a:pt x="9" y="4905"/>
                  <a:pt x="52" y="4808"/>
                </a:cubicBezTo>
                <a:cubicBezTo>
                  <a:pt x="96" y="4715"/>
                  <a:pt x="162" y="4642"/>
                  <a:pt x="259" y="4595"/>
                </a:cubicBezTo>
                <a:lnTo>
                  <a:pt x="9349" y="50"/>
                </a:lnTo>
                <a:cubicBezTo>
                  <a:pt x="9410" y="16"/>
                  <a:pt x="9479" y="0"/>
                  <a:pt x="9555" y="0"/>
                </a:cubicBezTo>
                <a:cubicBezTo>
                  <a:pt x="9684" y="0"/>
                  <a:pt x="9789" y="45"/>
                  <a:pt x="9874" y="135"/>
                </a:cubicBezTo>
                <a:cubicBezTo>
                  <a:pt x="9945" y="200"/>
                  <a:pt x="9989" y="282"/>
                  <a:pt x="10005" y="380"/>
                </a:cubicBezTo>
                <a:cubicBezTo>
                  <a:pt x="10021" y="480"/>
                  <a:pt x="10006" y="572"/>
                  <a:pt x="9959" y="662"/>
                </a:cubicBezTo>
                <a:close/>
              </a:path>
            </a:pathLst>
          </a:custGeom>
          <a:gradFill>
            <a:gsLst>
              <a:gs pos="0">
                <a:srgbClr val="14CD68"/>
              </a:gs>
              <a:gs pos="100000">
                <a:srgbClr val="035C7D"/>
              </a:gs>
            </a:gsLst>
            <a:lin scaled="0"/>
          </a:gradFill>
          <a:ln>
            <a:noFill/>
          </a:ln>
        </p:spPr>
      </p:sp>
      <p:sp>
        <p:nvSpPr>
          <p:cNvPr id="32" name="iconfont-11253-5327488"/>
          <p:cNvSpPr>
            <a:spLocks noChangeAspect="1"/>
          </p:cNvSpPr>
          <p:nvPr/>
        </p:nvSpPr>
        <p:spPr bwMode="auto">
          <a:xfrm>
            <a:off x="4287520" y="7699375"/>
            <a:ext cx="734060" cy="732790"/>
          </a:xfrm>
          <a:custGeom>
            <a:avLst/>
            <a:gdLst>
              <a:gd name="T0" fmla="*/ 9959 w 10021"/>
              <a:gd name="T1" fmla="*/ 662 h 10000"/>
              <a:gd name="T2" fmla="*/ 5414 w 10021"/>
              <a:gd name="T3" fmla="*/ 9752 h 10000"/>
              <a:gd name="T4" fmla="*/ 5009 w 10021"/>
              <a:gd name="T5" fmla="*/ 10000 h 10000"/>
              <a:gd name="T6" fmla="*/ 4902 w 10021"/>
              <a:gd name="T7" fmla="*/ 9985 h 10000"/>
              <a:gd name="T8" fmla="*/ 4650 w 10021"/>
              <a:gd name="T9" fmla="*/ 9825 h 10000"/>
              <a:gd name="T10" fmla="*/ 4555 w 10021"/>
              <a:gd name="T11" fmla="*/ 9544 h 10000"/>
              <a:gd name="T12" fmla="*/ 4555 w 10021"/>
              <a:gd name="T13" fmla="*/ 5455 h 10000"/>
              <a:gd name="T14" fmla="*/ 465 w 10021"/>
              <a:gd name="T15" fmla="*/ 5455 h 10000"/>
              <a:gd name="T16" fmla="*/ 184 w 10021"/>
              <a:gd name="T17" fmla="*/ 5360 h 10000"/>
              <a:gd name="T18" fmla="*/ 24 w 10021"/>
              <a:gd name="T19" fmla="*/ 5107 h 10000"/>
              <a:gd name="T20" fmla="*/ 52 w 10021"/>
              <a:gd name="T21" fmla="*/ 4808 h 10000"/>
              <a:gd name="T22" fmla="*/ 259 w 10021"/>
              <a:gd name="T23" fmla="*/ 4595 h 10000"/>
              <a:gd name="T24" fmla="*/ 9349 w 10021"/>
              <a:gd name="T25" fmla="*/ 50 h 10000"/>
              <a:gd name="T26" fmla="*/ 9555 w 10021"/>
              <a:gd name="T27" fmla="*/ 0 h 10000"/>
              <a:gd name="T28" fmla="*/ 9874 w 10021"/>
              <a:gd name="T29" fmla="*/ 135 h 10000"/>
              <a:gd name="T30" fmla="*/ 10005 w 10021"/>
              <a:gd name="T31" fmla="*/ 380 h 10000"/>
              <a:gd name="T32" fmla="*/ 9959 w 10021"/>
              <a:gd name="T33" fmla="*/ 662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21" h="10000">
                <a:moveTo>
                  <a:pt x="9959" y="662"/>
                </a:moveTo>
                <a:lnTo>
                  <a:pt x="5414" y="9752"/>
                </a:lnTo>
                <a:cubicBezTo>
                  <a:pt x="5334" y="9919"/>
                  <a:pt x="5199" y="10000"/>
                  <a:pt x="5009" y="10000"/>
                </a:cubicBezTo>
                <a:cubicBezTo>
                  <a:pt x="4985" y="10000"/>
                  <a:pt x="4949" y="9995"/>
                  <a:pt x="4902" y="9985"/>
                </a:cubicBezTo>
                <a:cubicBezTo>
                  <a:pt x="4799" y="9961"/>
                  <a:pt x="4714" y="9907"/>
                  <a:pt x="4650" y="9825"/>
                </a:cubicBezTo>
                <a:cubicBezTo>
                  <a:pt x="4586" y="9744"/>
                  <a:pt x="4555" y="9649"/>
                  <a:pt x="4555" y="9544"/>
                </a:cubicBezTo>
                <a:lnTo>
                  <a:pt x="4555" y="5455"/>
                </a:lnTo>
                <a:lnTo>
                  <a:pt x="465" y="5455"/>
                </a:lnTo>
                <a:cubicBezTo>
                  <a:pt x="361" y="5455"/>
                  <a:pt x="269" y="5423"/>
                  <a:pt x="184" y="5360"/>
                </a:cubicBezTo>
                <a:cubicBezTo>
                  <a:pt x="102" y="5296"/>
                  <a:pt x="47" y="5212"/>
                  <a:pt x="24" y="5107"/>
                </a:cubicBezTo>
                <a:cubicBezTo>
                  <a:pt x="0" y="5003"/>
                  <a:pt x="9" y="4905"/>
                  <a:pt x="52" y="4808"/>
                </a:cubicBezTo>
                <a:cubicBezTo>
                  <a:pt x="96" y="4715"/>
                  <a:pt x="162" y="4642"/>
                  <a:pt x="259" y="4595"/>
                </a:cubicBezTo>
                <a:lnTo>
                  <a:pt x="9349" y="50"/>
                </a:lnTo>
                <a:cubicBezTo>
                  <a:pt x="9410" y="16"/>
                  <a:pt x="9479" y="0"/>
                  <a:pt x="9555" y="0"/>
                </a:cubicBezTo>
                <a:cubicBezTo>
                  <a:pt x="9684" y="0"/>
                  <a:pt x="9789" y="45"/>
                  <a:pt x="9874" y="135"/>
                </a:cubicBezTo>
                <a:cubicBezTo>
                  <a:pt x="9945" y="200"/>
                  <a:pt x="9989" y="282"/>
                  <a:pt x="10005" y="380"/>
                </a:cubicBezTo>
                <a:cubicBezTo>
                  <a:pt x="10021" y="480"/>
                  <a:pt x="10006" y="572"/>
                  <a:pt x="9959" y="662"/>
                </a:cubicBezTo>
                <a:close/>
              </a:path>
            </a:pathLst>
          </a:custGeom>
          <a:gradFill>
            <a:gsLst>
              <a:gs pos="0">
                <a:srgbClr val="14CD68"/>
              </a:gs>
              <a:gs pos="100000">
                <a:srgbClr val="035C7D"/>
              </a:gs>
            </a:gsLst>
            <a:lin scaled="0"/>
          </a:gradFill>
          <a:ln>
            <a:noFill/>
          </a:ln>
        </p:spPr>
      </p:sp>
      <p:sp>
        <p:nvSpPr>
          <p:cNvPr id="33" name="iconfont-11253-5327488"/>
          <p:cNvSpPr>
            <a:spLocks noChangeAspect="1"/>
          </p:cNvSpPr>
          <p:nvPr/>
        </p:nvSpPr>
        <p:spPr bwMode="auto">
          <a:xfrm>
            <a:off x="4287520" y="9789160"/>
            <a:ext cx="734060" cy="732790"/>
          </a:xfrm>
          <a:custGeom>
            <a:avLst/>
            <a:gdLst>
              <a:gd name="T0" fmla="*/ 9959 w 10021"/>
              <a:gd name="T1" fmla="*/ 662 h 10000"/>
              <a:gd name="T2" fmla="*/ 5414 w 10021"/>
              <a:gd name="T3" fmla="*/ 9752 h 10000"/>
              <a:gd name="T4" fmla="*/ 5009 w 10021"/>
              <a:gd name="T5" fmla="*/ 10000 h 10000"/>
              <a:gd name="T6" fmla="*/ 4902 w 10021"/>
              <a:gd name="T7" fmla="*/ 9985 h 10000"/>
              <a:gd name="T8" fmla="*/ 4650 w 10021"/>
              <a:gd name="T9" fmla="*/ 9825 h 10000"/>
              <a:gd name="T10" fmla="*/ 4555 w 10021"/>
              <a:gd name="T11" fmla="*/ 9544 h 10000"/>
              <a:gd name="T12" fmla="*/ 4555 w 10021"/>
              <a:gd name="T13" fmla="*/ 5455 h 10000"/>
              <a:gd name="T14" fmla="*/ 465 w 10021"/>
              <a:gd name="T15" fmla="*/ 5455 h 10000"/>
              <a:gd name="T16" fmla="*/ 184 w 10021"/>
              <a:gd name="T17" fmla="*/ 5360 h 10000"/>
              <a:gd name="T18" fmla="*/ 24 w 10021"/>
              <a:gd name="T19" fmla="*/ 5107 h 10000"/>
              <a:gd name="T20" fmla="*/ 52 w 10021"/>
              <a:gd name="T21" fmla="*/ 4808 h 10000"/>
              <a:gd name="T22" fmla="*/ 259 w 10021"/>
              <a:gd name="T23" fmla="*/ 4595 h 10000"/>
              <a:gd name="T24" fmla="*/ 9349 w 10021"/>
              <a:gd name="T25" fmla="*/ 50 h 10000"/>
              <a:gd name="T26" fmla="*/ 9555 w 10021"/>
              <a:gd name="T27" fmla="*/ 0 h 10000"/>
              <a:gd name="T28" fmla="*/ 9874 w 10021"/>
              <a:gd name="T29" fmla="*/ 135 h 10000"/>
              <a:gd name="T30" fmla="*/ 10005 w 10021"/>
              <a:gd name="T31" fmla="*/ 380 h 10000"/>
              <a:gd name="T32" fmla="*/ 9959 w 10021"/>
              <a:gd name="T33" fmla="*/ 662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21" h="10000">
                <a:moveTo>
                  <a:pt x="9959" y="662"/>
                </a:moveTo>
                <a:lnTo>
                  <a:pt x="5414" y="9752"/>
                </a:lnTo>
                <a:cubicBezTo>
                  <a:pt x="5334" y="9919"/>
                  <a:pt x="5199" y="10000"/>
                  <a:pt x="5009" y="10000"/>
                </a:cubicBezTo>
                <a:cubicBezTo>
                  <a:pt x="4985" y="10000"/>
                  <a:pt x="4949" y="9995"/>
                  <a:pt x="4902" y="9985"/>
                </a:cubicBezTo>
                <a:cubicBezTo>
                  <a:pt x="4799" y="9961"/>
                  <a:pt x="4714" y="9907"/>
                  <a:pt x="4650" y="9825"/>
                </a:cubicBezTo>
                <a:cubicBezTo>
                  <a:pt x="4586" y="9744"/>
                  <a:pt x="4555" y="9649"/>
                  <a:pt x="4555" y="9544"/>
                </a:cubicBezTo>
                <a:lnTo>
                  <a:pt x="4555" y="5455"/>
                </a:lnTo>
                <a:lnTo>
                  <a:pt x="465" y="5455"/>
                </a:lnTo>
                <a:cubicBezTo>
                  <a:pt x="361" y="5455"/>
                  <a:pt x="269" y="5423"/>
                  <a:pt x="184" y="5360"/>
                </a:cubicBezTo>
                <a:cubicBezTo>
                  <a:pt x="102" y="5296"/>
                  <a:pt x="47" y="5212"/>
                  <a:pt x="24" y="5107"/>
                </a:cubicBezTo>
                <a:cubicBezTo>
                  <a:pt x="0" y="5003"/>
                  <a:pt x="9" y="4905"/>
                  <a:pt x="52" y="4808"/>
                </a:cubicBezTo>
                <a:cubicBezTo>
                  <a:pt x="96" y="4715"/>
                  <a:pt x="162" y="4642"/>
                  <a:pt x="259" y="4595"/>
                </a:cubicBezTo>
                <a:lnTo>
                  <a:pt x="9349" y="50"/>
                </a:lnTo>
                <a:cubicBezTo>
                  <a:pt x="9410" y="16"/>
                  <a:pt x="9479" y="0"/>
                  <a:pt x="9555" y="0"/>
                </a:cubicBezTo>
                <a:cubicBezTo>
                  <a:pt x="9684" y="0"/>
                  <a:pt x="9789" y="45"/>
                  <a:pt x="9874" y="135"/>
                </a:cubicBezTo>
                <a:cubicBezTo>
                  <a:pt x="9945" y="200"/>
                  <a:pt x="9989" y="282"/>
                  <a:pt x="10005" y="380"/>
                </a:cubicBezTo>
                <a:cubicBezTo>
                  <a:pt x="10021" y="480"/>
                  <a:pt x="10006" y="572"/>
                  <a:pt x="9959" y="662"/>
                </a:cubicBezTo>
                <a:close/>
              </a:path>
            </a:pathLst>
          </a:custGeom>
          <a:gradFill>
            <a:gsLst>
              <a:gs pos="0">
                <a:srgbClr val="14CD68"/>
              </a:gs>
              <a:gs pos="100000">
                <a:srgbClr val="035C7D"/>
              </a:gs>
            </a:gsLst>
            <a:lin scaled="0"/>
          </a:gradFill>
          <a:ln>
            <a:noFill/>
          </a:ln>
        </p:spPr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8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7833"/>
            <a:ext cx="1004252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集成构想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914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5453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sp>
        <p:nvSpPr>
          <p:cNvPr id="73" name="文本框 72"/>
          <p:cNvSpPr txBox="1"/>
          <p:nvPr/>
        </p:nvSpPr>
        <p:spPr>
          <a:xfrm>
            <a:off x="4415155" y="2944495"/>
            <a:ext cx="152908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buFont typeface="Arial" panose="020B0604020202020204" pitchFamily="34" charset="0"/>
              <a:buNone/>
            </a:pPr>
            <a:r>
              <a:rPr 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合作共赢的方式集成学分银行，助力其推广落地；平台则可基于学分银行现有成果（认证标准、转换规则</a:t>
            </a:r>
            <a:r>
              <a:rPr 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等）、以及学习者在平台行为数据发展</a:t>
            </a:r>
            <a:r>
              <a:rPr lang="zh-CN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衍生应用。</a:t>
            </a:r>
            <a:endParaRPr lang="zh-CN" altLang="en-US" sz="4000" b="1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40" name="直接连接符 139"/>
          <p:cNvCxnSpPr/>
          <p:nvPr/>
        </p:nvCxnSpPr>
        <p:spPr>
          <a:xfrm flipH="1">
            <a:off x="264795" y="31305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文本框 140"/>
          <p:cNvSpPr txBox="1"/>
          <p:nvPr/>
        </p:nvSpPr>
        <p:spPr>
          <a:xfrm>
            <a:off x="444500" y="591185"/>
            <a:ext cx="4711700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  <a:sym typeface="+mn-ea"/>
              </a:rPr>
              <a:t>集成构想</a:t>
            </a:r>
            <a:endParaRPr lang="zh-CN" altLang="en-US" sz="4400">
              <a:latin typeface="仿宋" panose="02010609060101010101" charset="-122"/>
              <a:ea typeface="仿宋" panose="02010609060101010101" charset="-122"/>
              <a:sym typeface="+mn-ea"/>
            </a:endParaRPr>
          </a:p>
        </p:txBody>
      </p:sp>
      <p:sp>
        <p:nvSpPr>
          <p:cNvPr id="3" name="light-brain-education-symbol_43433"/>
          <p:cNvSpPr>
            <a:spLocks noChangeAspect="1"/>
          </p:cNvSpPr>
          <p:nvPr/>
        </p:nvSpPr>
        <p:spPr bwMode="auto">
          <a:xfrm>
            <a:off x="2096135" y="3079115"/>
            <a:ext cx="1471930" cy="1473835"/>
          </a:xfrm>
          <a:custGeom>
            <a:avLst/>
            <a:gdLst>
              <a:gd name="T0" fmla="*/ 263 w 425"/>
              <a:gd name="T1" fmla="*/ 157 h 426"/>
              <a:gd name="T2" fmla="*/ 258 w 425"/>
              <a:gd name="T3" fmla="*/ 151 h 426"/>
              <a:gd name="T4" fmla="*/ 256 w 425"/>
              <a:gd name="T5" fmla="*/ 227 h 426"/>
              <a:gd name="T6" fmla="*/ 242 w 425"/>
              <a:gd name="T7" fmla="*/ 179 h 426"/>
              <a:gd name="T8" fmla="*/ 218 w 425"/>
              <a:gd name="T9" fmla="*/ 230 h 426"/>
              <a:gd name="T10" fmla="*/ 237 w 425"/>
              <a:gd name="T11" fmla="*/ 256 h 426"/>
              <a:gd name="T12" fmla="*/ 251 w 425"/>
              <a:gd name="T13" fmla="*/ 282 h 426"/>
              <a:gd name="T14" fmla="*/ 266 w 425"/>
              <a:gd name="T15" fmla="*/ 275 h 426"/>
              <a:gd name="T16" fmla="*/ 232 w 425"/>
              <a:gd name="T17" fmla="*/ 242 h 426"/>
              <a:gd name="T18" fmla="*/ 321 w 425"/>
              <a:gd name="T19" fmla="*/ 258 h 426"/>
              <a:gd name="T20" fmla="*/ 274 w 425"/>
              <a:gd name="T21" fmla="*/ 263 h 426"/>
              <a:gd name="T22" fmla="*/ 262 w 425"/>
              <a:gd name="T23" fmla="*/ 203 h 426"/>
              <a:gd name="T24" fmla="*/ 317 w 425"/>
              <a:gd name="T25" fmla="*/ 225 h 426"/>
              <a:gd name="T26" fmla="*/ 286 w 425"/>
              <a:gd name="T27" fmla="*/ 176 h 426"/>
              <a:gd name="T28" fmla="*/ 248 w 425"/>
              <a:gd name="T29" fmla="*/ 180 h 426"/>
              <a:gd name="T30" fmla="*/ 125 w 425"/>
              <a:gd name="T31" fmla="*/ 154 h 426"/>
              <a:gd name="T32" fmla="*/ 130 w 425"/>
              <a:gd name="T33" fmla="*/ 138 h 426"/>
              <a:gd name="T34" fmla="*/ 203 w 425"/>
              <a:gd name="T35" fmla="*/ 123 h 426"/>
              <a:gd name="T36" fmla="*/ 201 w 425"/>
              <a:gd name="T37" fmla="*/ 93 h 426"/>
              <a:gd name="T38" fmla="*/ 176 w 425"/>
              <a:gd name="T39" fmla="*/ 180 h 426"/>
              <a:gd name="T40" fmla="*/ 158 w 425"/>
              <a:gd name="T41" fmla="*/ 127 h 426"/>
              <a:gd name="T42" fmla="*/ 163 w 425"/>
              <a:gd name="T43" fmla="*/ 286 h 426"/>
              <a:gd name="T44" fmla="*/ 184 w 425"/>
              <a:gd name="T45" fmla="*/ 244 h 426"/>
              <a:gd name="T46" fmla="*/ 206 w 425"/>
              <a:gd name="T47" fmla="*/ 225 h 426"/>
              <a:gd name="T48" fmla="*/ 185 w 425"/>
              <a:gd name="T49" fmla="*/ 205 h 426"/>
              <a:gd name="T50" fmla="*/ 150 w 425"/>
              <a:gd name="T51" fmla="*/ 252 h 426"/>
              <a:gd name="T52" fmla="*/ 173 w 425"/>
              <a:gd name="T53" fmla="*/ 295 h 426"/>
              <a:gd name="T54" fmla="*/ 201 w 425"/>
              <a:gd name="T55" fmla="*/ 285 h 426"/>
              <a:gd name="T56" fmla="*/ 122 w 425"/>
              <a:gd name="T57" fmla="*/ 222 h 426"/>
              <a:gd name="T58" fmla="*/ 201 w 425"/>
              <a:gd name="T59" fmla="*/ 171 h 426"/>
              <a:gd name="T60" fmla="*/ 193 w 425"/>
              <a:gd name="T61" fmla="*/ 154 h 426"/>
              <a:gd name="T62" fmla="*/ 246 w 425"/>
              <a:gd name="T63" fmla="*/ 133 h 426"/>
              <a:gd name="T64" fmla="*/ 114 w 425"/>
              <a:gd name="T65" fmla="*/ 268 h 426"/>
              <a:gd name="T66" fmla="*/ 187 w 425"/>
              <a:gd name="T67" fmla="*/ 318 h 426"/>
              <a:gd name="T68" fmla="*/ 189 w 425"/>
              <a:gd name="T69" fmla="*/ 306 h 426"/>
              <a:gd name="T70" fmla="*/ 234 w 425"/>
              <a:gd name="T71" fmla="*/ 318 h 426"/>
              <a:gd name="T72" fmla="*/ 152 w 425"/>
              <a:gd name="T73" fmla="*/ 180 h 426"/>
              <a:gd name="T74" fmla="*/ 126 w 425"/>
              <a:gd name="T75" fmla="*/ 185 h 426"/>
              <a:gd name="T76" fmla="*/ 130 w 425"/>
              <a:gd name="T77" fmla="*/ 235 h 426"/>
              <a:gd name="T78" fmla="*/ 167 w 425"/>
              <a:gd name="T79" fmla="*/ 195 h 426"/>
              <a:gd name="T80" fmla="*/ 228 w 425"/>
              <a:gd name="T81" fmla="*/ 343 h 426"/>
              <a:gd name="T82" fmla="*/ 196 w 425"/>
              <a:gd name="T83" fmla="*/ 343 h 426"/>
              <a:gd name="T84" fmla="*/ 171 w 425"/>
              <a:gd name="T85" fmla="*/ 359 h 426"/>
              <a:gd name="T86" fmla="*/ 250 w 425"/>
              <a:gd name="T87" fmla="*/ 343 h 426"/>
              <a:gd name="T88" fmla="*/ 177 w 425"/>
              <a:gd name="T89" fmla="*/ 404 h 426"/>
              <a:gd name="T90" fmla="*/ 176 w 425"/>
              <a:gd name="T91" fmla="*/ 387 h 426"/>
              <a:gd name="T92" fmla="*/ 246 w 425"/>
              <a:gd name="T93" fmla="*/ 408 h 426"/>
              <a:gd name="T94" fmla="*/ 204 w 425"/>
              <a:gd name="T95" fmla="*/ 74 h 426"/>
              <a:gd name="T96" fmla="*/ 274 w 425"/>
              <a:gd name="T97" fmla="*/ 82 h 426"/>
              <a:gd name="T98" fmla="*/ 365 w 425"/>
              <a:gd name="T99" fmla="*/ 51 h 426"/>
              <a:gd name="T100" fmla="*/ 352 w 425"/>
              <a:gd name="T101" fmla="*/ 196 h 426"/>
              <a:gd name="T102" fmla="*/ 135 w 425"/>
              <a:gd name="T103" fmla="*/ 13 h 426"/>
              <a:gd name="T104" fmla="*/ 49 w 425"/>
              <a:gd name="T105" fmla="*/ 66 h 426"/>
              <a:gd name="T106" fmla="*/ 11 w 425"/>
              <a:gd name="T107" fmla="*/ 124 h 426"/>
              <a:gd name="T108" fmla="*/ 0 w 425"/>
              <a:gd name="T109" fmla="*/ 215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25" h="426">
                <a:moveTo>
                  <a:pt x="301" y="141"/>
                </a:moveTo>
                <a:lnTo>
                  <a:pt x="314" y="173"/>
                </a:lnTo>
                <a:lnTo>
                  <a:pt x="297" y="175"/>
                </a:lnTo>
                <a:lnTo>
                  <a:pt x="295" y="152"/>
                </a:lnTo>
                <a:lnTo>
                  <a:pt x="288" y="168"/>
                </a:lnTo>
                <a:lnTo>
                  <a:pt x="263" y="157"/>
                </a:lnTo>
                <a:lnTo>
                  <a:pt x="261" y="130"/>
                </a:lnTo>
                <a:cubicBezTo>
                  <a:pt x="261" y="130"/>
                  <a:pt x="281" y="129"/>
                  <a:pt x="281" y="131"/>
                </a:cubicBezTo>
                <a:cubicBezTo>
                  <a:pt x="281" y="132"/>
                  <a:pt x="283" y="159"/>
                  <a:pt x="283" y="159"/>
                </a:cubicBezTo>
                <a:lnTo>
                  <a:pt x="290" y="136"/>
                </a:lnTo>
                <a:lnTo>
                  <a:pt x="301" y="141"/>
                </a:lnTo>
                <a:close/>
                <a:moveTo>
                  <a:pt x="258" y="151"/>
                </a:moveTo>
                <a:lnTo>
                  <a:pt x="256" y="131"/>
                </a:lnTo>
                <a:lnTo>
                  <a:pt x="238" y="162"/>
                </a:lnTo>
                <a:lnTo>
                  <a:pt x="244" y="177"/>
                </a:lnTo>
                <a:lnTo>
                  <a:pt x="258" y="151"/>
                </a:lnTo>
                <a:close/>
                <a:moveTo>
                  <a:pt x="271" y="250"/>
                </a:moveTo>
                <a:lnTo>
                  <a:pt x="256" y="227"/>
                </a:lnTo>
                <a:lnTo>
                  <a:pt x="255" y="199"/>
                </a:lnTo>
                <a:lnTo>
                  <a:pt x="244" y="199"/>
                </a:lnTo>
                <a:lnTo>
                  <a:pt x="239" y="218"/>
                </a:lnTo>
                <a:lnTo>
                  <a:pt x="233" y="217"/>
                </a:lnTo>
                <a:lnTo>
                  <a:pt x="236" y="202"/>
                </a:lnTo>
                <a:lnTo>
                  <a:pt x="242" y="179"/>
                </a:lnTo>
                <a:lnTo>
                  <a:pt x="237" y="170"/>
                </a:lnTo>
                <a:lnTo>
                  <a:pt x="223" y="171"/>
                </a:lnTo>
                <a:lnTo>
                  <a:pt x="216" y="186"/>
                </a:lnTo>
                <a:lnTo>
                  <a:pt x="214" y="212"/>
                </a:lnTo>
                <a:lnTo>
                  <a:pt x="215" y="220"/>
                </a:lnTo>
                <a:lnTo>
                  <a:pt x="218" y="230"/>
                </a:lnTo>
                <a:lnTo>
                  <a:pt x="220" y="231"/>
                </a:lnTo>
                <a:lnTo>
                  <a:pt x="236" y="237"/>
                </a:lnTo>
                <a:lnTo>
                  <a:pt x="246" y="227"/>
                </a:lnTo>
                <a:lnTo>
                  <a:pt x="247" y="253"/>
                </a:lnTo>
                <a:lnTo>
                  <a:pt x="236" y="242"/>
                </a:lnTo>
                <a:lnTo>
                  <a:pt x="237" y="256"/>
                </a:lnTo>
                <a:lnTo>
                  <a:pt x="244" y="273"/>
                </a:lnTo>
                <a:lnTo>
                  <a:pt x="236" y="286"/>
                </a:lnTo>
                <a:lnTo>
                  <a:pt x="238" y="313"/>
                </a:lnTo>
                <a:lnTo>
                  <a:pt x="261" y="313"/>
                </a:lnTo>
                <a:lnTo>
                  <a:pt x="257" y="284"/>
                </a:lnTo>
                <a:lnTo>
                  <a:pt x="251" y="282"/>
                </a:lnTo>
                <a:lnTo>
                  <a:pt x="247" y="293"/>
                </a:lnTo>
                <a:lnTo>
                  <a:pt x="248" y="278"/>
                </a:lnTo>
                <a:lnTo>
                  <a:pt x="261" y="282"/>
                </a:lnTo>
                <a:lnTo>
                  <a:pt x="265" y="315"/>
                </a:lnTo>
                <a:lnTo>
                  <a:pt x="285" y="299"/>
                </a:lnTo>
                <a:lnTo>
                  <a:pt x="266" y="275"/>
                </a:lnTo>
                <a:lnTo>
                  <a:pt x="271" y="250"/>
                </a:lnTo>
                <a:close/>
                <a:moveTo>
                  <a:pt x="220" y="238"/>
                </a:moveTo>
                <a:lnTo>
                  <a:pt x="215" y="247"/>
                </a:lnTo>
                <a:lnTo>
                  <a:pt x="219" y="283"/>
                </a:lnTo>
                <a:lnTo>
                  <a:pt x="235" y="282"/>
                </a:lnTo>
                <a:lnTo>
                  <a:pt x="232" y="242"/>
                </a:lnTo>
                <a:lnTo>
                  <a:pt x="220" y="238"/>
                </a:lnTo>
                <a:close/>
                <a:moveTo>
                  <a:pt x="295" y="241"/>
                </a:moveTo>
                <a:lnTo>
                  <a:pt x="277" y="242"/>
                </a:lnTo>
                <a:lnTo>
                  <a:pt x="275" y="250"/>
                </a:lnTo>
                <a:lnTo>
                  <a:pt x="291" y="260"/>
                </a:lnTo>
                <a:lnTo>
                  <a:pt x="321" y="258"/>
                </a:lnTo>
                <a:lnTo>
                  <a:pt x="323" y="235"/>
                </a:lnTo>
                <a:lnTo>
                  <a:pt x="299" y="220"/>
                </a:lnTo>
                <a:lnTo>
                  <a:pt x="295" y="241"/>
                </a:lnTo>
                <a:close/>
                <a:moveTo>
                  <a:pt x="293" y="269"/>
                </a:moveTo>
                <a:lnTo>
                  <a:pt x="284" y="262"/>
                </a:lnTo>
                <a:lnTo>
                  <a:pt x="274" y="263"/>
                </a:lnTo>
                <a:lnTo>
                  <a:pt x="275" y="276"/>
                </a:lnTo>
                <a:lnTo>
                  <a:pt x="293" y="297"/>
                </a:lnTo>
                <a:lnTo>
                  <a:pt x="313" y="272"/>
                </a:lnTo>
                <a:lnTo>
                  <a:pt x="307" y="266"/>
                </a:lnTo>
                <a:lnTo>
                  <a:pt x="293" y="269"/>
                </a:lnTo>
                <a:close/>
                <a:moveTo>
                  <a:pt x="262" y="203"/>
                </a:moveTo>
                <a:lnTo>
                  <a:pt x="266" y="231"/>
                </a:lnTo>
                <a:lnTo>
                  <a:pt x="278" y="235"/>
                </a:lnTo>
                <a:lnTo>
                  <a:pt x="290" y="233"/>
                </a:lnTo>
                <a:lnTo>
                  <a:pt x="295" y="211"/>
                </a:lnTo>
                <a:lnTo>
                  <a:pt x="304" y="217"/>
                </a:lnTo>
                <a:lnTo>
                  <a:pt x="317" y="225"/>
                </a:lnTo>
                <a:lnTo>
                  <a:pt x="322" y="210"/>
                </a:lnTo>
                <a:lnTo>
                  <a:pt x="319" y="181"/>
                </a:lnTo>
                <a:lnTo>
                  <a:pt x="295" y="183"/>
                </a:lnTo>
                <a:lnTo>
                  <a:pt x="284" y="208"/>
                </a:lnTo>
                <a:lnTo>
                  <a:pt x="281" y="201"/>
                </a:lnTo>
                <a:lnTo>
                  <a:pt x="286" y="176"/>
                </a:lnTo>
                <a:lnTo>
                  <a:pt x="279" y="173"/>
                </a:lnTo>
                <a:lnTo>
                  <a:pt x="275" y="179"/>
                </a:lnTo>
                <a:lnTo>
                  <a:pt x="269" y="178"/>
                </a:lnTo>
                <a:lnTo>
                  <a:pt x="271" y="166"/>
                </a:lnTo>
                <a:lnTo>
                  <a:pt x="258" y="160"/>
                </a:lnTo>
                <a:lnTo>
                  <a:pt x="248" y="180"/>
                </a:lnTo>
                <a:lnTo>
                  <a:pt x="254" y="193"/>
                </a:lnTo>
                <a:lnTo>
                  <a:pt x="268" y="197"/>
                </a:lnTo>
                <a:lnTo>
                  <a:pt x="267" y="202"/>
                </a:lnTo>
                <a:lnTo>
                  <a:pt x="262" y="203"/>
                </a:lnTo>
                <a:close/>
                <a:moveTo>
                  <a:pt x="123" y="177"/>
                </a:moveTo>
                <a:lnTo>
                  <a:pt x="125" y="154"/>
                </a:lnTo>
                <a:lnTo>
                  <a:pt x="132" y="170"/>
                </a:lnTo>
                <a:lnTo>
                  <a:pt x="157" y="159"/>
                </a:lnTo>
                <a:lnTo>
                  <a:pt x="160" y="132"/>
                </a:lnTo>
                <a:cubicBezTo>
                  <a:pt x="160" y="132"/>
                  <a:pt x="139" y="131"/>
                  <a:pt x="139" y="133"/>
                </a:cubicBezTo>
                <a:cubicBezTo>
                  <a:pt x="139" y="134"/>
                  <a:pt x="137" y="161"/>
                  <a:pt x="137" y="161"/>
                </a:cubicBezTo>
                <a:lnTo>
                  <a:pt x="130" y="138"/>
                </a:lnTo>
                <a:lnTo>
                  <a:pt x="120" y="144"/>
                </a:lnTo>
                <a:lnTo>
                  <a:pt x="106" y="175"/>
                </a:lnTo>
                <a:lnTo>
                  <a:pt x="123" y="177"/>
                </a:lnTo>
                <a:close/>
                <a:moveTo>
                  <a:pt x="193" y="126"/>
                </a:moveTo>
                <a:lnTo>
                  <a:pt x="202" y="105"/>
                </a:lnTo>
                <a:lnTo>
                  <a:pt x="203" y="123"/>
                </a:lnTo>
                <a:lnTo>
                  <a:pt x="231" y="120"/>
                </a:lnTo>
                <a:lnTo>
                  <a:pt x="242" y="96"/>
                </a:lnTo>
                <a:cubicBezTo>
                  <a:pt x="242" y="96"/>
                  <a:pt x="223" y="88"/>
                  <a:pt x="223" y="89"/>
                </a:cubicBezTo>
                <a:cubicBezTo>
                  <a:pt x="222" y="91"/>
                  <a:pt x="211" y="115"/>
                  <a:pt x="211" y="115"/>
                </a:cubicBezTo>
                <a:lnTo>
                  <a:pt x="213" y="91"/>
                </a:lnTo>
                <a:lnTo>
                  <a:pt x="201" y="93"/>
                </a:lnTo>
                <a:lnTo>
                  <a:pt x="177" y="118"/>
                </a:lnTo>
                <a:lnTo>
                  <a:pt x="193" y="126"/>
                </a:lnTo>
                <a:close/>
                <a:moveTo>
                  <a:pt x="183" y="164"/>
                </a:moveTo>
                <a:lnTo>
                  <a:pt x="165" y="133"/>
                </a:lnTo>
                <a:lnTo>
                  <a:pt x="163" y="153"/>
                </a:lnTo>
                <a:lnTo>
                  <a:pt x="176" y="180"/>
                </a:lnTo>
                <a:lnTo>
                  <a:pt x="183" y="164"/>
                </a:lnTo>
                <a:close/>
                <a:moveTo>
                  <a:pt x="158" y="127"/>
                </a:moveTo>
                <a:lnTo>
                  <a:pt x="181" y="108"/>
                </a:lnTo>
                <a:lnTo>
                  <a:pt x="165" y="109"/>
                </a:lnTo>
                <a:lnTo>
                  <a:pt x="145" y="123"/>
                </a:lnTo>
                <a:lnTo>
                  <a:pt x="158" y="127"/>
                </a:lnTo>
                <a:close/>
                <a:moveTo>
                  <a:pt x="263" y="127"/>
                </a:moveTo>
                <a:lnTo>
                  <a:pt x="276" y="123"/>
                </a:lnTo>
                <a:lnTo>
                  <a:pt x="255" y="109"/>
                </a:lnTo>
                <a:lnTo>
                  <a:pt x="239" y="108"/>
                </a:lnTo>
                <a:lnTo>
                  <a:pt x="263" y="127"/>
                </a:lnTo>
                <a:close/>
                <a:moveTo>
                  <a:pt x="163" y="286"/>
                </a:moveTo>
                <a:lnTo>
                  <a:pt x="160" y="315"/>
                </a:lnTo>
                <a:lnTo>
                  <a:pt x="183" y="315"/>
                </a:lnTo>
                <a:lnTo>
                  <a:pt x="185" y="288"/>
                </a:lnTo>
                <a:lnTo>
                  <a:pt x="177" y="275"/>
                </a:lnTo>
                <a:lnTo>
                  <a:pt x="184" y="258"/>
                </a:lnTo>
                <a:lnTo>
                  <a:pt x="184" y="244"/>
                </a:lnTo>
                <a:lnTo>
                  <a:pt x="174" y="255"/>
                </a:lnTo>
                <a:lnTo>
                  <a:pt x="175" y="229"/>
                </a:lnTo>
                <a:lnTo>
                  <a:pt x="184" y="239"/>
                </a:lnTo>
                <a:lnTo>
                  <a:pt x="201" y="233"/>
                </a:lnTo>
                <a:lnTo>
                  <a:pt x="200" y="233"/>
                </a:lnTo>
                <a:lnTo>
                  <a:pt x="206" y="225"/>
                </a:lnTo>
                <a:lnTo>
                  <a:pt x="208" y="214"/>
                </a:lnTo>
                <a:lnTo>
                  <a:pt x="206" y="188"/>
                </a:lnTo>
                <a:lnTo>
                  <a:pt x="197" y="173"/>
                </a:lnTo>
                <a:lnTo>
                  <a:pt x="184" y="172"/>
                </a:lnTo>
                <a:lnTo>
                  <a:pt x="178" y="181"/>
                </a:lnTo>
                <a:lnTo>
                  <a:pt x="185" y="205"/>
                </a:lnTo>
                <a:lnTo>
                  <a:pt x="188" y="219"/>
                </a:lnTo>
                <a:lnTo>
                  <a:pt x="182" y="220"/>
                </a:lnTo>
                <a:lnTo>
                  <a:pt x="177" y="201"/>
                </a:lnTo>
                <a:lnTo>
                  <a:pt x="166" y="202"/>
                </a:lnTo>
                <a:lnTo>
                  <a:pt x="164" y="229"/>
                </a:lnTo>
                <a:lnTo>
                  <a:pt x="150" y="252"/>
                </a:lnTo>
                <a:lnTo>
                  <a:pt x="155" y="277"/>
                </a:lnTo>
                <a:lnTo>
                  <a:pt x="136" y="301"/>
                </a:lnTo>
                <a:lnTo>
                  <a:pt x="155" y="317"/>
                </a:lnTo>
                <a:lnTo>
                  <a:pt x="160" y="284"/>
                </a:lnTo>
                <a:lnTo>
                  <a:pt x="173" y="280"/>
                </a:lnTo>
                <a:lnTo>
                  <a:pt x="173" y="295"/>
                </a:lnTo>
                <a:lnTo>
                  <a:pt x="170" y="284"/>
                </a:lnTo>
                <a:lnTo>
                  <a:pt x="163" y="286"/>
                </a:lnTo>
                <a:close/>
                <a:moveTo>
                  <a:pt x="200" y="240"/>
                </a:moveTo>
                <a:lnTo>
                  <a:pt x="189" y="244"/>
                </a:lnTo>
                <a:lnTo>
                  <a:pt x="186" y="284"/>
                </a:lnTo>
                <a:lnTo>
                  <a:pt x="201" y="285"/>
                </a:lnTo>
                <a:lnTo>
                  <a:pt x="208" y="245"/>
                </a:lnTo>
                <a:lnTo>
                  <a:pt x="200" y="240"/>
                </a:lnTo>
                <a:close/>
                <a:moveTo>
                  <a:pt x="146" y="252"/>
                </a:moveTo>
                <a:lnTo>
                  <a:pt x="144" y="244"/>
                </a:lnTo>
                <a:lnTo>
                  <a:pt x="126" y="243"/>
                </a:lnTo>
                <a:lnTo>
                  <a:pt x="122" y="222"/>
                </a:lnTo>
                <a:lnTo>
                  <a:pt x="98" y="237"/>
                </a:lnTo>
                <a:lnTo>
                  <a:pt x="99" y="260"/>
                </a:lnTo>
                <a:lnTo>
                  <a:pt x="129" y="262"/>
                </a:lnTo>
                <a:lnTo>
                  <a:pt x="146" y="252"/>
                </a:lnTo>
                <a:close/>
                <a:moveTo>
                  <a:pt x="193" y="154"/>
                </a:moveTo>
                <a:lnTo>
                  <a:pt x="201" y="171"/>
                </a:lnTo>
                <a:lnTo>
                  <a:pt x="206" y="165"/>
                </a:lnTo>
                <a:lnTo>
                  <a:pt x="203" y="130"/>
                </a:lnTo>
                <a:lnTo>
                  <a:pt x="179" y="125"/>
                </a:lnTo>
                <a:lnTo>
                  <a:pt x="173" y="134"/>
                </a:lnTo>
                <a:lnTo>
                  <a:pt x="186" y="162"/>
                </a:lnTo>
                <a:lnTo>
                  <a:pt x="193" y="154"/>
                </a:lnTo>
                <a:close/>
                <a:moveTo>
                  <a:pt x="217" y="129"/>
                </a:moveTo>
                <a:lnTo>
                  <a:pt x="213" y="164"/>
                </a:lnTo>
                <a:lnTo>
                  <a:pt x="219" y="170"/>
                </a:lnTo>
                <a:lnTo>
                  <a:pt x="227" y="153"/>
                </a:lnTo>
                <a:lnTo>
                  <a:pt x="233" y="161"/>
                </a:lnTo>
                <a:lnTo>
                  <a:pt x="246" y="133"/>
                </a:lnTo>
                <a:lnTo>
                  <a:pt x="240" y="124"/>
                </a:lnTo>
                <a:lnTo>
                  <a:pt x="217" y="129"/>
                </a:lnTo>
                <a:close/>
                <a:moveTo>
                  <a:pt x="147" y="265"/>
                </a:moveTo>
                <a:lnTo>
                  <a:pt x="136" y="264"/>
                </a:lnTo>
                <a:lnTo>
                  <a:pt x="127" y="271"/>
                </a:lnTo>
                <a:lnTo>
                  <a:pt x="114" y="268"/>
                </a:lnTo>
                <a:lnTo>
                  <a:pt x="108" y="274"/>
                </a:lnTo>
                <a:lnTo>
                  <a:pt x="127" y="299"/>
                </a:lnTo>
                <a:lnTo>
                  <a:pt x="146" y="278"/>
                </a:lnTo>
                <a:lnTo>
                  <a:pt x="147" y="265"/>
                </a:lnTo>
                <a:close/>
                <a:moveTo>
                  <a:pt x="189" y="306"/>
                </a:moveTo>
                <a:lnTo>
                  <a:pt x="187" y="318"/>
                </a:lnTo>
                <a:lnTo>
                  <a:pt x="176" y="328"/>
                </a:lnTo>
                <a:lnTo>
                  <a:pt x="176" y="336"/>
                </a:lnTo>
                <a:lnTo>
                  <a:pt x="206" y="337"/>
                </a:lnTo>
                <a:lnTo>
                  <a:pt x="204" y="307"/>
                </a:lnTo>
                <a:lnTo>
                  <a:pt x="197" y="297"/>
                </a:lnTo>
                <a:lnTo>
                  <a:pt x="189" y="306"/>
                </a:lnTo>
                <a:close/>
                <a:moveTo>
                  <a:pt x="224" y="297"/>
                </a:moveTo>
                <a:lnTo>
                  <a:pt x="216" y="307"/>
                </a:lnTo>
                <a:lnTo>
                  <a:pt x="215" y="337"/>
                </a:lnTo>
                <a:lnTo>
                  <a:pt x="244" y="336"/>
                </a:lnTo>
                <a:lnTo>
                  <a:pt x="244" y="328"/>
                </a:lnTo>
                <a:lnTo>
                  <a:pt x="234" y="318"/>
                </a:lnTo>
                <a:lnTo>
                  <a:pt x="232" y="306"/>
                </a:lnTo>
                <a:lnTo>
                  <a:pt x="224" y="297"/>
                </a:lnTo>
                <a:close/>
                <a:moveTo>
                  <a:pt x="173" y="182"/>
                </a:moveTo>
                <a:lnTo>
                  <a:pt x="162" y="162"/>
                </a:lnTo>
                <a:lnTo>
                  <a:pt x="149" y="168"/>
                </a:lnTo>
                <a:lnTo>
                  <a:pt x="152" y="180"/>
                </a:lnTo>
                <a:lnTo>
                  <a:pt x="146" y="182"/>
                </a:lnTo>
                <a:lnTo>
                  <a:pt x="142" y="175"/>
                </a:lnTo>
                <a:lnTo>
                  <a:pt x="135" y="179"/>
                </a:lnTo>
                <a:lnTo>
                  <a:pt x="140" y="203"/>
                </a:lnTo>
                <a:lnTo>
                  <a:pt x="136" y="210"/>
                </a:lnTo>
                <a:lnTo>
                  <a:pt x="126" y="185"/>
                </a:lnTo>
                <a:lnTo>
                  <a:pt x="101" y="183"/>
                </a:lnTo>
                <a:lnTo>
                  <a:pt x="99" y="212"/>
                </a:lnTo>
                <a:lnTo>
                  <a:pt x="103" y="227"/>
                </a:lnTo>
                <a:lnTo>
                  <a:pt x="116" y="219"/>
                </a:lnTo>
                <a:lnTo>
                  <a:pt x="126" y="213"/>
                </a:lnTo>
                <a:lnTo>
                  <a:pt x="130" y="235"/>
                </a:lnTo>
                <a:lnTo>
                  <a:pt x="143" y="237"/>
                </a:lnTo>
                <a:lnTo>
                  <a:pt x="154" y="233"/>
                </a:lnTo>
                <a:lnTo>
                  <a:pt x="158" y="205"/>
                </a:lnTo>
                <a:lnTo>
                  <a:pt x="154" y="205"/>
                </a:lnTo>
                <a:lnTo>
                  <a:pt x="152" y="199"/>
                </a:lnTo>
                <a:lnTo>
                  <a:pt x="167" y="195"/>
                </a:lnTo>
                <a:lnTo>
                  <a:pt x="173" y="182"/>
                </a:lnTo>
                <a:close/>
                <a:moveTo>
                  <a:pt x="235" y="353"/>
                </a:moveTo>
                <a:lnTo>
                  <a:pt x="235" y="353"/>
                </a:lnTo>
                <a:cubicBezTo>
                  <a:pt x="233" y="354"/>
                  <a:pt x="231" y="354"/>
                  <a:pt x="227" y="354"/>
                </a:cubicBezTo>
                <a:lnTo>
                  <a:pt x="226" y="354"/>
                </a:lnTo>
                <a:lnTo>
                  <a:pt x="228" y="343"/>
                </a:lnTo>
                <a:lnTo>
                  <a:pt x="220" y="343"/>
                </a:lnTo>
                <a:lnTo>
                  <a:pt x="219" y="354"/>
                </a:lnTo>
                <a:lnTo>
                  <a:pt x="209" y="355"/>
                </a:lnTo>
                <a:lnTo>
                  <a:pt x="206" y="356"/>
                </a:lnTo>
                <a:lnTo>
                  <a:pt x="204" y="343"/>
                </a:lnTo>
                <a:lnTo>
                  <a:pt x="196" y="343"/>
                </a:lnTo>
                <a:lnTo>
                  <a:pt x="199" y="356"/>
                </a:lnTo>
                <a:lnTo>
                  <a:pt x="190" y="357"/>
                </a:lnTo>
                <a:cubicBezTo>
                  <a:pt x="188" y="357"/>
                  <a:pt x="187" y="357"/>
                  <a:pt x="186" y="357"/>
                </a:cubicBezTo>
                <a:lnTo>
                  <a:pt x="186" y="343"/>
                </a:lnTo>
                <a:lnTo>
                  <a:pt x="171" y="343"/>
                </a:lnTo>
                <a:lnTo>
                  <a:pt x="171" y="359"/>
                </a:lnTo>
                <a:cubicBezTo>
                  <a:pt x="171" y="365"/>
                  <a:pt x="173" y="368"/>
                  <a:pt x="175" y="370"/>
                </a:cubicBezTo>
                <a:lnTo>
                  <a:pt x="175" y="381"/>
                </a:lnTo>
                <a:lnTo>
                  <a:pt x="247" y="373"/>
                </a:lnTo>
                <a:lnTo>
                  <a:pt x="247" y="365"/>
                </a:lnTo>
                <a:lnTo>
                  <a:pt x="250" y="363"/>
                </a:lnTo>
                <a:lnTo>
                  <a:pt x="250" y="343"/>
                </a:lnTo>
                <a:lnTo>
                  <a:pt x="235" y="343"/>
                </a:lnTo>
                <a:lnTo>
                  <a:pt x="235" y="353"/>
                </a:lnTo>
                <a:close/>
                <a:moveTo>
                  <a:pt x="176" y="393"/>
                </a:moveTo>
                <a:lnTo>
                  <a:pt x="176" y="393"/>
                </a:lnTo>
                <a:cubicBezTo>
                  <a:pt x="175" y="395"/>
                  <a:pt x="176" y="399"/>
                  <a:pt x="176" y="401"/>
                </a:cubicBezTo>
                <a:lnTo>
                  <a:pt x="177" y="404"/>
                </a:lnTo>
                <a:lnTo>
                  <a:pt x="244" y="397"/>
                </a:lnTo>
                <a:lnTo>
                  <a:pt x="247" y="396"/>
                </a:lnTo>
                <a:lnTo>
                  <a:pt x="247" y="393"/>
                </a:lnTo>
                <a:cubicBezTo>
                  <a:pt x="247" y="392"/>
                  <a:pt x="247" y="389"/>
                  <a:pt x="247" y="383"/>
                </a:cubicBezTo>
                <a:lnTo>
                  <a:pt x="247" y="379"/>
                </a:lnTo>
                <a:lnTo>
                  <a:pt x="176" y="387"/>
                </a:lnTo>
                <a:lnTo>
                  <a:pt x="176" y="393"/>
                </a:lnTo>
                <a:lnTo>
                  <a:pt x="176" y="393"/>
                </a:lnTo>
                <a:close/>
                <a:moveTo>
                  <a:pt x="182" y="416"/>
                </a:moveTo>
                <a:cubicBezTo>
                  <a:pt x="189" y="423"/>
                  <a:pt x="199" y="426"/>
                  <a:pt x="212" y="426"/>
                </a:cubicBezTo>
                <a:lnTo>
                  <a:pt x="212" y="426"/>
                </a:lnTo>
                <a:cubicBezTo>
                  <a:pt x="235" y="426"/>
                  <a:pt x="243" y="416"/>
                  <a:pt x="246" y="408"/>
                </a:cubicBezTo>
                <a:lnTo>
                  <a:pt x="247" y="402"/>
                </a:lnTo>
                <a:lnTo>
                  <a:pt x="177" y="410"/>
                </a:lnTo>
                <a:lnTo>
                  <a:pt x="182" y="416"/>
                </a:lnTo>
                <a:close/>
                <a:moveTo>
                  <a:pt x="218" y="0"/>
                </a:moveTo>
                <a:lnTo>
                  <a:pt x="204" y="0"/>
                </a:lnTo>
                <a:lnTo>
                  <a:pt x="204" y="74"/>
                </a:lnTo>
                <a:lnTo>
                  <a:pt x="218" y="74"/>
                </a:lnTo>
                <a:lnTo>
                  <a:pt x="218" y="0"/>
                </a:lnTo>
                <a:close/>
                <a:moveTo>
                  <a:pt x="302" y="13"/>
                </a:moveTo>
                <a:lnTo>
                  <a:pt x="289" y="8"/>
                </a:lnTo>
                <a:lnTo>
                  <a:pt x="261" y="76"/>
                </a:lnTo>
                <a:lnTo>
                  <a:pt x="274" y="82"/>
                </a:lnTo>
                <a:lnTo>
                  <a:pt x="302" y="13"/>
                </a:lnTo>
                <a:close/>
                <a:moveTo>
                  <a:pt x="365" y="51"/>
                </a:moveTo>
                <a:lnTo>
                  <a:pt x="313" y="103"/>
                </a:lnTo>
                <a:lnTo>
                  <a:pt x="323" y="113"/>
                </a:lnTo>
                <a:lnTo>
                  <a:pt x="375" y="60"/>
                </a:lnTo>
                <a:lnTo>
                  <a:pt x="365" y="51"/>
                </a:lnTo>
                <a:close/>
                <a:moveTo>
                  <a:pt x="413" y="119"/>
                </a:moveTo>
                <a:lnTo>
                  <a:pt x="344" y="145"/>
                </a:lnTo>
                <a:lnTo>
                  <a:pt x="349" y="158"/>
                </a:lnTo>
                <a:lnTo>
                  <a:pt x="418" y="132"/>
                </a:lnTo>
                <a:lnTo>
                  <a:pt x="413" y="119"/>
                </a:lnTo>
                <a:close/>
                <a:moveTo>
                  <a:pt x="352" y="196"/>
                </a:moveTo>
                <a:lnTo>
                  <a:pt x="350" y="209"/>
                </a:lnTo>
                <a:lnTo>
                  <a:pt x="422" y="224"/>
                </a:lnTo>
                <a:lnTo>
                  <a:pt x="425" y="210"/>
                </a:lnTo>
                <a:lnTo>
                  <a:pt x="352" y="196"/>
                </a:lnTo>
                <a:close/>
                <a:moveTo>
                  <a:pt x="163" y="82"/>
                </a:moveTo>
                <a:lnTo>
                  <a:pt x="135" y="13"/>
                </a:lnTo>
                <a:lnTo>
                  <a:pt x="122" y="19"/>
                </a:lnTo>
                <a:lnTo>
                  <a:pt x="150" y="87"/>
                </a:lnTo>
                <a:lnTo>
                  <a:pt x="163" y="82"/>
                </a:lnTo>
                <a:close/>
                <a:moveTo>
                  <a:pt x="111" y="108"/>
                </a:moveTo>
                <a:lnTo>
                  <a:pt x="59" y="56"/>
                </a:lnTo>
                <a:lnTo>
                  <a:pt x="49" y="66"/>
                </a:lnTo>
                <a:lnTo>
                  <a:pt x="101" y="118"/>
                </a:lnTo>
                <a:lnTo>
                  <a:pt x="111" y="108"/>
                </a:lnTo>
                <a:close/>
                <a:moveTo>
                  <a:pt x="6" y="137"/>
                </a:moveTo>
                <a:lnTo>
                  <a:pt x="75" y="163"/>
                </a:lnTo>
                <a:lnTo>
                  <a:pt x="80" y="150"/>
                </a:lnTo>
                <a:lnTo>
                  <a:pt x="11" y="124"/>
                </a:lnTo>
                <a:lnTo>
                  <a:pt x="6" y="137"/>
                </a:lnTo>
                <a:close/>
                <a:moveTo>
                  <a:pt x="0" y="215"/>
                </a:moveTo>
                <a:lnTo>
                  <a:pt x="3" y="229"/>
                </a:lnTo>
                <a:lnTo>
                  <a:pt x="75" y="214"/>
                </a:lnTo>
                <a:lnTo>
                  <a:pt x="72" y="201"/>
                </a:lnTo>
                <a:lnTo>
                  <a:pt x="0" y="215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</p:sp>
      <p:sp>
        <p:nvSpPr>
          <p:cNvPr id="52" name="圆角矩形 51"/>
          <p:cNvSpPr/>
          <p:nvPr/>
        </p:nvSpPr>
        <p:spPr>
          <a:xfrm>
            <a:off x="3926205" y="2537460"/>
            <a:ext cx="16383000" cy="2769870"/>
          </a:xfrm>
          <a:prstGeom prst="roundRect">
            <a:avLst/>
          </a:prstGeom>
          <a:noFill/>
          <a:ln w="22225">
            <a:solidFill>
              <a:schemeClr val="accent2">
                <a:lumMod val="60000"/>
                <a:lumOff val="40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27" name="组合 26"/>
          <p:cNvGrpSpPr/>
          <p:nvPr/>
        </p:nvGrpSpPr>
        <p:grpSpPr>
          <a:xfrm>
            <a:off x="3819525" y="6325870"/>
            <a:ext cx="19497675" cy="4617085"/>
            <a:chOff x="5655" y="11762"/>
            <a:chExt cx="30705" cy="7271"/>
          </a:xfrm>
        </p:grpSpPr>
        <p:sp>
          <p:nvSpPr>
            <p:cNvPr id="15" name="9TiVRqOoSz4QP6niconfont-11699-7199371"/>
            <p:cNvSpPr>
              <a:spLocks noChangeAspect="1"/>
            </p:cNvSpPr>
            <p:nvPr/>
          </p:nvSpPr>
          <p:spPr bwMode="auto">
            <a:xfrm>
              <a:off x="18859" y="12121"/>
              <a:ext cx="1367" cy="1193"/>
            </a:xfrm>
            <a:custGeom>
              <a:avLst/>
              <a:gdLst>
                <a:gd name="connsiteX0" fmla="*/ 162199 w 565545"/>
                <a:gd name="connsiteY0" fmla="*/ 428621 h 493127"/>
                <a:gd name="connsiteX1" fmla="*/ 132056 w 565545"/>
                <a:gd name="connsiteY1" fmla="*/ 431488 h 493127"/>
                <a:gd name="connsiteX2" fmla="*/ 196649 w 565545"/>
                <a:gd name="connsiteY2" fmla="*/ 455857 h 493127"/>
                <a:gd name="connsiteX3" fmla="*/ 235405 w 565545"/>
                <a:gd name="connsiteY3" fmla="*/ 451556 h 493127"/>
                <a:gd name="connsiteX4" fmla="*/ 310101 w 565545"/>
                <a:gd name="connsiteY4" fmla="*/ 309494 h 493127"/>
                <a:gd name="connsiteX5" fmla="*/ 317294 w 565545"/>
                <a:gd name="connsiteY5" fmla="*/ 309494 h 493127"/>
                <a:gd name="connsiteX6" fmla="*/ 323049 w 565545"/>
                <a:gd name="connsiteY6" fmla="*/ 312360 h 493127"/>
                <a:gd name="connsiteX7" fmla="*/ 328804 w 565545"/>
                <a:gd name="connsiteY7" fmla="*/ 318092 h 493127"/>
                <a:gd name="connsiteX8" fmla="*/ 333120 w 565545"/>
                <a:gd name="connsiteY8" fmla="*/ 326690 h 493127"/>
                <a:gd name="connsiteX9" fmla="*/ 333120 w 565545"/>
                <a:gd name="connsiteY9" fmla="*/ 333856 h 493127"/>
                <a:gd name="connsiteX10" fmla="*/ 328804 w 565545"/>
                <a:gd name="connsiteY10" fmla="*/ 341021 h 493127"/>
                <a:gd name="connsiteX11" fmla="*/ 323049 w 565545"/>
                <a:gd name="connsiteY11" fmla="*/ 346753 h 493127"/>
                <a:gd name="connsiteX12" fmla="*/ 314417 w 565545"/>
                <a:gd name="connsiteY12" fmla="*/ 351052 h 493127"/>
                <a:gd name="connsiteX13" fmla="*/ 307223 w 565545"/>
                <a:gd name="connsiteY13" fmla="*/ 351052 h 493127"/>
                <a:gd name="connsiteX14" fmla="*/ 300030 w 565545"/>
                <a:gd name="connsiteY14" fmla="*/ 348186 h 493127"/>
                <a:gd name="connsiteX15" fmla="*/ 292836 w 565545"/>
                <a:gd name="connsiteY15" fmla="*/ 342454 h 493127"/>
                <a:gd name="connsiteX16" fmla="*/ 289959 w 565545"/>
                <a:gd name="connsiteY16" fmla="*/ 328123 h 493127"/>
                <a:gd name="connsiteX17" fmla="*/ 297152 w 565545"/>
                <a:gd name="connsiteY17" fmla="*/ 316659 h 493127"/>
                <a:gd name="connsiteX18" fmla="*/ 302907 w 565545"/>
                <a:gd name="connsiteY18" fmla="*/ 328123 h 493127"/>
                <a:gd name="connsiteX19" fmla="*/ 301468 w 565545"/>
                <a:gd name="connsiteY19" fmla="*/ 330990 h 493127"/>
                <a:gd name="connsiteX20" fmla="*/ 301468 w 565545"/>
                <a:gd name="connsiteY20" fmla="*/ 333856 h 493127"/>
                <a:gd name="connsiteX21" fmla="*/ 301468 w 565545"/>
                <a:gd name="connsiteY21" fmla="*/ 336722 h 493127"/>
                <a:gd name="connsiteX22" fmla="*/ 304346 w 565545"/>
                <a:gd name="connsiteY22" fmla="*/ 339588 h 493127"/>
                <a:gd name="connsiteX23" fmla="*/ 308662 w 565545"/>
                <a:gd name="connsiteY23" fmla="*/ 339588 h 493127"/>
                <a:gd name="connsiteX24" fmla="*/ 311539 w 565545"/>
                <a:gd name="connsiteY24" fmla="*/ 338155 h 493127"/>
                <a:gd name="connsiteX25" fmla="*/ 315855 w 565545"/>
                <a:gd name="connsiteY25" fmla="*/ 336722 h 493127"/>
                <a:gd name="connsiteX26" fmla="*/ 318733 w 565545"/>
                <a:gd name="connsiteY26" fmla="*/ 333856 h 493127"/>
                <a:gd name="connsiteX27" fmla="*/ 321610 w 565545"/>
                <a:gd name="connsiteY27" fmla="*/ 330990 h 493127"/>
                <a:gd name="connsiteX28" fmla="*/ 321610 w 565545"/>
                <a:gd name="connsiteY28" fmla="*/ 326690 h 493127"/>
                <a:gd name="connsiteX29" fmla="*/ 321610 w 565545"/>
                <a:gd name="connsiteY29" fmla="*/ 323824 h 493127"/>
                <a:gd name="connsiteX30" fmla="*/ 318733 w 565545"/>
                <a:gd name="connsiteY30" fmla="*/ 322391 h 493127"/>
                <a:gd name="connsiteX31" fmla="*/ 317294 w 565545"/>
                <a:gd name="connsiteY31" fmla="*/ 320958 h 493127"/>
                <a:gd name="connsiteX32" fmla="*/ 314417 w 565545"/>
                <a:gd name="connsiteY32" fmla="*/ 320958 h 493127"/>
                <a:gd name="connsiteX33" fmla="*/ 311539 w 565545"/>
                <a:gd name="connsiteY33" fmla="*/ 322391 h 493127"/>
                <a:gd name="connsiteX34" fmla="*/ 304346 w 565545"/>
                <a:gd name="connsiteY34" fmla="*/ 310927 h 493127"/>
                <a:gd name="connsiteX35" fmla="*/ 310101 w 565545"/>
                <a:gd name="connsiteY35" fmla="*/ 309494 h 493127"/>
                <a:gd name="connsiteX36" fmla="*/ 137853 w 565545"/>
                <a:gd name="connsiteY36" fmla="*/ 295266 h 493127"/>
                <a:gd name="connsiteX37" fmla="*/ 133537 w 565545"/>
                <a:gd name="connsiteY37" fmla="*/ 296695 h 493127"/>
                <a:gd name="connsiteX38" fmla="*/ 130660 w 565545"/>
                <a:gd name="connsiteY38" fmla="*/ 299554 h 493127"/>
                <a:gd name="connsiteX39" fmla="*/ 129222 w 565545"/>
                <a:gd name="connsiteY39" fmla="*/ 302413 h 493127"/>
                <a:gd name="connsiteX40" fmla="*/ 129222 w 565545"/>
                <a:gd name="connsiteY40" fmla="*/ 306701 h 493127"/>
                <a:gd name="connsiteX41" fmla="*/ 129222 w 565545"/>
                <a:gd name="connsiteY41" fmla="*/ 310989 h 493127"/>
                <a:gd name="connsiteX42" fmla="*/ 130660 w 565545"/>
                <a:gd name="connsiteY42" fmla="*/ 315277 h 493127"/>
                <a:gd name="connsiteX43" fmla="*/ 133537 w 565545"/>
                <a:gd name="connsiteY43" fmla="*/ 318136 h 493127"/>
                <a:gd name="connsiteX44" fmla="*/ 137853 w 565545"/>
                <a:gd name="connsiteY44" fmla="*/ 318136 h 493127"/>
                <a:gd name="connsiteX45" fmla="*/ 140730 w 565545"/>
                <a:gd name="connsiteY45" fmla="*/ 318136 h 493127"/>
                <a:gd name="connsiteX46" fmla="*/ 143607 w 565545"/>
                <a:gd name="connsiteY46" fmla="*/ 315277 h 493127"/>
                <a:gd name="connsiteX47" fmla="*/ 145045 w 565545"/>
                <a:gd name="connsiteY47" fmla="*/ 310989 h 493127"/>
                <a:gd name="connsiteX48" fmla="*/ 145045 w 565545"/>
                <a:gd name="connsiteY48" fmla="*/ 306701 h 493127"/>
                <a:gd name="connsiteX49" fmla="*/ 145045 w 565545"/>
                <a:gd name="connsiteY49" fmla="*/ 302413 h 493127"/>
                <a:gd name="connsiteX50" fmla="*/ 143607 w 565545"/>
                <a:gd name="connsiteY50" fmla="*/ 299554 h 493127"/>
                <a:gd name="connsiteX51" fmla="*/ 140730 w 565545"/>
                <a:gd name="connsiteY51" fmla="*/ 296695 h 493127"/>
                <a:gd name="connsiteX52" fmla="*/ 137853 w 565545"/>
                <a:gd name="connsiteY52" fmla="*/ 295266 h 493127"/>
                <a:gd name="connsiteX53" fmla="*/ 401842 w 565545"/>
                <a:gd name="connsiteY53" fmla="*/ 283745 h 493127"/>
                <a:gd name="connsiteX54" fmla="*/ 413332 w 565545"/>
                <a:gd name="connsiteY54" fmla="*/ 318123 h 493127"/>
                <a:gd name="connsiteX55" fmla="*/ 430566 w 565545"/>
                <a:gd name="connsiteY55" fmla="*/ 305231 h 493127"/>
                <a:gd name="connsiteX56" fmla="*/ 403278 w 565545"/>
                <a:gd name="connsiteY56" fmla="*/ 283745 h 493127"/>
                <a:gd name="connsiteX57" fmla="*/ 111960 w 565545"/>
                <a:gd name="connsiteY57" fmla="*/ 266679 h 493127"/>
                <a:gd name="connsiteX58" fmla="*/ 129222 w 565545"/>
                <a:gd name="connsiteY58" fmla="*/ 266679 h 493127"/>
                <a:gd name="connsiteX59" fmla="*/ 129222 w 565545"/>
                <a:gd name="connsiteY59" fmla="*/ 289549 h 493127"/>
                <a:gd name="connsiteX60" fmla="*/ 130660 w 565545"/>
                <a:gd name="connsiteY60" fmla="*/ 289549 h 493127"/>
                <a:gd name="connsiteX61" fmla="*/ 134976 w 565545"/>
                <a:gd name="connsiteY61" fmla="*/ 283831 h 493127"/>
                <a:gd name="connsiteX62" fmla="*/ 143607 w 565545"/>
                <a:gd name="connsiteY62" fmla="*/ 282402 h 493127"/>
                <a:gd name="connsiteX63" fmla="*/ 152238 w 565545"/>
                <a:gd name="connsiteY63" fmla="*/ 285261 h 493127"/>
                <a:gd name="connsiteX64" fmla="*/ 159430 w 565545"/>
                <a:gd name="connsiteY64" fmla="*/ 290978 h 493127"/>
                <a:gd name="connsiteX65" fmla="*/ 162307 w 565545"/>
                <a:gd name="connsiteY65" fmla="*/ 298125 h 493127"/>
                <a:gd name="connsiteX66" fmla="*/ 162307 w 565545"/>
                <a:gd name="connsiteY66" fmla="*/ 306701 h 493127"/>
                <a:gd name="connsiteX67" fmla="*/ 162307 w 565545"/>
                <a:gd name="connsiteY67" fmla="*/ 315277 h 493127"/>
                <a:gd name="connsiteX68" fmla="*/ 157992 w 565545"/>
                <a:gd name="connsiteY68" fmla="*/ 323853 h 493127"/>
                <a:gd name="connsiteX69" fmla="*/ 152238 w 565545"/>
                <a:gd name="connsiteY69" fmla="*/ 329570 h 493127"/>
                <a:gd name="connsiteX70" fmla="*/ 143607 w 565545"/>
                <a:gd name="connsiteY70" fmla="*/ 332429 h 493127"/>
                <a:gd name="connsiteX71" fmla="*/ 137853 w 565545"/>
                <a:gd name="connsiteY71" fmla="*/ 331000 h 493127"/>
                <a:gd name="connsiteX72" fmla="*/ 133537 w 565545"/>
                <a:gd name="connsiteY72" fmla="*/ 329570 h 493127"/>
                <a:gd name="connsiteX73" fmla="*/ 130660 w 565545"/>
                <a:gd name="connsiteY73" fmla="*/ 328141 h 493127"/>
                <a:gd name="connsiteX74" fmla="*/ 129222 w 565545"/>
                <a:gd name="connsiteY74" fmla="*/ 325282 h 493127"/>
                <a:gd name="connsiteX75" fmla="*/ 129222 w 565545"/>
                <a:gd name="connsiteY75" fmla="*/ 331000 h 493127"/>
                <a:gd name="connsiteX76" fmla="*/ 111960 w 565545"/>
                <a:gd name="connsiteY76" fmla="*/ 331000 h 493127"/>
                <a:gd name="connsiteX77" fmla="*/ 50258 w 565545"/>
                <a:gd name="connsiteY77" fmla="*/ 250870 h 493127"/>
                <a:gd name="connsiteX78" fmla="*/ 57451 w 565545"/>
                <a:gd name="connsiteY78" fmla="*/ 250870 h 493127"/>
                <a:gd name="connsiteX79" fmla="*/ 64645 w 565545"/>
                <a:gd name="connsiteY79" fmla="*/ 253736 h 493127"/>
                <a:gd name="connsiteX80" fmla="*/ 70400 w 565545"/>
                <a:gd name="connsiteY80" fmla="*/ 259468 h 493127"/>
                <a:gd name="connsiteX81" fmla="*/ 73277 w 565545"/>
                <a:gd name="connsiteY81" fmla="*/ 266633 h 493127"/>
                <a:gd name="connsiteX82" fmla="*/ 73277 w 565545"/>
                <a:gd name="connsiteY82" fmla="*/ 275232 h 493127"/>
                <a:gd name="connsiteX83" fmla="*/ 70400 w 565545"/>
                <a:gd name="connsiteY83" fmla="*/ 282397 h 493127"/>
                <a:gd name="connsiteX84" fmla="*/ 63206 w 565545"/>
                <a:gd name="connsiteY84" fmla="*/ 288129 h 493127"/>
                <a:gd name="connsiteX85" fmla="*/ 56013 w 565545"/>
                <a:gd name="connsiteY85" fmla="*/ 292428 h 493127"/>
                <a:gd name="connsiteX86" fmla="*/ 47381 w 565545"/>
                <a:gd name="connsiteY86" fmla="*/ 292428 h 493127"/>
                <a:gd name="connsiteX87" fmla="*/ 40187 w 565545"/>
                <a:gd name="connsiteY87" fmla="*/ 289562 h 493127"/>
                <a:gd name="connsiteX88" fmla="*/ 34432 w 565545"/>
                <a:gd name="connsiteY88" fmla="*/ 283830 h 493127"/>
                <a:gd name="connsiteX89" fmla="*/ 30116 w 565545"/>
                <a:gd name="connsiteY89" fmla="*/ 269499 h 493127"/>
                <a:gd name="connsiteX90" fmla="*/ 37310 w 565545"/>
                <a:gd name="connsiteY90" fmla="*/ 258035 h 493127"/>
                <a:gd name="connsiteX91" fmla="*/ 44503 w 565545"/>
                <a:gd name="connsiteY91" fmla="*/ 268066 h 493127"/>
                <a:gd name="connsiteX92" fmla="*/ 43064 w 565545"/>
                <a:gd name="connsiteY92" fmla="*/ 269499 h 493127"/>
                <a:gd name="connsiteX93" fmla="*/ 41626 w 565545"/>
                <a:gd name="connsiteY93" fmla="*/ 272366 h 493127"/>
                <a:gd name="connsiteX94" fmla="*/ 41626 w 565545"/>
                <a:gd name="connsiteY94" fmla="*/ 275232 h 493127"/>
                <a:gd name="connsiteX95" fmla="*/ 43064 w 565545"/>
                <a:gd name="connsiteY95" fmla="*/ 278098 h 493127"/>
                <a:gd name="connsiteX96" fmla="*/ 45942 w 565545"/>
                <a:gd name="connsiteY96" fmla="*/ 279531 h 493127"/>
                <a:gd name="connsiteX97" fmla="*/ 48819 w 565545"/>
                <a:gd name="connsiteY97" fmla="*/ 280964 h 493127"/>
                <a:gd name="connsiteX98" fmla="*/ 53135 w 565545"/>
                <a:gd name="connsiteY98" fmla="*/ 279531 h 493127"/>
                <a:gd name="connsiteX99" fmla="*/ 56013 w 565545"/>
                <a:gd name="connsiteY99" fmla="*/ 278098 h 493127"/>
                <a:gd name="connsiteX100" fmla="*/ 60329 w 565545"/>
                <a:gd name="connsiteY100" fmla="*/ 275232 h 493127"/>
                <a:gd name="connsiteX101" fmla="*/ 61768 w 565545"/>
                <a:gd name="connsiteY101" fmla="*/ 272366 h 493127"/>
                <a:gd name="connsiteX102" fmla="*/ 63206 w 565545"/>
                <a:gd name="connsiteY102" fmla="*/ 268066 h 493127"/>
                <a:gd name="connsiteX103" fmla="*/ 61768 w 565545"/>
                <a:gd name="connsiteY103" fmla="*/ 265200 h 493127"/>
                <a:gd name="connsiteX104" fmla="*/ 58890 w 565545"/>
                <a:gd name="connsiteY104" fmla="*/ 262334 h 493127"/>
                <a:gd name="connsiteX105" fmla="*/ 57451 w 565545"/>
                <a:gd name="connsiteY105" fmla="*/ 262334 h 493127"/>
                <a:gd name="connsiteX106" fmla="*/ 54574 w 565545"/>
                <a:gd name="connsiteY106" fmla="*/ 262334 h 493127"/>
                <a:gd name="connsiteX107" fmla="*/ 51697 w 565545"/>
                <a:gd name="connsiteY107" fmla="*/ 263767 h 493127"/>
                <a:gd name="connsiteX108" fmla="*/ 44503 w 565545"/>
                <a:gd name="connsiteY108" fmla="*/ 252303 h 493127"/>
                <a:gd name="connsiteX109" fmla="*/ 50258 w 565545"/>
                <a:gd name="connsiteY109" fmla="*/ 250870 h 493127"/>
                <a:gd name="connsiteX110" fmla="*/ 394661 w 565545"/>
                <a:gd name="connsiteY110" fmla="*/ 245069 h 493127"/>
                <a:gd name="connsiteX111" fmla="*/ 489449 w 565545"/>
                <a:gd name="connsiteY111" fmla="*/ 309528 h 493127"/>
                <a:gd name="connsiteX112" fmla="*/ 462162 w 565545"/>
                <a:gd name="connsiteY112" fmla="*/ 331015 h 493127"/>
                <a:gd name="connsiteX113" fmla="*/ 449236 w 565545"/>
                <a:gd name="connsiteY113" fmla="*/ 320988 h 493127"/>
                <a:gd name="connsiteX114" fmla="*/ 420513 w 565545"/>
                <a:gd name="connsiteY114" fmla="*/ 341042 h 493127"/>
                <a:gd name="connsiteX115" fmla="*/ 426257 w 565545"/>
                <a:gd name="connsiteY115" fmla="*/ 355366 h 493127"/>
                <a:gd name="connsiteX116" fmla="*/ 398970 w 565545"/>
                <a:gd name="connsiteY116" fmla="*/ 375420 h 493127"/>
                <a:gd name="connsiteX117" fmla="*/ 367374 w 565545"/>
                <a:gd name="connsiteY117" fmla="*/ 263691 h 493127"/>
                <a:gd name="connsiteX118" fmla="*/ 314418 w 565545"/>
                <a:gd name="connsiteY118" fmla="*/ 212079 h 493127"/>
                <a:gd name="connsiteX119" fmla="*/ 310103 w 565545"/>
                <a:gd name="connsiteY119" fmla="*/ 213516 h 493127"/>
                <a:gd name="connsiteX120" fmla="*/ 307227 w 565545"/>
                <a:gd name="connsiteY120" fmla="*/ 214953 h 493127"/>
                <a:gd name="connsiteX121" fmla="*/ 304351 w 565545"/>
                <a:gd name="connsiteY121" fmla="*/ 219263 h 493127"/>
                <a:gd name="connsiteX122" fmla="*/ 302912 w 565545"/>
                <a:gd name="connsiteY122" fmla="*/ 222137 h 493127"/>
                <a:gd name="connsiteX123" fmla="*/ 301474 w 565545"/>
                <a:gd name="connsiteY123" fmla="*/ 226447 h 493127"/>
                <a:gd name="connsiteX124" fmla="*/ 302912 w 565545"/>
                <a:gd name="connsiteY124" fmla="*/ 229321 h 493127"/>
                <a:gd name="connsiteX125" fmla="*/ 305789 w 565545"/>
                <a:gd name="connsiteY125" fmla="*/ 233632 h 493127"/>
                <a:gd name="connsiteX126" fmla="*/ 308665 w 565545"/>
                <a:gd name="connsiteY126" fmla="*/ 233632 h 493127"/>
                <a:gd name="connsiteX127" fmla="*/ 312980 w 565545"/>
                <a:gd name="connsiteY127" fmla="*/ 233632 h 493127"/>
                <a:gd name="connsiteX128" fmla="*/ 315856 w 565545"/>
                <a:gd name="connsiteY128" fmla="*/ 230758 h 493127"/>
                <a:gd name="connsiteX129" fmla="*/ 318732 w 565545"/>
                <a:gd name="connsiteY129" fmla="*/ 227884 h 493127"/>
                <a:gd name="connsiteX130" fmla="*/ 320171 w 565545"/>
                <a:gd name="connsiteY130" fmla="*/ 223574 h 493127"/>
                <a:gd name="connsiteX131" fmla="*/ 321609 w 565545"/>
                <a:gd name="connsiteY131" fmla="*/ 219263 h 493127"/>
                <a:gd name="connsiteX132" fmla="*/ 320171 w 565545"/>
                <a:gd name="connsiteY132" fmla="*/ 216390 h 493127"/>
                <a:gd name="connsiteX133" fmla="*/ 317294 w 565545"/>
                <a:gd name="connsiteY133" fmla="*/ 213516 h 493127"/>
                <a:gd name="connsiteX134" fmla="*/ 314418 w 565545"/>
                <a:gd name="connsiteY134" fmla="*/ 212079 h 493127"/>
                <a:gd name="connsiteX135" fmla="*/ 311541 w 565545"/>
                <a:gd name="connsiteY135" fmla="*/ 174721 h 493127"/>
                <a:gd name="connsiteX136" fmla="*/ 327362 w 565545"/>
                <a:gd name="connsiteY136" fmla="*/ 184779 h 493127"/>
                <a:gd name="connsiteX137" fmla="*/ 314418 w 565545"/>
                <a:gd name="connsiteY137" fmla="*/ 203458 h 493127"/>
                <a:gd name="connsiteX138" fmla="*/ 315856 w 565545"/>
                <a:gd name="connsiteY138" fmla="*/ 203458 h 493127"/>
                <a:gd name="connsiteX139" fmla="*/ 323047 w 565545"/>
                <a:gd name="connsiteY139" fmla="*/ 202021 h 493127"/>
                <a:gd name="connsiteX140" fmla="*/ 330238 w 565545"/>
                <a:gd name="connsiteY140" fmla="*/ 204895 h 493127"/>
                <a:gd name="connsiteX141" fmla="*/ 337429 w 565545"/>
                <a:gd name="connsiteY141" fmla="*/ 212079 h 493127"/>
                <a:gd name="connsiteX142" fmla="*/ 338867 w 565545"/>
                <a:gd name="connsiteY142" fmla="*/ 220700 h 493127"/>
                <a:gd name="connsiteX143" fmla="*/ 337429 w 565545"/>
                <a:gd name="connsiteY143" fmla="*/ 229321 h 493127"/>
                <a:gd name="connsiteX144" fmla="*/ 333114 w 565545"/>
                <a:gd name="connsiteY144" fmla="*/ 236505 h 493127"/>
                <a:gd name="connsiteX145" fmla="*/ 327362 w 565545"/>
                <a:gd name="connsiteY145" fmla="*/ 243690 h 493127"/>
                <a:gd name="connsiteX146" fmla="*/ 320171 w 565545"/>
                <a:gd name="connsiteY146" fmla="*/ 248000 h 493127"/>
                <a:gd name="connsiteX147" fmla="*/ 311541 w 565545"/>
                <a:gd name="connsiteY147" fmla="*/ 249437 h 493127"/>
                <a:gd name="connsiteX148" fmla="*/ 302912 w 565545"/>
                <a:gd name="connsiteY148" fmla="*/ 246563 h 493127"/>
                <a:gd name="connsiteX149" fmla="*/ 298598 w 565545"/>
                <a:gd name="connsiteY149" fmla="*/ 243690 h 493127"/>
                <a:gd name="connsiteX150" fmla="*/ 297160 w 565545"/>
                <a:gd name="connsiteY150" fmla="*/ 240816 h 493127"/>
                <a:gd name="connsiteX151" fmla="*/ 295721 w 565545"/>
                <a:gd name="connsiteY151" fmla="*/ 237942 h 493127"/>
                <a:gd name="connsiteX152" fmla="*/ 295721 w 565545"/>
                <a:gd name="connsiteY152" fmla="*/ 235069 h 493127"/>
                <a:gd name="connsiteX153" fmla="*/ 292845 w 565545"/>
                <a:gd name="connsiteY153" fmla="*/ 239379 h 493127"/>
                <a:gd name="connsiteX154" fmla="*/ 277025 w 565545"/>
                <a:gd name="connsiteY154" fmla="*/ 229321 h 493127"/>
                <a:gd name="connsiteX155" fmla="*/ 28601 w 565545"/>
                <a:gd name="connsiteY155" fmla="*/ 157593 h 493127"/>
                <a:gd name="connsiteX156" fmla="*/ 30037 w 565545"/>
                <a:gd name="connsiteY156" fmla="*/ 170525 h 493127"/>
                <a:gd name="connsiteX157" fmla="*/ 50136 w 565545"/>
                <a:gd name="connsiteY157" fmla="*/ 161904 h 493127"/>
                <a:gd name="connsiteX158" fmla="*/ 255500 w 565545"/>
                <a:gd name="connsiteY158" fmla="*/ 149094 h 493127"/>
                <a:gd name="connsiteX159" fmla="*/ 213874 w 565545"/>
                <a:gd name="connsiteY159" fmla="*/ 362681 h 493127"/>
                <a:gd name="connsiteX160" fmla="*/ 472244 w 565545"/>
                <a:gd name="connsiteY160" fmla="*/ 435788 h 493127"/>
                <a:gd name="connsiteX161" fmla="*/ 532531 w 565545"/>
                <a:gd name="connsiteY161" fmla="*/ 182064 h 493127"/>
                <a:gd name="connsiteX162" fmla="*/ 152130 w 565545"/>
                <a:gd name="connsiteY162" fmla="*/ 144835 h 493127"/>
                <a:gd name="connsiteX163" fmla="*/ 170746 w 565545"/>
                <a:gd name="connsiteY163" fmla="*/ 156283 h 493127"/>
                <a:gd name="connsiteX164" fmla="*/ 154994 w 565545"/>
                <a:gd name="connsiteY164" fmla="*/ 167731 h 493127"/>
                <a:gd name="connsiteX165" fmla="*/ 152130 w 565545"/>
                <a:gd name="connsiteY165" fmla="*/ 166300 h 493127"/>
                <a:gd name="connsiteX166" fmla="*/ 149265 w 565545"/>
                <a:gd name="connsiteY166" fmla="*/ 163438 h 493127"/>
                <a:gd name="connsiteX167" fmla="*/ 144969 w 565545"/>
                <a:gd name="connsiteY167" fmla="*/ 163438 h 493127"/>
                <a:gd name="connsiteX168" fmla="*/ 140673 w 565545"/>
                <a:gd name="connsiteY168" fmla="*/ 164869 h 493127"/>
                <a:gd name="connsiteX169" fmla="*/ 136377 w 565545"/>
                <a:gd name="connsiteY169" fmla="*/ 170593 h 493127"/>
                <a:gd name="connsiteX170" fmla="*/ 134945 w 565545"/>
                <a:gd name="connsiteY170" fmla="*/ 174886 h 493127"/>
                <a:gd name="connsiteX171" fmla="*/ 136377 w 565545"/>
                <a:gd name="connsiteY171" fmla="*/ 182040 h 493127"/>
                <a:gd name="connsiteX172" fmla="*/ 140673 w 565545"/>
                <a:gd name="connsiteY172" fmla="*/ 187764 h 493127"/>
                <a:gd name="connsiteX173" fmla="*/ 144969 w 565545"/>
                <a:gd name="connsiteY173" fmla="*/ 192057 h 493127"/>
                <a:gd name="connsiteX174" fmla="*/ 149265 w 565545"/>
                <a:gd name="connsiteY174" fmla="*/ 196350 h 493127"/>
                <a:gd name="connsiteX175" fmla="*/ 154994 w 565545"/>
                <a:gd name="connsiteY175" fmla="*/ 197781 h 493127"/>
                <a:gd name="connsiteX176" fmla="*/ 160722 w 565545"/>
                <a:gd name="connsiteY176" fmla="*/ 194919 h 493127"/>
                <a:gd name="connsiteX177" fmla="*/ 163586 w 565545"/>
                <a:gd name="connsiteY177" fmla="*/ 192057 h 493127"/>
                <a:gd name="connsiteX178" fmla="*/ 165018 w 565545"/>
                <a:gd name="connsiteY178" fmla="*/ 187764 h 493127"/>
                <a:gd name="connsiteX179" fmla="*/ 165018 w 565545"/>
                <a:gd name="connsiteY179" fmla="*/ 184902 h 493127"/>
                <a:gd name="connsiteX180" fmla="*/ 163586 w 565545"/>
                <a:gd name="connsiteY180" fmla="*/ 180609 h 493127"/>
                <a:gd name="connsiteX181" fmla="*/ 179339 w 565545"/>
                <a:gd name="connsiteY181" fmla="*/ 169162 h 493127"/>
                <a:gd name="connsiteX182" fmla="*/ 183635 w 565545"/>
                <a:gd name="connsiteY182" fmla="*/ 177748 h 493127"/>
                <a:gd name="connsiteX183" fmla="*/ 183635 w 565545"/>
                <a:gd name="connsiteY183" fmla="*/ 189195 h 493127"/>
                <a:gd name="connsiteX184" fmla="*/ 179339 w 565545"/>
                <a:gd name="connsiteY184" fmla="*/ 199212 h 493127"/>
                <a:gd name="connsiteX185" fmla="*/ 170746 w 565545"/>
                <a:gd name="connsiteY185" fmla="*/ 207798 h 493127"/>
                <a:gd name="connsiteX186" fmla="*/ 157858 w 565545"/>
                <a:gd name="connsiteY186" fmla="*/ 213522 h 493127"/>
                <a:gd name="connsiteX187" fmla="*/ 144969 w 565545"/>
                <a:gd name="connsiteY187" fmla="*/ 213522 h 493127"/>
                <a:gd name="connsiteX188" fmla="*/ 133513 w 565545"/>
                <a:gd name="connsiteY188" fmla="*/ 209229 h 493127"/>
                <a:gd name="connsiteX189" fmla="*/ 123488 w 565545"/>
                <a:gd name="connsiteY189" fmla="*/ 199212 h 493127"/>
                <a:gd name="connsiteX190" fmla="*/ 117760 w 565545"/>
                <a:gd name="connsiteY190" fmla="*/ 186333 h 493127"/>
                <a:gd name="connsiteX191" fmla="*/ 116328 w 565545"/>
                <a:gd name="connsiteY191" fmla="*/ 173455 h 493127"/>
                <a:gd name="connsiteX192" fmla="*/ 122056 w 565545"/>
                <a:gd name="connsiteY192" fmla="*/ 162007 h 493127"/>
                <a:gd name="connsiteX193" fmla="*/ 132081 w 565545"/>
                <a:gd name="connsiteY193" fmla="*/ 151990 h 493127"/>
                <a:gd name="connsiteX194" fmla="*/ 152130 w 565545"/>
                <a:gd name="connsiteY194" fmla="*/ 144835 h 493127"/>
                <a:gd name="connsiteX195" fmla="*/ 2759 w 565545"/>
                <a:gd name="connsiteY195" fmla="*/ 131730 h 493127"/>
                <a:gd name="connsiteX196" fmla="*/ 71671 w 565545"/>
                <a:gd name="connsiteY196" fmla="*/ 150409 h 493127"/>
                <a:gd name="connsiteX197" fmla="*/ 73107 w 565545"/>
                <a:gd name="connsiteY197" fmla="*/ 170525 h 493127"/>
                <a:gd name="connsiteX198" fmla="*/ 8502 w 565545"/>
                <a:gd name="connsiteY198" fmla="*/ 200699 h 493127"/>
                <a:gd name="connsiteX199" fmla="*/ 7066 w 565545"/>
                <a:gd name="connsiteY199" fmla="*/ 179146 h 493127"/>
                <a:gd name="connsiteX200" fmla="*/ 15680 w 565545"/>
                <a:gd name="connsiteY200" fmla="*/ 176272 h 493127"/>
                <a:gd name="connsiteX201" fmla="*/ 14244 w 565545"/>
                <a:gd name="connsiteY201" fmla="*/ 154720 h 493127"/>
                <a:gd name="connsiteX202" fmla="*/ 4195 w 565545"/>
                <a:gd name="connsiteY202" fmla="*/ 153283 h 493127"/>
                <a:gd name="connsiteX203" fmla="*/ 242581 w 565545"/>
                <a:gd name="connsiteY203" fmla="*/ 127592 h 493127"/>
                <a:gd name="connsiteX204" fmla="*/ 565545 w 565545"/>
                <a:gd name="connsiteY204" fmla="*/ 159128 h 493127"/>
                <a:gd name="connsiteX205" fmla="*/ 493775 w 565545"/>
                <a:gd name="connsiteY205" fmla="*/ 461591 h 493127"/>
                <a:gd name="connsiteX206" fmla="*/ 261242 w 565545"/>
                <a:gd name="connsiteY206" fmla="*/ 493127 h 493127"/>
                <a:gd name="connsiteX207" fmla="*/ 0 w 565545"/>
                <a:gd name="connsiteY207" fmla="*/ 399951 h 493127"/>
                <a:gd name="connsiteX208" fmla="*/ 195214 w 565545"/>
                <a:gd name="connsiteY208" fmla="*/ 369849 h 493127"/>
                <a:gd name="connsiteX209" fmla="*/ 345994 w 565545"/>
                <a:gd name="connsiteY209" fmla="*/ 77420 h 493127"/>
                <a:gd name="connsiteX210" fmla="*/ 344557 w 565545"/>
                <a:gd name="connsiteY210" fmla="*/ 80289 h 493127"/>
                <a:gd name="connsiteX211" fmla="*/ 341684 w 565545"/>
                <a:gd name="connsiteY211" fmla="*/ 83157 h 493127"/>
                <a:gd name="connsiteX212" fmla="*/ 337373 w 565545"/>
                <a:gd name="connsiteY212" fmla="*/ 87459 h 493127"/>
                <a:gd name="connsiteX213" fmla="*/ 338810 w 565545"/>
                <a:gd name="connsiteY213" fmla="*/ 90327 h 493127"/>
                <a:gd name="connsiteX214" fmla="*/ 341684 w 565545"/>
                <a:gd name="connsiteY214" fmla="*/ 93196 h 493127"/>
                <a:gd name="connsiteX215" fmla="*/ 345994 w 565545"/>
                <a:gd name="connsiteY215" fmla="*/ 91762 h 493127"/>
                <a:gd name="connsiteX216" fmla="*/ 350305 w 565545"/>
                <a:gd name="connsiteY216" fmla="*/ 87459 h 493127"/>
                <a:gd name="connsiteX217" fmla="*/ 348868 w 565545"/>
                <a:gd name="connsiteY217" fmla="*/ 81723 h 493127"/>
                <a:gd name="connsiteX218" fmla="*/ 192358 w 565545"/>
                <a:gd name="connsiteY218" fmla="*/ 57297 h 493127"/>
                <a:gd name="connsiteX219" fmla="*/ 180893 w 565545"/>
                <a:gd name="connsiteY219" fmla="*/ 70189 h 493127"/>
                <a:gd name="connsiteX220" fmla="*/ 192358 w 565545"/>
                <a:gd name="connsiteY220" fmla="*/ 81648 h 493127"/>
                <a:gd name="connsiteX221" fmla="*/ 196657 w 565545"/>
                <a:gd name="connsiteY221" fmla="*/ 83081 h 493127"/>
                <a:gd name="connsiteX222" fmla="*/ 199523 w 565545"/>
                <a:gd name="connsiteY222" fmla="*/ 84513 h 493127"/>
                <a:gd name="connsiteX223" fmla="*/ 203823 w 565545"/>
                <a:gd name="connsiteY223" fmla="*/ 84513 h 493127"/>
                <a:gd name="connsiteX224" fmla="*/ 206689 w 565545"/>
                <a:gd name="connsiteY224" fmla="*/ 81648 h 493127"/>
                <a:gd name="connsiteX225" fmla="*/ 205256 w 565545"/>
                <a:gd name="connsiteY225" fmla="*/ 68756 h 493127"/>
                <a:gd name="connsiteX226" fmla="*/ 340247 w 565545"/>
                <a:gd name="connsiteY226" fmla="*/ 50172 h 493127"/>
                <a:gd name="connsiteX227" fmla="*/ 347431 w 565545"/>
                <a:gd name="connsiteY227" fmla="*/ 50172 h 493127"/>
                <a:gd name="connsiteX228" fmla="*/ 353178 w 565545"/>
                <a:gd name="connsiteY228" fmla="*/ 54474 h 493127"/>
                <a:gd name="connsiteX229" fmla="*/ 357489 w 565545"/>
                <a:gd name="connsiteY229" fmla="*/ 60211 h 493127"/>
                <a:gd name="connsiteX230" fmla="*/ 367547 w 565545"/>
                <a:gd name="connsiteY230" fmla="*/ 77420 h 493127"/>
                <a:gd name="connsiteX231" fmla="*/ 370420 w 565545"/>
                <a:gd name="connsiteY231" fmla="*/ 81723 h 493127"/>
                <a:gd name="connsiteX232" fmla="*/ 374731 w 565545"/>
                <a:gd name="connsiteY232" fmla="*/ 86025 h 493127"/>
                <a:gd name="connsiteX233" fmla="*/ 358926 w 565545"/>
                <a:gd name="connsiteY233" fmla="*/ 96064 h 493127"/>
                <a:gd name="connsiteX234" fmla="*/ 357489 w 565545"/>
                <a:gd name="connsiteY234" fmla="*/ 94630 h 493127"/>
                <a:gd name="connsiteX235" fmla="*/ 356052 w 565545"/>
                <a:gd name="connsiteY235" fmla="*/ 91762 h 493127"/>
                <a:gd name="connsiteX236" fmla="*/ 351742 w 565545"/>
                <a:gd name="connsiteY236" fmla="*/ 100366 h 493127"/>
                <a:gd name="connsiteX237" fmla="*/ 344557 w 565545"/>
                <a:gd name="connsiteY237" fmla="*/ 106103 h 493127"/>
                <a:gd name="connsiteX238" fmla="*/ 338810 w 565545"/>
                <a:gd name="connsiteY238" fmla="*/ 107537 h 493127"/>
                <a:gd name="connsiteX239" fmla="*/ 333063 w 565545"/>
                <a:gd name="connsiteY239" fmla="*/ 108971 h 493127"/>
                <a:gd name="connsiteX240" fmla="*/ 327315 w 565545"/>
                <a:gd name="connsiteY240" fmla="*/ 106103 h 493127"/>
                <a:gd name="connsiteX241" fmla="*/ 321568 w 565545"/>
                <a:gd name="connsiteY241" fmla="*/ 101800 h 493127"/>
                <a:gd name="connsiteX242" fmla="*/ 320131 w 565545"/>
                <a:gd name="connsiteY242" fmla="*/ 94630 h 493127"/>
                <a:gd name="connsiteX243" fmla="*/ 321568 w 565545"/>
                <a:gd name="connsiteY243" fmla="*/ 88893 h 493127"/>
                <a:gd name="connsiteX244" fmla="*/ 324442 w 565545"/>
                <a:gd name="connsiteY244" fmla="*/ 84591 h 493127"/>
                <a:gd name="connsiteX245" fmla="*/ 328752 w 565545"/>
                <a:gd name="connsiteY245" fmla="*/ 80289 h 493127"/>
                <a:gd name="connsiteX246" fmla="*/ 333063 w 565545"/>
                <a:gd name="connsiteY246" fmla="*/ 75986 h 493127"/>
                <a:gd name="connsiteX247" fmla="*/ 337373 w 565545"/>
                <a:gd name="connsiteY247" fmla="*/ 73118 h 493127"/>
                <a:gd name="connsiteX248" fmla="*/ 340247 w 565545"/>
                <a:gd name="connsiteY248" fmla="*/ 70250 h 493127"/>
                <a:gd name="connsiteX249" fmla="*/ 340247 w 565545"/>
                <a:gd name="connsiteY249" fmla="*/ 65947 h 493127"/>
                <a:gd name="connsiteX250" fmla="*/ 335936 w 565545"/>
                <a:gd name="connsiteY250" fmla="*/ 64513 h 493127"/>
                <a:gd name="connsiteX251" fmla="*/ 331626 w 565545"/>
                <a:gd name="connsiteY251" fmla="*/ 65947 h 493127"/>
                <a:gd name="connsiteX252" fmla="*/ 328752 w 565545"/>
                <a:gd name="connsiteY252" fmla="*/ 67382 h 493127"/>
                <a:gd name="connsiteX253" fmla="*/ 328752 w 565545"/>
                <a:gd name="connsiteY253" fmla="*/ 70250 h 493127"/>
                <a:gd name="connsiteX254" fmla="*/ 327315 w 565545"/>
                <a:gd name="connsiteY254" fmla="*/ 71684 h 493127"/>
                <a:gd name="connsiteX255" fmla="*/ 328752 w 565545"/>
                <a:gd name="connsiteY255" fmla="*/ 73118 h 493127"/>
                <a:gd name="connsiteX256" fmla="*/ 312947 w 565545"/>
                <a:gd name="connsiteY256" fmla="*/ 83157 h 493127"/>
                <a:gd name="connsiteX257" fmla="*/ 311510 w 565545"/>
                <a:gd name="connsiteY257" fmla="*/ 74552 h 493127"/>
                <a:gd name="connsiteX258" fmla="*/ 314384 w 565545"/>
                <a:gd name="connsiteY258" fmla="*/ 65947 h 493127"/>
                <a:gd name="connsiteX259" fmla="*/ 320131 w 565545"/>
                <a:gd name="connsiteY259" fmla="*/ 60211 h 493127"/>
                <a:gd name="connsiteX260" fmla="*/ 327315 w 565545"/>
                <a:gd name="connsiteY260" fmla="*/ 55909 h 493127"/>
                <a:gd name="connsiteX261" fmla="*/ 340247 w 565545"/>
                <a:gd name="connsiteY261" fmla="*/ 50172 h 493127"/>
                <a:gd name="connsiteX262" fmla="*/ 57416 w 565545"/>
                <a:gd name="connsiteY262" fmla="*/ 48693 h 493127"/>
                <a:gd name="connsiteX263" fmla="*/ 53106 w 565545"/>
                <a:gd name="connsiteY263" fmla="*/ 50126 h 493127"/>
                <a:gd name="connsiteX264" fmla="*/ 51669 w 565545"/>
                <a:gd name="connsiteY264" fmla="*/ 54424 h 493127"/>
                <a:gd name="connsiteX265" fmla="*/ 53106 w 565545"/>
                <a:gd name="connsiteY265" fmla="*/ 58722 h 493127"/>
                <a:gd name="connsiteX266" fmla="*/ 60290 w 565545"/>
                <a:gd name="connsiteY266" fmla="*/ 63020 h 493127"/>
                <a:gd name="connsiteX267" fmla="*/ 67474 w 565545"/>
                <a:gd name="connsiteY267" fmla="*/ 60155 h 493127"/>
                <a:gd name="connsiteX268" fmla="*/ 71785 w 565545"/>
                <a:gd name="connsiteY268" fmla="*/ 55856 h 493127"/>
                <a:gd name="connsiteX269" fmla="*/ 67474 w 565545"/>
                <a:gd name="connsiteY269" fmla="*/ 54424 h 493127"/>
                <a:gd name="connsiteX270" fmla="*/ 63163 w 565545"/>
                <a:gd name="connsiteY270" fmla="*/ 51558 h 493127"/>
                <a:gd name="connsiteX271" fmla="*/ 57416 w 565545"/>
                <a:gd name="connsiteY271" fmla="*/ 48693 h 493127"/>
                <a:gd name="connsiteX272" fmla="*/ 212421 w 565545"/>
                <a:gd name="connsiteY272" fmla="*/ 34378 h 493127"/>
                <a:gd name="connsiteX273" fmla="*/ 203823 w 565545"/>
                <a:gd name="connsiteY273" fmla="*/ 45838 h 493127"/>
                <a:gd name="connsiteX274" fmla="*/ 213855 w 565545"/>
                <a:gd name="connsiteY274" fmla="*/ 54432 h 493127"/>
                <a:gd name="connsiteX275" fmla="*/ 221020 w 565545"/>
                <a:gd name="connsiteY275" fmla="*/ 58729 h 493127"/>
                <a:gd name="connsiteX276" fmla="*/ 226753 w 565545"/>
                <a:gd name="connsiteY276" fmla="*/ 55864 h 493127"/>
                <a:gd name="connsiteX277" fmla="*/ 228186 w 565545"/>
                <a:gd name="connsiteY277" fmla="*/ 50135 h 493127"/>
                <a:gd name="connsiteX278" fmla="*/ 223886 w 565545"/>
                <a:gd name="connsiteY278" fmla="*/ 44405 h 493127"/>
                <a:gd name="connsiteX279" fmla="*/ 511087 w 565545"/>
                <a:gd name="connsiteY279" fmla="*/ 34255 h 493127"/>
                <a:gd name="connsiteX280" fmla="*/ 525446 w 565545"/>
                <a:gd name="connsiteY280" fmla="*/ 35692 h 493127"/>
                <a:gd name="connsiteX281" fmla="*/ 536933 w 565545"/>
                <a:gd name="connsiteY281" fmla="*/ 41439 h 493127"/>
                <a:gd name="connsiteX282" fmla="*/ 545548 w 565545"/>
                <a:gd name="connsiteY282" fmla="*/ 51497 h 493127"/>
                <a:gd name="connsiteX283" fmla="*/ 549855 w 565545"/>
                <a:gd name="connsiteY283" fmla="*/ 65866 h 493127"/>
                <a:gd name="connsiteX284" fmla="*/ 522574 w 565545"/>
                <a:gd name="connsiteY284" fmla="*/ 65866 h 493127"/>
                <a:gd name="connsiteX285" fmla="*/ 518267 w 565545"/>
                <a:gd name="connsiteY285" fmla="*/ 58682 h 493127"/>
                <a:gd name="connsiteX286" fmla="*/ 511087 w 565545"/>
                <a:gd name="connsiteY286" fmla="*/ 55808 h 493127"/>
                <a:gd name="connsiteX287" fmla="*/ 503908 w 565545"/>
                <a:gd name="connsiteY287" fmla="*/ 57245 h 493127"/>
                <a:gd name="connsiteX288" fmla="*/ 501037 w 565545"/>
                <a:gd name="connsiteY288" fmla="*/ 61555 h 493127"/>
                <a:gd name="connsiteX289" fmla="*/ 498165 w 565545"/>
                <a:gd name="connsiteY289" fmla="*/ 67303 h 493127"/>
                <a:gd name="connsiteX290" fmla="*/ 498165 w 565545"/>
                <a:gd name="connsiteY290" fmla="*/ 74487 h 493127"/>
                <a:gd name="connsiteX291" fmla="*/ 498165 w 565545"/>
                <a:gd name="connsiteY291" fmla="*/ 81671 h 493127"/>
                <a:gd name="connsiteX292" fmla="*/ 501037 w 565545"/>
                <a:gd name="connsiteY292" fmla="*/ 87419 h 493127"/>
                <a:gd name="connsiteX293" fmla="*/ 503908 w 565545"/>
                <a:gd name="connsiteY293" fmla="*/ 91729 h 493127"/>
                <a:gd name="connsiteX294" fmla="*/ 511087 w 565545"/>
                <a:gd name="connsiteY294" fmla="*/ 93166 h 493127"/>
                <a:gd name="connsiteX295" fmla="*/ 519702 w 565545"/>
                <a:gd name="connsiteY295" fmla="*/ 90292 h 493127"/>
                <a:gd name="connsiteX296" fmla="*/ 522574 w 565545"/>
                <a:gd name="connsiteY296" fmla="*/ 83108 h 493127"/>
                <a:gd name="connsiteX297" fmla="*/ 551291 w 565545"/>
                <a:gd name="connsiteY297" fmla="*/ 83108 h 493127"/>
                <a:gd name="connsiteX298" fmla="*/ 545548 w 565545"/>
                <a:gd name="connsiteY298" fmla="*/ 96040 h 493127"/>
                <a:gd name="connsiteX299" fmla="*/ 536933 w 565545"/>
                <a:gd name="connsiteY299" fmla="*/ 106098 h 493127"/>
                <a:gd name="connsiteX300" fmla="*/ 525446 w 565545"/>
                <a:gd name="connsiteY300" fmla="*/ 113282 h 493127"/>
                <a:gd name="connsiteX301" fmla="*/ 511087 w 565545"/>
                <a:gd name="connsiteY301" fmla="*/ 114719 h 493127"/>
                <a:gd name="connsiteX302" fmla="*/ 493857 w 565545"/>
                <a:gd name="connsiteY302" fmla="*/ 111845 h 493127"/>
                <a:gd name="connsiteX303" fmla="*/ 480935 w 565545"/>
                <a:gd name="connsiteY303" fmla="*/ 104661 h 493127"/>
                <a:gd name="connsiteX304" fmla="*/ 472320 w 565545"/>
                <a:gd name="connsiteY304" fmla="*/ 91729 h 493127"/>
                <a:gd name="connsiteX305" fmla="*/ 469448 w 565545"/>
                <a:gd name="connsiteY305" fmla="*/ 74487 h 493127"/>
                <a:gd name="connsiteX306" fmla="*/ 472320 w 565545"/>
                <a:gd name="connsiteY306" fmla="*/ 58682 h 493127"/>
                <a:gd name="connsiteX307" fmla="*/ 480935 w 565545"/>
                <a:gd name="connsiteY307" fmla="*/ 45750 h 493127"/>
                <a:gd name="connsiteX308" fmla="*/ 493857 w 565545"/>
                <a:gd name="connsiteY308" fmla="*/ 37129 h 493127"/>
                <a:gd name="connsiteX309" fmla="*/ 511087 w 565545"/>
                <a:gd name="connsiteY309" fmla="*/ 34255 h 493127"/>
                <a:gd name="connsiteX310" fmla="*/ 417704 w 565545"/>
                <a:gd name="connsiteY310" fmla="*/ 17158 h 493127"/>
                <a:gd name="connsiteX311" fmla="*/ 413406 w 565545"/>
                <a:gd name="connsiteY311" fmla="*/ 18588 h 493127"/>
                <a:gd name="connsiteX312" fmla="*/ 411974 w 565545"/>
                <a:gd name="connsiteY312" fmla="*/ 21447 h 493127"/>
                <a:gd name="connsiteX313" fmla="*/ 410542 w 565545"/>
                <a:gd name="connsiteY313" fmla="*/ 25737 h 493127"/>
                <a:gd name="connsiteX314" fmla="*/ 411974 w 565545"/>
                <a:gd name="connsiteY314" fmla="*/ 28597 h 493127"/>
                <a:gd name="connsiteX315" fmla="*/ 414839 w 565545"/>
                <a:gd name="connsiteY315" fmla="*/ 31456 h 493127"/>
                <a:gd name="connsiteX316" fmla="*/ 419136 w 565545"/>
                <a:gd name="connsiteY316" fmla="*/ 34316 h 493127"/>
                <a:gd name="connsiteX317" fmla="*/ 422001 w 565545"/>
                <a:gd name="connsiteY317" fmla="*/ 35746 h 493127"/>
                <a:gd name="connsiteX318" fmla="*/ 426298 w 565545"/>
                <a:gd name="connsiteY318" fmla="*/ 35746 h 493127"/>
                <a:gd name="connsiteX319" fmla="*/ 430596 w 565545"/>
                <a:gd name="connsiteY319" fmla="*/ 34316 h 493127"/>
                <a:gd name="connsiteX320" fmla="*/ 432028 w 565545"/>
                <a:gd name="connsiteY320" fmla="*/ 31456 h 493127"/>
                <a:gd name="connsiteX321" fmla="*/ 433460 w 565545"/>
                <a:gd name="connsiteY321" fmla="*/ 27167 h 493127"/>
                <a:gd name="connsiteX322" fmla="*/ 432028 w 565545"/>
                <a:gd name="connsiteY322" fmla="*/ 24307 h 493127"/>
                <a:gd name="connsiteX323" fmla="*/ 429163 w 565545"/>
                <a:gd name="connsiteY323" fmla="*/ 21447 h 493127"/>
                <a:gd name="connsiteX324" fmla="*/ 424866 w 565545"/>
                <a:gd name="connsiteY324" fmla="*/ 20018 h 493127"/>
                <a:gd name="connsiteX325" fmla="*/ 422001 w 565545"/>
                <a:gd name="connsiteY325" fmla="*/ 18588 h 493127"/>
                <a:gd name="connsiteX326" fmla="*/ 417704 w 565545"/>
                <a:gd name="connsiteY326" fmla="*/ 17158 h 493127"/>
                <a:gd name="connsiteX327" fmla="*/ 66037 w 565545"/>
                <a:gd name="connsiteY327" fmla="*/ 12874 h 493127"/>
                <a:gd name="connsiteX328" fmla="*/ 76095 w 565545"/>
                <a:gd name="connsiteY328" fmla="*/ 14307 h 493127"/>
                <a:gd name="connsiteX329" fmla="*/ 84716 w 565545"/>
                <a:gd name="connsiteY329" fmla="*/ 20038 h 493127"/>
                <a:gd name="connsiteX330" fmla="*/ 93337 w 565545"/>
                <a:gd name="connsiteY330" fmla="*/ 27202 h 493127"/>
                <a:gd name="connsiteX331" fmla="*/ 101958 w 565545"/>
                <a:gd name="connsiteY331" fmla="*/ 41529 h 493127"/>
                <a:gd name="connsiteX332" fmla="*/ 104832 w 565545"/>
                <a:gd name="connsiteY332" fmla="*/ 51558 h 493127"/>
                <a:gd name="connsiteX333" fmla="*/ 100521 w 565545"/>
                <a:gd name="connsiteY333" fmla="*/ 58722 h 493127"/>
                <a:gd name="connsiteX334" fmla="*/ 94774 w 565545"/>
                <a:gd name="connsiteY334" fmla="*/ 64453 h 493127"/>
                <a:gd name="connsiteX335" fmla="*/ 76095 w 565545"/>
                <a:gd name="connsiteY335" fmla="*/ 81646 h 493127"/>
                <a:gd name="connsiteX336" fmla="*/ 70348 w 565545"/>
                <a:gd name="connsiteY336" fmla="*/ 87377 h 493127"/>
                <a:gd name="connsiteX337" fmla="*/ 67474 w 565545"/>
                <a:gd name="connsiteY337" fmla="*/ 93108 h 493127"/>
                <a:gd name="connsiteX338" fmla="*/ 51669 w 565545"/>
                <a:gd name="connsiteY338" fmla="*/ 75915 h 493127"/>
                <a:gd name="connsiteX339" fmla="*/ 53106 w 565545"/>
                <a:gd name="connsiteY339" fmla="*/ 73050 h 493127"/>
                <a:gd name="connsiteX340" fmla="*/ 55979 w 565545"/>
                <a:gd name="connsiteY340" fmla="*/ 71617 h 493127"/>
                <a:gd name="connsiteX341" fmla="*/ 55979 w 565545"/>
                <a:gd name="connsiteY341" fmla="*/ 70184 h 493127"/>
                <a:gd name="connsiteX342" fmla="*/ 44484 w 565545"/>
                <a:gd name="connsiteY342" fmla="*/ 68751 h 493127"/>
                <a:gd name="connsiteX343" fmla="*/ 37300 w 565545"/>
                <a:gd name="connsiteY343" fmla="*/ 61588 h 493127"/>
                <a:gd name="connsiteX344" fmla="*/ 31553 w 565545"/>
                <a:gd name="connsiteY344" fmla="*/ 54424 h 493127"/>
                <a:gd name="connsiteX345" fmla="*/ 30116 w 565545"/>
                <a:gd name="connsiteY345" fmla="*/ 47260 h 493127"/>
                <a:gd name="connsiteX346" fmla="*/ 31553 w 565545"/>
                <a:gd name="connsiteY346" fmla="*/ 40096 h 493127"/>
                <a:gd name="connsiteX347" fmla="*/ 35863 w 565545"/>
                <a:gd name="connsiteY347" fmla="*/ 32932 h 493127"/>
                <a:gd name="connsiteX348" fmla="*/ 43048 w 565545"/>
                <a:gd name="connsiteY348" fmla="*/ 28634 h 493127"/>
                <a:gd name="connsiteX349" fmla="*/ 50232 w 565545"/>
                <a:gd name="connsiteY349" fmla="*/ 28634 h 493127"/>
                <a:gd name="connsiteX350" fmla="*/ 57416 w 565545"/>
                <a:gd name="connsiteY350" fmla="*/ 31500 h 493127"/>
                <a:gd name="connsiteX351" fmla="*/ 63163 w 565545"/>
                <a:gd name="connsiteY351" fmla="*/ 35798 h 493127"/>
                <a:gd name="connsiteX352" fmla="*/ 68911 w 565545"/>
                <a:gd name="connsiteY352" fmla="*/ 40096 h 493127"/>
                <a:gd name="connsiteX353" fmla="*/ 74658 w 565545"/>
                <a:gd name="connsiteY353" fmla="*/ 44394 h 493127"/>
                <a:gd name="connsiteX354" fmla="*/ 78969 w 565545"/>
                <a:gd name="connsiteY354" fmla="*/ 47260 h 493127"/>
                <a:gd name="connsiteX355" fmla="*/ 83279 w 565545"/>
                <a:gd name="connsiteY355" fmla="*/ 45827 h 493127"/>
                <a:gd name="connsiteX356" fmla="*/ 84716 w 565545"/>
                <a:gd name="connsiteY356" fmla="*/ 41529 h 493127"/>
                <a:gd name="connsiteX357" fmla="*/ 81842 w 565545"/>
                <a:gd name="connsiteY357" fmla="*/ 35798 h 493127"/>
                <a:gd name="connsiteX358" fmla="*/ 78969 w 565545"/>
                <a:gd name="connsiteY358" fmla="*/ 32932 h 493127"/>
                <a:gd name="connsiteX359" fmla="*/ 76095 w 565545"/>
                <a:gd name="connsiteY359" fmla="*/ 32932 h 493127"/>
                <a:gd name="connsiteX360" fmla="*/ 73221 w 565545"/>
                <a:gd name="connsiteY360" fmla="*/ 32932 h 493127"/>
                <a:gd name="connsiteX361" fmla="*/ 71785 w 565545"/>
                <a:gd name="connsiteY361" fmla="*/ 34365 h 493127"/>
                <a:gd name="connsiteX362" fmla="*/ 57416 w 565545"/>
                <a:gd name="connsiteY362" fmla="*/ 18605 h 493127"/>
                <a:gd name="connsiteX363" fmla="*/ 66037 w 565545"/>
                <a:gd name="connsiteY363" fmla="*/ 12874 h 493127"/>
                <a:gd name="connsiteX364" fmla="*/ 416271 w 565545"/>
                <a:gd name="connsiteY364" fmla="*/ 0 h 493127"/>
                <a:gd name="connsiteX365" fmla="*/ 424866 w 565545"/>
                <a:gd name="connsiteY365" fmla="*/ 0 h 493127"/>
                <a:gd name="connsiteX366" fmla="*/ 432028 w 565545"/>
                <a:gd name="connsiteY366" fmla="*/ 2860 h 493127"/>
                <a:gd name="connsiteX367" fmla="*/ 440622 w 565545"/>
                <a:gd name="connsiteY367" fmla="*/ 7149 h 493127"/>
                <a:gd name="connsiteX368" fmla="*/ 446352 w 565545"/>
                <a:gd name="connsiteY368" fmla="*/ 14298 h 493127"/>
                <a:gd name="connsiteX369" fmla="*/ 449217 w 565545"/>
                <a:gd name="connsiteY369" fmla="*/ 22877 h 493127"/>
                <a:gd name="connsiteX370" fmla="*/ 446352 w 565545"/>
                <a:gd name="connsiteY370" fmla="*/ 31456 h 493127"/>
                <a:gd name="connsiteX371" fmla="*/ 444920 w 565545"/>
                <a:gd name="connsiteY371" fmla="*/ 35746 h 493127"/>
                <a:gd name="connsiteX372" fmla="*/ 440622 w 565545"/>
                <a:gd name="connsiteY372" fmla="*/ 38605 h 493127"/>
                <a:gd name="connsiteX373" fmla="*/ 437758 w 565545"/>
                <a:gd name="connsiteY373" fmla="*/ 40035 h 493127"/>
                <a:gd name="connsiteX374" fmla="*/ 434893 w 565545"/>
                <a:gd name="connsiteY374" fmla="*/ 41465 h 493127"/>
                <a:gd name="connsiteX375" fmla="*/ 440622 w 565545"/>
                <a:gd name="connsiteY375" fmla="*/ 42895 h 493127"/>
                <a:gd name="connsiteX376" fmla="*/ 433460 w 565545"/>
                <a:gd name="connsiteY376" fmla="*/ 58623 h 493127"/>
                <a:gd name="connsiteX377" fmla="*/ 374731 w 565545"/>
                <a:gd name="connsiteY377" fmla="*/ 32886 h 493127"/>
                <a:gd name="connsiteX378" fmla="*/ 381893 w 565545"/>
                <a:gd name="connsiteY378" fmla="*/ 15728 h 493127"/>
                <a:gd name="connsiteX379" fmla="*/ 401947 w 565545"/>
                <a:gd name="connsiteY379" fmla="*/ 25737 h 493127"/>
                <a:gd name="connsiteX380" fmla="*/ 400515 w 565545"/>
                <a:gd name="connsiteY380" fmla="*/ 18588 h 493127"/>
                <a:gd name="connsiteX381" fmla="*/ 401947 w 565545"/>
                <a:gd name="connsiteY381" fmla="*/ 11439 h 493127"/>
                <a:gd name="connsiteX382" fmla="*/ 407677 w 565545"/>
                <a:gd name="connsiteY382" fmla="*/ 2860 h 493127"/>
                <a:gd name="connsiteX383" fmla="*/ 416271 w 565545"/>
                <a:gd name="connsiteY383" fmla="*/ 0 h 493127"/>
                <a:gd name="connsiteX384" fmla="*/ 206689 w 565545"/>
                <a:gd name="connsiteY384" fmla="*/ 0 h 493127"/>
                <a:gd name="connsiteX385" fmla="*/ 243950 w 565545"/>
                <a:gd name="connsiteY385" fmla="*/ 34378 h 493127"/>
                <a:gd name="connsiteX386" fmla="*/ 252549 w 565545"/>
                <a:gd name="connsiteY386" fmla="*/ 44405 h 493127"/>
                <a:gd name="connsiteX387" fmla="*/ 255415 w 565545"/>
                <a:gd name="connsiteY387" fmla="*/ 55864 h 493127"/>
                <a:gd name="connsiteX388" fmla="*/ 253982 w 565545"/>
                <a:gd name="connsiteY388" fmla="*/ 63027 h 493127"/>
                <a:gd name="connsiteX389" fmla="*/ 249683 w 565545"/>
                <a:gd name="connsiteY389" fmla="*/ 70189 h 493127"/>
                <a:gd name="connsiteX390" fmla="*/ 239651 w 565545"/>
                <a:gd name="connsiteY390" fmla="*/ 75918 h 493127"/>
                <a:gd name="connsiteX391" fmla="*/ 229619 w 565545"/>
                <a:gd name="connsiteY391" fmla="*/ 75918 h 493127"/>
                <a:gd name="connsiteX392" fmla="*/ 231052 w 565545"/>
                <a:gd name="connsiteY392" fmla="*/ 81648 h 493127"/>
                <a:gd name="connsiteX393" fmla="*/ 232485 w 565545"/>
                <a:gd name="connsiteY393" fmla="*/ 88810 h 493127"/>
                <a:gd name="connsiteX394" fmla="*/ 231052 w 565545"/>
                <a:gd name="connsiteY394" fmla="*/ 95972 h 493127"/>
                <a:gd name="connsiteX395" fmla="*/ 225320 w 565545"/>
                <a:gd name="connsiteY395" fmla="*/ 103134 h 493127"/>
                <a:gd name="connsiteX396" fmla="*/ 215288 w 565545"/>
                <a:gd name="connsiteY396" fmla="*/ 110297 h 493127"/>
                <a:gd name="connsiteX397" fmla="*/ 205256 w 565545"/>
                <a:gd name="connsiteY397" fmla="*/ 111729 h 493127"/>
                <a:gd name="connsiteX398" fmla="*/ 193791 w 565545"/>
                <a:gd name="connsiteY398" fmla="*/ 108864 h 493127"/>
                <a:gd name="connsiteX399" fmla="*/ 183759 w 565545"/>
                <a:gd name="connsiteY399" fmla="*/ 101702 h 493127"/>
                <a:gd name="connsiteX400" fmla="*/ 145065 w 565545"/>
                <a:gd name="connsiteY400" fmla="*/ 67324 h 49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</a:cxnLst>
              <a:rect l="l" t="t" r="r" b="b"/>
              <a:pathLst>
                <a:path w="565545" h="493127">
                  <a:moveTo>
                    <a:pt x="162199" y="428621"/>
                  </a:moveTo>
                  <a:lnTo>
                    <a:pt x="132056" y="431488"/>
                  </a:lnTo>
                  <a:lnTo>
                    <a:pt x="196649" y="455857"/>
                  </a:lnTo>
                  <a:lnTo>
                    <a:pt x="235405" y="451556"/>
                  </a:lnTo>
                  <a:close/>
                  <a:moveTo>
                    <a:pt x="310101" y="309494"/>
                  </a:moveTo>
                  <a:cubicBezTo>
                    <a:pt x="312978" y="308061"/>
                    <a:pt x="314417" y="308061"/>
                    <a:pt x="317294" y="309494"/>
                  </a:cubicBezTo>
                  <a:cubicBezTo>
                    <a:pt x="318733" y="309494"/>
                    <a:pt x="321610" y="310927"/>
                    <a:pt x="323049" y="312360"/>
                  </a:cubicBezTo>
                  <a:cubicBezTo>
                    <a:pt x="325926" y="313793"/>
                    <a:pt x="327365" y="315226"/>
                    <a:pt x="328804" y="318092"/>
                  </a:cubicBezTo>
                  <a:cubicBezTo>
                    <a:pt x="331681" y="320958"/>
                    <a:pt x="333120" y="323824"/>
                    <a:pt x="333120" y="326690"/>
                  </a:cubicBezTo>
                  <a:cubicBezTo>
                    <a:pt x="333120" y="329556"/>
                    <a:pt x="333120" y="330990"/>
                    <a:pt x="333120" y="333856"/>
                  </a:cubicBezTo>
                  <a:cubicBezTo>
                    <a:pt x="331681" y="336722"/>
                    <a:pt x="331681" y="339588"/>
                    <a:pt x="328804" y="341021"/>
                  </a:cubicBezTo>
                  <a:cubicBezTo>
                    <a:pt x="327365" y="343887"/>
                    <a:pt x="325926" y="345320"/>
                    <a:pt x="323049" y="346753"/>
                  </a:cubicBezTo>
                  <a:cubicBezTo>
                    <a:pt x="320172" y="349619"/>
                    <a:pt x="317294" y="349619"/>
                    <a:pt x="314417" y="351052"/>
                  </a:cubicBezTo>
                  <a:cubicBezTo>
                    <a:pt x="311539" y="351052"/>
                    <a:pt x="308662" y="351052"/>
                    <a:pt x="307223" y="351052"/>
                  </a:cubicBezTo>
                  <a:cubicBezTo>
                    <a:pt x="304346" y="351052"/>
                    <a:pt x="301468" y="349619"/>
                    <a:pt x="300030" y="348186"/>
                  </a:cubicBezTo>
                  <a:cubicBezTo>
                    <a:pt x="297152" y="346753"/>
                    <a:pt x="295714" y="343887"/>
                    <a:pt x="292836" y="342454"/>
                  </a:cubicBezTo>
                  <a:cubicBezTo>
                    <a:pt x="289959" y="336722"/>
                    <a:pt x="288520" y="332423"/>
                    <a:pt x="289959" y="328123"/>
                  </a:cubicBezTo>
                  <a:cubicBezTo>
                    <a:pt x="289959" y="323824"/>
                    <a:pt x="292836" y="320958"/>
                    <a:pt x="297152" y="316659"/>
                  </a:cubicBezTo>
                  <a:lnTo>
                    <a:pt x="302907" y="328123"/>
                  </a:lnTo>
                  <a:cubicBezTo>
                    <a:pt x="301468" y="329556"/>
                    <a:pt x="301468" y="329556"/>
                    <a:pt x="301468" y="330990"/>
                  </a:cubicBezTo>
                  <a:cubicBezTo>
                    <a:pt x="301468" y="330990"/>
                    <a:pt x="301468" y="332423"/>
                    <a:pt x="301468" y="333856"/>
                  </a:cubicBezTo>
                  <a:cubicBezTo>
                    <a:pt x="301468" y="333856"/>
                    <a:pt x="301468" y="335289"/>
                    <a:pt x="301468" y="336722"/>
                  </a:cubicBezTo>
                  <a:cubicBezTo>
                    <a:pt x="302907" y="338155"/>
                    <a:pt x="304346" y="338155"/>
                    <a:pt x="304346" y="339588"/>
                  </a:cubicBezTo>
                  <a:cubicBezTo>
                    <a:pt x="305785" y="339588"/>
                    <a:pt x="307223" y="339588"/>
                    <a:pt x="308662" y="339588"/>
                  </a:cubicBezTo>
                  <a:cubicBezTo>
                    <a:pt x="310101" y="339588"/>
                    <a:pt x="311539" y="339588"/>
                    <a:pt x="311539" y="338155"/>
                  </a:cubicBezTo>
                  <a:cubicBezTo>
                    <a:pt x="312978" y="338155"/>
                    <a:pt x="314417" y="336722"/>
                    <a:pt x="315855" y="336722"/>
                  </a:cubicBezTo>
                  <a:cubicBezTo>
                    <a:pt x="317294" y="335289"/>
                    <a:pt x="318733" y="335289"/>
                    <a:pt x="318733" y="333856"/>
                  </a:cubicBezTo>
                  <a:cubicBezTo>
                    <a:pt x="320172" y="332423"/>
                    <a:pt x="320172" y="332423"/>
                    <a:pt x="321610" y="330990"/>
                  </a:cubicBezTo>
                  <a:cubicBezTo>
                    <a:pt x="321610" y="329556"/>
                    <a:pt x="321610" y="328123"/>
                    <a:pt x="321610" y="326690"/>
                  </a:cubicBezTo>
                  <a:cubicBezTo>
                    <a:pt x="321610" y="326690"/>
                    <a:pt x="321610" y="325257"/>
                    <a:pt x="321610" y="323824"/>
                  </a:cubicBezTo>
                  <a:cubicBezTo>
                    <a:pt x="320172" y="322391"/>
                    <a:pt x="320172" y="322391"/>
                    <a:pt x="318733" y="322391"/>
                  </a:cubicBezTo>
                  <a:cubicBezTo>
                    <a:pt x="318733" y="320958"/>
                    <a:pt x="317294" y="320958"/>
                    <a:pt x="317294" y="320958"/>
                  </a:cubicBezTo>
                  <a:cubicBezTo>
                    <a:pt x="315855" y="320958"/>
                    <a:pt x="314417" y="320958"/>
                    <a:pt x="314417" y="320958"/>
                  </a:cubicBezTo>
                  <a:cubicBezTo>
                    <a:pt x="312978" y="320958"/>
                    <a:pt x="312978" y="320958"/>
                    <a:pt x="311539" y="322391"/>
                  </a:cubicBezTo>
                  <a:lnTo>
                    <a:pt x="304346" y="310927"/>
                  </a:lnTo>
                  <a:cubicBezTo>
                    <a:pt x="305785" y="310927"/>
                    <a:pt x="308662" y="309494"/>
                    <a:pt x="310101" y="309494"/>
                  </a:cubicBezTo>
                  <a:close/>
                  <a:moveTo>
                    <a:pt x="137853" y="295266"/>
                  </a:moveTo>
                  <a:cubicBezTo>
                    <a:pt x="134976" y="295266"/>
                    <a:pt x="133537" y="295266"/>
                    <a:pt x="133537" y="296695"/>
                  </a:cubicBezTo>
                  <a:cubicBezTo>
                    <a:pt x="132099" y="296695"/>
                    <a:pt x="130660" y="298125"/>
                    <a:pt x="130660" y="299554"/>
                  </a:cubicBezTo>
                  <a:cubicBezTo>
                    <a:pt x="130660" y="300983"/>
                    <a:pt x="129222" y="300983"/>
                    <a:pt x="129222" y="302413"/>
                  </a:cubicBezTo>
                  <a:cubicBezTo>
                    <a:pt x="129222" y="303842"/>
                    <a:pt x="129222" y="305271"/>
                    <a:pt x="129222" y="306701"/>
                  </a:cubicBezTo>
                  <a:cubicBezTo>
                    <a:pt x="129222" y="308130"/>
                    <a:pt x="129222" y="309559"/>
                    <a:pt x="129222" y="310989"/>
                  </a:cubicBezTo>
                  <a:cubicBezTo>
                    <a:pt x="129222" y="312418"/>
                    <a:pt x="130660" y="313847"/>
                    <a:pt x="130660" y="315277"/>
                  </a:cubicBezTo>
                  <a:cubicBezTo>
                    <a:pt x="130660" y="316706"/>
                    <a:pt x="132099" y="316706"/>
                    <a:pt x="133537" y="318136"/>
                  </a:cubicBezTo>
                  <a:cubicBezTo>
                    <a:pt x="133537" y="318136"/>
                    <a:pt x="134976" y="318136"/>
                    <a:pt x="137853" y="318136"/>
                  </a:cubicBezTo>
                  <a:cubicBezTo>
                    <a:pt x="139291" y="318136"/>
                    <a:pt x="140730" y="318136"/>
                    <a:pt x="140730" y="318136"/>
                  </a:cubicBezTo>
                  <a:cubicBezTo>
                    <a:pt x="142168" y="316706"/>
                    <a:pt x="143607" y="316706"/>
                    <a:pt x="143607" y="315277"/>
                  </a:cubicBezTo>
                  <a:cubicBezTo>
                    <a:pt x="143607" y="313847"/>
                    <a:pt x="145045" y="312418"/>
                    <a:pt x="145045" y="310989"/>
                  </a:cubicBezTo>
                  <a:cubicBezTo>
                    <a:pt x="145045" y="309559"/>
                    <a:pt x="145045" y="308130"/>
                    <a:pt x="145045" y="306701"/>
                  </a:cubicBezTo>
                  <a:cubicBezTo>
                    <a:pt x="145045" y="305271"/>
                    <a:pt x="145045" y="303842"/>
                    <a:pt x="145045" y="302413"/>
                  </a:cubicBezTo>
                  <a:cubicBezTo>
                    <a:pt x="145045" y="300983"/>
                    <a:pt x="143607" y="300983"/>
                    <a:pt x="143607" y="299554"/>
                  </a:cubicBezTo>
                  <a:cubicBezTo>
                    <a:pt x="143607" y="298125"/>
                    <a:pt x="142168" y="296695"/>
                    <a:pt x="140730" y="296695"/>
                  </a:cubicBezTo>
                  <a:cubicBezTo>
                    <a:pt x="140730" y="295266"/>
                    <a:pt x="139291" y="295266"/>
                    <a:pt x="137853" y="295266"/>
                  </a:cubicBezTo>
                  <a:close/>
                  <a:moveTo>
                    <a:pt x="401842" y="283745"/>
                  </a:moveTo>
                  <a:lnTo>
                    <a:pt x="413332" y="318123"/>
                  </a:lnTo>
                  <a:lnTo>
                    <a:pt x="430566" y="305231"/>
                  </a:lnTo>
                  <a:lnTo>
                    <a:pt x="403278" y="283745"/>
                  </a:lnTo>
                  <a:close/>
                  <a:moveTo>
                    <a:pt x="111960" y="266679"/>
                  </a:moveTo>
                  <a:lnTo>
                    <a:pt x="129222" y="266679"/>
                  </a:lnTo>
                  <a:lnTo>
                    <a:pt x="129222" y="289549"/>
                  </a:lnTo>
                  <a:lnTo>
                    <a:pt x="130660" y="289549"/>
                  </a:lnTo>
                  <a:cubicBezTo>
                    <a:pt x="132099" y="286690"/>
                    <a:pt x="133537" y="285261"/>
                    <a:pt x="134976" y="283831"/>
                  </a:cubicBezTo>
                  <a:cubicBezTo>
                    <a:pt x="137853" y="282402"/>
                    <a:pt x="140730" y="282402"/>
                    <a:pt x="143607" y="282402"/>
                  </a:cubicBezTo>
                  <a:cubicBezTo>
                    <a:pt x="146484" y="282402"/>
                    <a:pt x="150799" y="283831"/>
                    <a:pt x="152238" y="285261"/>
                  </a:cubicBezTo>
                  <a:cubicBezTo>
                    <a:pt x="155115" y="286690"/>
                    <a:pt x="157992" y="288119"/>
                    <a:pt x="159430" y="290978"/>
                  </a:cubicBezTo>
                  <a:cubicBezTo>
                    <a:pt x="160869" y="292407"/>
                    <a:pt x="160869" y="295266"/>
                    <a:pt x="162307" y="298125"/>
                  </a:cubicBezTo>
                  <a:cubicBezTo>
                    <a:pt x="162307" y="300983"/>
                    <a:pt x="162307" y="303842"/>
                    <a:pt x="162307" y="306701"/>
                  </a:cubicBezTo>
                  <a:cubicBezTo>
                    <a:pt x="162307" y="309559"/>
                    <a:pt x="162307" y="312418"/>
                    <a:pt x="162307" y="315277"/>
                  </a:cubicBezTo>
                  <a:cubicBezTo>
                    <a:pt x="160869" y="318136"/>
                    <a:pt x="159430" y="320994"/>
                    <a:pt x="157992" y="323853"/>
                  </a:cubicBezTo>
                  <a:cubicBezTo>
                    <a:pt x="156553" y="326712"/>
                    <a:pt x="155115" y="328141"/>
                    <a:pt x="152238" y="329570"/>
                  </a:cubicBezTo>
                  <a:cubicBezTo>
                    <a:pt x="149361" y="331000"/>
                    <a:pt x="146484" y="332429"/>
                    <a:pt x="143607" y="332429"/>
                  </a:cubicBezTo>
                  <a:cubicBezTo>
                    <a:pt x="140730" y="332429"/>
                    <a:pt x="139291" y="331000"/>
                    <a:pt x="137853" y="331000"/>
                  </a:cubicBezTo>
                  <a:cubicBezTo>
                    <a:pt x="136414" y="331000"/>
                    <a:pt x="134976" y="331000"/>
                    <a:pt x="133537" y="329570"/>
                  </a:cubicBezTo>
                  <a:cubicBezTo>
                    <a:pt x="133537" y="329570"/>
                    <a:pt x="132099" y="328141"/>
                    <a:pt x="130660" y="328141"/>
                  </a:cubicBezTo>
                  <a:cubicBezTo>
                    <a:pt x="130660" y="326712"/>
                    <a:pt x="130660" y="326712"/>
                    <a:pt x="129222" y="325282"/>
                  </a:cubicBezTo>
                  <a:lnTo>
                    <a:pt x="129222" y="331000"/>
                  </a:lnTo>
                  <a:lnTo>
                    <a:pt x="111960" y="331000"/>
                  </a:lnTo>
                  <a:close/>
                  <a:moveTo>
                    <a:pt x="50258" y="250870"/>
                  </a:moveTo>
                  <a:cubicBezTo>
                    <a:pt x="53135" y="249437"/>
                    <a:pt x="56013" y="249437"/>
                    <a:pt x="57451" y="250870"/>
                  </a:cubicBezTo>
                  <a:cubicBezTo>
                    <a:pt x="60329" y="250870"/>
                    <a:pt x="61768" y="252303"/>
                    <a:pt x="64645" y="253736"/>
                  </a:cubicBezTo>
                  <a:cubicBezTo>
                    <a:pt x="66084" y="255169"/>
                    <a:pt x="68961" y="256602"/>
                    <a:pt x="70400" y="259468"/>
                  </a:cubicBezTo>
                  <a:cubicBezTo>
                    <a:pt x="71839" y="262334"/>
                    <a:pt x="73277" y="265200"/>
                    <a:pt x="73277" y="266633"/>
                  </a:cubicBezTo>
                  <a:cubicBezTo>
                    <a:pt x="74716" y="269499"/>
                    <a:pt x="74716" y="272366"/>
                    <a:pt x="73277" y="275232"/>
                  </a:cubicBezTo>
                  <a:cubicBezTo>
                    <a:pt x="73277" y="278098"/>
                    <a:pt x="71839" y="280964"/>
                    <a:pt x="70400" y="282397"/>
                  </a:cubicBezTo>
                  <a:cubicBezTo>
                    <a:pt x="68961" y="285263"/>
                    <a:pt x="66084" y="286696"/>
                    <a:pt x="63206" y="288129"/>
                  </a:cubicBezTo>
                  <a:cubicBezTo>
                    <a:pt x="60329" y="289562"/>
                    <a:pt x="58890" y="290995"/>
                    <a:pt x="56013" y="292428"/>
                  </a:cubicBezTo>
                  <a:cubicBezTo>
                    <a:pt x="53135" y="292428"/>
                    <a:pt x="50258" y="292428"/>
                    <a:pt x="47381" y="292428"/>
                  </a:cubicBezTo>
                  <a:cubicBezTo>
                    <a:pt x="44503" y="292428"/>
                    <a:pt x="41626" y="290995"/>
                    <a:pt x="40187" y="289562"/>
                  </a:cubicBezTo>
                  <a:cubicBezTo>
                    <a:pt x="37310" y="288129"/>
                    <a:pt x="35871" y="285263"/>
                    <a:pt x="34432" y="283830"/>
                  </a:cubicBezTo>
                  <a:cubicBezTo>
                    <a:pt x="30116" y="278098"/>
                    <a:pt x="30116" y="273799"/>
                    <a:pt x="30116" y="269499"/>
                  </a:cubicBezTo>
                  <a:cubicBezTo>
                    <a:pt x="30116" y="265200"/>
                    <a:pt x="32993" y="262334"/>
                    <a:pt x="37310" y="258035"/>
                  </a:cubicBezTo>
                  <a:lnTo>
                    <a:pt x="44503" y="268066"/>
                  </a:lnTo>
                  <a:cubicBezTo>
                    <a:pt x="43064" y="269499"/>
                    <a:pt x="43064" y="269499"/>
                    <a:pt x="43064" y="269499"/>
                  </a:cubicBezTo>
                  <a:cubicBezTo>
                    <a:pt x="43064" y="270932"/>
                    <a:pt x="41626" y="270932"/>
                    <a:pt x="41626" y="272366"/>
                  </a:cubicBezTo>
                  <a:cubicBezTo>
                    <a:pt x="41626" y="272366"/>
                    <a:pt x="41626" y="273799"/>
                    <a:pt x="41626" y="275232"/>
                  </a:cubicBezTo>
                  <a:cubicBezTo>
                    <a:pt x="41626" y="275232"/>
                    <a:pt x="41626" y="276665"/>
                    <a:pt x="43064" y="278098"/>
                  </a:cubicBezTo>
                  <a:cubicBezTo>
                    <a:pt x="43064" y="279531"/>
                    <a:pt x="44503" y="279531"/>
                    <a:pt x="45942" y="279531"/>
                  </a:cubicBezTo>
                  <a:cubicBezTo>
                    <a:pt x="45942" y="280964"/>
                    <a:pt x="47381" y="280964"/>
                    <a:pt x="48819" y="280964"/>
                  </a:cubicBezTo>
                  <a:cubicBezTo>
                    <a:pt x="50258" y="280964"/>
                    <a:pt x="51697" y="280964"/>
                    <a:pt x="53135" y="279531"/>
                  </a:cubicBezTo>
                  <a:cubicBezTo>
                    <a:pt x="54574" y="279531"/>
                    <a:pt x="56013" y="278098"/>
                    <a:pt x="56013" y="278098"/>
                  </a:cubicBezTo>
                  <a:cubicBezTo>
                    <a:pt x="57451" y="276665"/>
                    <a:pt x="58890" y="276665"/>
                    <a:pt x="60329" y="275232"/>
                  </a:cubicBezTo>
                  <a:cubicBezTo>
                    <a:pt x="60329" y="273799"/>
                    <a:pt x="61768" y="273799"/>
                    <a:pt x="61768" y="272366"/>
                  </a:cubicBezTo>
                  <a:cubicBezTo>
                    <a:pt x="63206" y="270932"/>
                    <a:pt x="63206" y="269499"/>
                    <a:pt x="63206" y="268066"/>
                  </a:cubicBezTo>
                  <a:cubicBezTo>
                    <a:pt x="63206" y="268066"/>
                    <a:pt x="61768" y="266633"/>
                    <a:pt x="61768" y="265200"/>
                  </a:cubicBezTo>
                  <a:cubicBezTo>
                    <a:pt x="60329" y="263767"/>
                    <a:pt x="60329" y="263767"/>
                    <a:pt x="58890" y="262334"/>
                  </a:cubicBezTo>
                  <a:cubicBezTo>
                    <a:pt x="58890" y="262334"/>
                    <a:pt x="57451" y="262334"/>
                    <a:pt x="57451" y="262334"/>
                  </a:cubicBezTo>
                  <a:cubicBezTo>
                    <a:pt x="56013" y="262334"/>
                    <a:pt x="56013" y="262334"/>
                    <a:pt x="54574" y="262334"/>
                  </a:cubicBezTo>
                  <a:cubicBezTo>
                    <a:pt x="54574" y="262334"/>
                    <a:pt x="53135" y="262334"/>
                    <a:pt x="51697" y="263767"/>
                  </a:cubicBezTo>
                  <a:lnTo>
                    <a:pt x="44503" y="252303"/>
                  </a:lnTo>
                  <a:cubicBezTo>
                    <a:pt x="47381" y="252303"/>
                    <a:pt x="48819" y="250870"/>
                    <a:pt x="50258" y="250870"/>
                  </a:cubicBezTo>
                  <a:close/>
                  <a:moveTo>
                    <a:pt x="394661" y="245069"/>
                  </a:moveTo>
                  <a:lnTo>
                    <a:pt x="489449" y="309528"/>
                  </a:lnTo>
                  <a:lnTo>
                    <a:pt x="462162" y="331015"/>
                  </a:lnTo>
                  <a:lnTo>
                    <a:pt x="449236" y="320988"/>
                  </a:lnTo>
                  <a:lnTo>
                    <a:pt x="420513" y="341042"/>
                  </a:lnTo>
                  <a:lnTo>
                    <a:pt x="426257" y="355366"/>
                  </a:lnTo>
                  <a:lnTo>
                    <a:pt x="398970" y="375420"/>
                  </a:lnTo>
                  <a:lnTo>
                    <a:pt x="367374" y="263691"/>
                  </a:lnTo>
                  <a:close/>
                  <a:moveTo>
                    <a:pt x="314418" y="212079"/>
                  </a:moveTo>
                  <a:cubicBezTo>
                    <a:pt x="312980" y="212079"/>
                    <a:pt x="311541" y="212079"/>
                    <a:pt x="310103" y="213516"/>
                  </a:cubicBezTo>
                  <a:cubicBezTo>
                    <a:pt x="308665" y="213516"/>
                    <a:pt x="308665" y="214953"/>
                    <a:pt x="307227" y="214953"/>
                  </a:cubicBezTo>
                  <a:cubicBezTo>
                    <a:pt x="305789" y="216390"/>
                    <a:pt x="305789" y="217826"/>
                    <a:pt x="304351" y="219263"/>
                  </a:cubicBezTo>
                  <a:cubicBezTo>
                    <a:pt x="304351" y="220700"/>
                    <a:pt x="302912" y="220700"/>
                    <a:pt x="302912" y="222137"/>
                  </a:cubicBezTo>
                  <a:cubicBezTo>
                    <a:pt x="302912" y="223574"/>
                    <a:pt x="301474" y="225011"/>
                    <a:pt x="301474" y="226447"/>
                  </a:cubicBezTo>
                  <a:cubicBezTo>
                    <a:pt x="301474" y="227884"/>
                    <a:pt x="301474" y="229321"/>
                    <a:pt x="302912" y="229321"/>
                  </a:cubicBezTo>
                  <a:cubicBezTo>
                    <a:pt x="302912" y="230758"/>
                    <a:pt x="304351" y="232195"/>
                    <a:pt x="305789" y="233632"/>
                  </a:cubicBezTo>
                  <a:cubicBezTo>
                    <a:pt x="307227" y="233632"/>
                    <a:pt x="308665" y="233632"/>
                    <a:pt x="308665" y="233632"/>
                  </a:cubicBezTo>
                  <a:cubicBezTo>
                    <a:pt x="310103" y="233632"/>
                    <a:pt x="311541" y="233632"/>
                    <a:pt x="312980" y="233632"/>
                  </a:cubicBezTo>
                  <a:cubicBezTo>
                    <a:pt x="314418" y="232195"/>
                    <a:pt x="314418" y="232195"/>
                    <a:pt x="315856" y="230758"/>
                  </a:cubicBezTo>
                  <a:cubicBezTo>
                    <a:pt x="317294" y="229321"/>
                    <a:pt x="317294" y="227884"/>
                    <a:pt x="318732" y="227884"/>
                  </a:cubicBezTo>
                  <a:cubicBezTo>
                    <a:pt x="318732" y="226447"/>
                    <a:pt x="320171" y="225011"/>
                    <a:pt x="320171" y="223574"/>
                  </a:cubicBezTo>
                  <a:cubicBezTo>
                    <a:pt x="320171" y="222137"/>
                    <a:pt x="321609" y="220700"/>
                    <a:pt x="321609" y="219263"/>
                  </a:cubicBezTo>
                  <a:cubicBezTo>
                    <a:pt x="321609" y="217826"/>
                    <a:pt x="321609" y="217826"/>
                    <a:pt x="320171" y="216390"/>
                  </a:cubicBezTo>
                  <a:cubicBezTo>
                    <a:pt x="320171" y="214953"/>
                    <a:pt x="318732" y="213516"/>
                    <a:pt x="317294" y="213516"/>
                  </a:cubicBezTo>
                  <a:cubicBezTo>
                    <a:pt x="315856" y="212079"/>
                    <a:pt x="314418" y="212079"/>
                    <a:pt x="314418" y="212079"/>
                  </a:cubicBezTo>
                  <a:close/>
                  <a:moveTo>
                    <a:pt x="311541" y="174721"/>
                  </a:moveTo>
                  <a:lnTo>
                    <a:pt x="327362" y="184779"/>
                  </a:lnTo>
                  <a:lnTo>
                    <a:pt x="314418" y="203458"/>
                  </a:lnTo>
                  <a:lnTo>
                    <a:pt x="315856" y="203458"/>
                  </a:lnTo>
                  <a:cubicBezTo>
                    <a:pt x="317294" y="203458"/>
                    <a:pt x="320171" y="202021"/>
                    <a:pt x="323047" y="202021"/>
                  </a:cubicBezTo>
                  <a:cubicBezTo>
                    <a:pt x="324485" y="203458"/>
                    <a:pt x="327362" y="203458"/>
                    <a:pt x="330238" y="204895"/>
                  </a:cubicBezTo>
                  <a:cubicBezTo>
                    <a:pt x="333114" y="207768"/>
                    <a:pt x="335991" y="209205"/>
                    <a:pt x="337429" y="212079"/>
                  </a:cubicBezTo>
                  <a:cubicBezTo>
                    <a:pt x="338867" y="214953"/>
                    <a:pt x="338867" y="217826"/>
                    <a:pt x="338867" y="220700"/>
                  </a:cubicBezTo>
                  <a:cubicBezTo>
                    <a:pt x="338867" y="223574"/>
                    <a:pt x="338867" y="226447"/>
                    <a:pt x="337429" y="229321"/>
                  </a:cubicBezTo>
                  <a:cubicBezTo>
                    <a:pt x="335991" y="232195"/>
                    <a:pt x="334552" y="233632"/>
                    <a:pt x="333114" y="236505"/>
                  </a:cubicBezTo>
                  <a:cubicBezTo>
                    <a:pt x="331676" y="239379"/>
                    <a:pt x="330238" y="240816"/>
                    <a:pt x="327362" y="243690"/>
                  </a:cubicBezTo>
                  <a:cubicBezTo>
                    <a:pt x="325923" y="245126"/>
                    <a:pt x="323047" y="246563"/>
                    <a:pt x="320171" y="248000"/>
                  </a:cubicBezTo>
                  <a:cubicBezTo>
                    <a:pt x="317294" y="249437"/>
                    <a:pt x="314418" y="249437"/>
                    <a:pt x="311541" y="249437"/>
                  </a:cubicBezTo>
                  <a:cubicBezTo>
                    <a:pt x="308665" y="249437"/>
                    <a:pt x="305789" y="249437"/>
                    <a:pt x="302912" y="246563"/>
                  </a:cubicBezTo>
                  <a:cubicBezTo>
                    <a:pt x="301474" y="246563"/>
                    <a:pt x="300036" y="245126"/>
                    <a:pt x="298598" y="243690"/>
                  </a:cubicBezTo>
                  <a:cubicBezTo>
                    <a:pt x="298598" y="242253"/>
                    <a:pt x="297160" y="242253"/>
                    <a:pt x="297160" y="240816"/>
                  </a:cubicBezTo>
                  <a:cubicBezTo>
                    <a:pt x="295721" y="239379"/>
                    <a:pt x="295721" y="237942"/>
                    <a:pt x="295721" y="237942"/>
                  </a:cubicBezTo>
                  <a:cubicBezTo>
                    <a:pt x="295721" y="236505"/>
                    <a:pt x="295721" y="235069"/>
                    <a:pt x="295721" y="235069"/>
                  </a:cubicBezTo>
                  <a:lnTo>
                    <a:pt x="292845" y="239379"/>
                  </a:lnTo>
                  <a:lnTo>
                    <a:pt x="277025" y="229321"/>
                  </a:lnTo>
                  <a:close/>
                  <a:moveTo>
                    <a:pt x="28601" y="157593"/>
                  </a:moveTo>
                  <a:lnTo>
                    <a:pt x="30037" y="170525"/>
                  </a:lnTo>
                  <a:lnTo>
                    <a:pt x="50136" y="161904"/>
                  </a:lnTo>
                  <a:close/>
                  <a:moveTo>
                    <a:pt x="255500" y="149094"/>
                  </a:moveTo>
                  <a:lnTo>
                    <a:pt x="213874" y="362681"/>
                  </a:lnTo>
                  <a:lnTo>
                    <a:pt x="472244" y="435788"/>
                  </a:lnTo>
                  <a:lnTo>
                    <a:pt x="532531" y="182064"/>
                  </a:lnTo>
                  <a:close/>
                  <a:moveTo>
                    <a:pt x="152130" y="144835"/>
                  </a:moveTo>
                  <a:cubicBezTo>
                    <a:pt x="159290" y="146266"/>
                    <a:pt x="165018" y="150559"/>
                    <a:pt x="170746" y="156283"/>
                  </a:cubicBezTo>
                  <a:lnTo>
                    <a:pt x="154994" y="167731"/>
                  </a:lnTo>
                  <a:cubicBezTo>
                    <a:pt x="153562" y="166300"/>
                    <a:pt x="153562" y="166300"/>
                    <a:pt x="152130" y="166300"/>
                  </a:cubicBezTo>
                  <a:cubicBezTo>
                    <a:pt x="152130" y="164869"/>
                    <a:pt x="150698" y="164869"/>
                    <a:pt x="149265" y="163438"/>
                  </a:cubicBezTo>
                  <a:cubicBezTo>
                    <a:pt x="147833" y="163438"/>
                    <a:pt x="146401" y="163438"/>
                    <a:pt x="144969" y="163438"/>
                  </a:cubicBezTo>
                  <a:cubicBezTo>
                    <a:pt x="143537" y="163438"/>
                    <a:pt x="142105" y="164869"/>
                    <a:pt x="140673" y="164869"/>
                  </a:cubicBezTo>
                  <a:cubicBezTo>
                    <a:pt x="137809" y="166300"/>
                    <a:pt x="136377" y="167731"/>
                    <a:pt x="136377" y="170593"/>
                  </a:cubicBezTo>
                  <a:cubicBezTo>
                    <a:pt x="134945" y="172024"/>
                    <a:pt x="134945" y="173455"/>
                    <a:pt x="134945" y="174886"/>
                  </a:cubicBezTo>
                  <a:cubicBezTo>
                    <a:pt x="136377" y="177748"/>
                    <a:pt x="136377" y="179179"/>
                    <a:pt x="136377" y="182040"/>
                  </a:cubicBezTo>
                  <a:cubicBezTo>
                    <a:pt x="137809" y="183471"/>
                    <a:pt x="139241" y="184902"/>
                    <a:pt x="140673" y="187764"/>
                  </a:cubicBezTo>
                  <a:cubicBezTo>
                    <a:pt x="142105" y="189195"/>
                    <a:pt x="143537" y="190626"/>
                    <a:pt x="144969" y="192057"/>
                  </a:cubicBezTo>
                  <a:cubicBezTo>
                    <a:pt x="146401" y="193488"/>
                    <a:pt x="147833" y="194919"/>
                    <a:pt x="149265" y="196350"/>
                  </a:cubicBezTo>
                  <a:cubicBezTo>
                    <a:pt x="150698" y="196350"/>
                    <a:pt x="153562" y="197781"/>
                    <a:pt x="154994" y="197781"/>
                  </a:cubicBezTo>
                  <a:cubicBezTo>
                    <a:pt x="156426" y="196350"/>
                    <a:pt x="159290" y="196350"/>
                    <a:pt x="160722" y="194919"/>
                  </a:cubicBezTo>
                  <a:cubicBezTo>
                    <a:pt x="162154" y="193488"/>
                    <a:pt x="163586" y="193488"/>
                    <a:pt x="163586" y="192057"/>
                  </a:cubicBezTo>
                  <a:cubicBezTo>
                    <a:pt x="165018" y="190626"/>
                    <a:pt x="165018" y="189195"/>
                    <a:pt x="165018" y="187764"/>
                  </a:cubicBezTo>
                  <a:cubicBezTo>
                    <a:pt x="165018" y="186333"/>
                    <a:pt x="165018" y="186333"/>
                    <a:pt x="165018" y="184902"/>
                  </a:cubicBezTo>
                  <a:cubicBezTo>
                    <a:pt x="165018" y="183471"/>
                    <a:pt x="163586" y="182040"/>
                    <a:pt x="163586" y="180609"/>
                  </a:cubicBezTo>
                  <a:lnTo>
                    <a:pt x="179339" y="169162"/>
                  </a:lnTo>
                  <a:cubicBezTo>
                    <a:pt x="182203" y="172024"/>
                    <a:pt x="182203" y="174886"/>
                    <a:pt x="183635" y="177748"/>
                  </a:cubicBezTo>
                  <a:cubicBezTo>
                    <a:pt x="183635" y="182040"/>
                    <a:pt x="185067" y="184902"/>
                    <a:pt x="183635" y="189195"/>
                  </a:cubicBezTo>
                  <a:cubicBezTo>
                    <a:pt x="183635" y="192057"/>
                    <a:pt x="182203" y="194919"/>
                    <a:pt x="179339" y="199212"/>
                  </a:cubicBezTo>
                  <a:cubicBezTo>
                    <a:pt x="177907" y="202074"/>
                    <a:pt x="173610" y="204936"/>
                    <a:pt x="170746" y="207798"/>
                  </a:cubicBezTo>
                  <a:cubicBezTo>
                    <a:pt x="166450" y="210660"/>
                    <a:pt x="162154" y="213522"/>
                    <a:pt x="157858" y="213522"/>
                  </a:cubicBezTo>
                  <a:cubicBezTo>
                    <a:pt x="152130" y="214953"/>
                    <a:pt x="147833" y="214953"/>
                    <a:pt x="144969" y="213522"/>
                  </a:cubicBezTo>
                  <a:cubicBezTo>
                    <a:pt x="140673" y="213522"/>
                    <a:pt x="136377" y="210660"/>
                    <a:pt x="133513" y="209229"/>
                  </a:cubicBezTo>
                  <a:cubicBezTo>
                    <a:pt x="129217" y="206367"/>
                    <a:pt x="126352" y="202074"/>
                    <a:pt x="123488" y="199212"/>
                  </a:cubicBezTo>
                  <a:cubicBezTo>
                    <a:pt x="120624" y="194919"/>
                    <a:pt x="119192" y="190626"/>
                    <a:pt x="117760" y="186333"/>
                  </a:cubicBezTo>
                  <a:cubicBezTo>
                    <a:pt x="116328" y="180609"/>
                    <a:pt x="116328" y="177748"/>
                    <a:pt x="116328" y="173455"/>
                  </a:cubicBezTo>
                  <a:cubicBezTo>
                    <a:pt x="117760" y="169162"/>
                    <a:pt x="119192" y="164869"/>
                    <a:pt x="122056" y="162007"/>
                  </a:cubicBezTo>
                  <a:cubicBezTo>
                    <a:pt x="123488" y="157714"/>
                    <a:pt x="127784" y="154852"/>
                    <a:pt x="132081" y="151990"/>
                  </a:cubicBezTo>
                  <a:cubicBezTo>
                    <a:pt x="139241" y="146266"/>
                    <a:pt x="146401" y="144835"/>
                    <a:pt x="152130" y="144835"/>
                  </a:cubicBezTo>
                  <a:close/>
                  <a:moveTo>
                    <a:pt x="2759" y="131730"/>
                  </a:moveTo>
                  <a:lnTo>
                    <a:pt x="71671" y="150409"/>
                  </a:lnTo>
                  <a:lnTo>
                    <a:pt x="73107" y="170525"/>
                  </a:lnTo>
                  <a:lnTo>
                    <a:pt x="8502" y="200699"/>
                  </a:lnTo>
                  <a:lnTo>
                    <a:pt x="7066" y="179146"/>
                  </a:lnTo>
                  <a:lnTo>
                    <a:pt x="15680" y="176272"/>
                  </a:lnTo>
                  <a:lnTo>
                    <a:pt x="14244" y="154720"/>
                  </a:lnTo>
                  <a:lnTo>
                    <a:pt x="4195" y="153283"/>
                  </a:lnTo>
                  <a:close/>
                  <a:moveTo>
                    <a:pt x="242581" y="127592"/>
                  </a:moveTo>
                  <a:lnTo>
                    <a:pt x="565545" y="159128"/>
                  </a:lnTo>
                  <a:lnTo>
                    <a:pt x="493775" y="461591"/>
                  </a:lnTo>
                  <a:lnTo>
                    <a:pt x="261242" y="493127"/>
                  </a:lnTo>
                  <a:lnTo>
                    <a:pt x="0" y="399951"/>
                  </a:lnTo>
                  <a:lnTo>
                    <a:pt x="195214" y="369849"/>
                  </a:lnTo>
                  <a:close/>
                  <a:moveTo>
                    <a:pt x="345994" y="77420"/>
                  </a:moveTo>
                  <a:cubicBezTo>
                    <a:pt x="345994" y="78854"/>
                    <a:pt x="344557" y="78854"/>
                    <a:pt x="344557" y="80289"/>
                  </a:cubicBezTo>
                  <a:cubicBezTo>
                    <a:pt x="343120" y="81723"/>
                    <a:pt x="341684" y="81723"/>
                    <a:pt x="341684" y="83157"/>
                  </a:cubicBezTo>
                  <a:cubicBezTo>
                    <a:pt x="340247" y="84591"/>
                    <a:pt x="338810" y="86025"/>
                    <a:pt x="337373" y="87459"/>
                  </a:cubicBezTo>
                  <a:cubicBezTo>
                    <a:pt x="337373" y="88893"/>
                    <a:pt x="337373" y="88893"/>
                    <a:pt x="338810" y="90327"/>
                  </a:cubicBezTo>
                  <a:cubicBezTo>
                    <a:pt x="338810" y="91762"/>
                    <a:pt x="340247" y="93196"/>
                    <a:pt x="341684" y="93196"/>
                  </a:cubicBezTo>
                  <a:cubicBezTo>
                    <a:pt x="343120" y="93196"/>
                    <a:pt x="344557" y="93196"/>
                    <a:pt x="345994" y="91762"/>
                  </a:cubicBezTo>
                  <a:cubicBezTo>
                    <a:pt x="347431" y="90327"/>
                    <a:pt x="348868" y="88893"/>
                    <a:pt x="350305" y="87459"/>
                  </a:cubicBezTo>
                  <a:cubicBezTo>
                    <a:pt x="350305" y="86025"/>
                    <a:pt x="350305" y="83157"/>
                    <a:pt x="348868" y="81723"/>
                  </a:cubicBezTo>
                  <a:close/>
                  <a:moveTo>
                    <a:pt x="192358" y="57297"/>
                  </a:moveTo>
                  <a:lnTo>
                    <a:pt x="180893" y="70189"/>
                  </a:lnTo>
                  <a:lnTo>
                    <a:pt x="192358" y="81648"/>
                  </a:lnTo>
                  <a:cubicBezTo>
                    <a:pt x="193791" y="81648"/>
                    <a:pt x="195224" y="83081"/>
                    <a:pt x="196657" y="83081"/>
                  </a:cubicBezTo>
                  <a:cubicBezTo>
                    <a:pt x="198090" y="84513"/>
                    <a:pt x="198090" y="84513"/>
                    <a:pt x="199523" y="84513"/>
                  </a:cubicBezTo>
                  <a:cubicBezTo>
                    <a:pt x="200957" y="85945"/>
                    <a:pt x="202390" y="84513"/>
                    <a:pt x="203823" y="84513"/>
                  </a:cubicBezTo>
                  <a:cubicBezTo>
                    <a:pt x="203823" y="84513"/>
                    <a:pt x="205256" y="83081"/>
                    <a:pt x="206689" y="81648"/>
                  </a:cubicBezTo>
                  <a:cubicBezTo>
                    <a:pt x="210988" y="77351"/>
                    <a:pt x="209555" y="74486"/>
                    <a:pt x="205256" y="68756"/>
                  </a:cubicBezTo>
                  <a:close/>
                  <a:moveTo>
                    <a:pt x="340247" y="50172"/>
                  </a:moveTo>
                  <a:cubicBezTo>
                    <a:pt x="343120" y="48738"/>
                    <a:pt x="345994" y="48738"/>
                    <a:pt x="347431" y="50172"/>
                  </a:cubicBezTo>
                  <a:cubicBezTo>
                    <a:pt x="350305" y="50172"/>
                    <a:pt x="351742" y="51606"/>
                    <a:pt x="353178" y="54474"/>
                  </a:cubicBezTo>
                  <a:cubicBezTo>
                    <a:pt x="354615" y="55909"/>
                    <a:pt x="356052" y="57343"/>
                    <a:pt x="357489" y="60211"/>
                  </a:cubicBezTo>
                  <a:lnTo>
                    <a:pt x="367547" y="77420"/>
                  </a:lnTo>
                  <a:cubicBezTo>
                    <a:pt x="368984" y="78854"/>
                    <a:pt x="370420" y="80289"/>
                    <a:pt x="370420" y="81723"/>
                  </a:cubicBezTo>
                  <a:cubicBezTo>
                    <a:pt x="371857" y="83157"/>
                    <a:pt x="373294" y="84591"/>
                    <a:pt x="374731" y="86025"/>
                  </a:cubicBezTo>
                  <a:lnTo>
                    <a:pt x="358926" y="96064"/>
                  </a:lnTo>
                  <a:cubicBezTo>
                    <a:pt x="358926" y="94630"/>
                    <a:pt x="357489" y="94630"/>
                    <a:pt x="357489" y="94630"/>
                  </a:cubicBezTo>
                  <a:cubicBezTo>
                    <a:pt x="356052" y="93196"/>
                    <a:pt x="356052" y="93196"/>
                    <a:pt x="356052" y="91762"/>
                  </a:cubicBezTo>
                  <a:cubicBezTo>
                    <a:pt x="354615" y="94630"/>
                    <a:pt x="353178" y="97498"/>
                    <a:pt x="351742" y="100366"/>
                  </a:cubicBezTo>
                  <a:cubicBezTo>
                    <a:pt x="350305" y="101800"/>
                    <a:pt x="347431" y="103235"/>
                    <a:pt x="344557" y="106103"/>
                  </a:cubicBezTo>
                  <a:cubicBezTo>
                    <a:pt x="343120" y="106103"/>
                    <a:pt x="340247" y="107537"/>
                    <a:pt x="338810" y="107537"/>
                  </a:cubicBezTo>
                  <a:cubicBezTo>
                    <a:pt x="337373" y="108971"/>
                    <a:pt x="334499" y="108971"/>
                    <a:pt x="333063" y="108971"/>
                  </a:cubicBezTo>
                  <a:cubicBezTo>
                    <a:pt x="330189" y="108971"/>
                    <a:pt x="328752" y="107537"/>
                    <a:pt x="327315" y="106103"/>
                  </a:cubicBezTo>
                  <a:cubicBezTo>
                    <a:pt x="325878" y="106103"/>
                    <a:pt x="323005" y="103235"/>
                    <a:pt x="321568" y="101800"/>
                  </a:cubicBezTo>
                  <a:cubicBezTo>
                    <a:pt x="321568" y="98932"/>
                    <a:pt x="320131" y="97498"/>
                    <a:pt x="320131" y="94630"/>
                  </a:cubicBezTo>
                  <a:cubicBezTo>
                    <a:pt x="320131" y="93196"/>
                    <a:pt x="320131" y="91762"/>
                    <a:pt x="321568" y="88893"/>
                  </a:cubicBezTo>
                  <a:cubicBezTo>
                    <a:pt x="321568" y="87459"/>
                    <a:pt x="323005" y="86025"/>
                    <a:pt x="324442" y="84591"/>
                  </a:cubicBezTo>
                  <a:cubicBezTo>
                    <a:pt x="325878" y="83157"/>
                    <a:pt x="327315" y="81723"/>
                    <a:pt x="328752" y="80289"/>
                  </a:cubicBezTo>
                  <a:cubicBezTo>
                    <a:pt x="330189" y="78854"/>
                    <a:pt x="331626" y="77420"/>
                    <a:pt x="333063" y="75986"/>
                  </a:cubicBezTo>
                  <a:cubicBezTo>
                    <a:pt x="334499" y="74552"/>
                    <a:pt x="335936" y="73118"/>
                    <a:pt x="337373" y="73118"/>
                  </a:cubicBezTo>
                  <a:cubicBezTo>
                    <a:pt x="338810" y="71684"/>
                    <a:pt x="338810" y="70250"/>
                    <a:pt x="340247" y="70250"/>
                  </a:cubicBezTo>
                  <a:cubicBezTo>
                    <a:pt x="340247" y="68816"/>
                    <a:pt x="340247" y="67382"/>
                    <a:pt x="340247" y="65947"/>
                  </a:cubicBezTo>
                  <a:cubicBezTo>
                    <a:pt x="338810" y="64513"/>
                    <a:pt x="337373" y="64513"/>
                    <a:pt x="335936" y="64513"/>
                  </a:cubicBezTo>
                  <a:cubicBezTo>
                    <a:pt x="334499" y="64513"/>
                    <a:pt x="333063" y="64513"/>
                    <a:pt x="331626" y="65947"/>
                  </a:cubicBezTo>
                  <a:cubicBezTo>
                    <a:pt x="330189" y="65947"/>
                    <a:pt x="330189" y="67382"/>
                    <a:pt x="328752" y="67382"/>
                  </a:cubicBezTo>
                  <a:cubicBezTo>
                    <a:pt x="328752" y="68816"/>
                    <a:pt x="328752" y="68816"/>
                    <a:pt x="328752" y="70250"/>
                  </a:cubicBezTo>
                  <a:cubicBezTo>
                    <a:pt x="327315" y="70250"/>
                    <a:pt x="327315" y="71684"/>
                    <a:pt x="327315" y="71684"/>
                  </a:cubicBezTo>
                  <a:cubicBezTo>
                    <a:pt x="328752" y="73118"/>
                    <a:pt x="328752" y="73118"/>
                    <a:pt x="328752" y="73118"/>
                  </a:cubicBezTo>
                  <a:lnTo>
                    <a:pt x="312947" y="83157"/>
                  </a:lnTo>
                  <a:cubicBezTo>
                    <a:pt x="311510" y="78854"/>
                    <a:pt x="311510" y="75986"/>
                    <a:pt x="311510" y="74552"/>
                  </a:cubicBezTo>
                  <a:cubicBezTo>
                    <a:pt x="311510" y="71684"/>
                    <a:pt x="312947" y="68816"/>
                    <a:pt x="314384" y="65947"/>
                  </a:cubicBezTo>
                  <a:cubicBezTo>
                    <a:pt x="315821" y="64513"/>
                    <a:pt x="317257" y="61645"/>
                    <a:pt x="320131" y="60211"/>
                  </a:cubicBezTo>
                  <a:cubicBezTo>
                    <a:pt x="321568" y="58777"/>
                    <a:pt x="324442" y="57343"/>
                    <a:pt x="327315" y="55909"/>
                  </a:cubicBezTo>
                  <a:cubicBezTo>
                    <a:pt x="331626" y="53040"/>
                    <a:pt x="335936" y="50172"/>
                    <a:pt x="340247" y="50172"/>
                  </a:cubicBezTo>
                  <a:close/>
                  <a:moveTo>
                    <a:pt x="57416" y="48693"/>
                  </a:moveTo>
                  <a:cubicBezTo>
                    <a:pt x="55979" y="48693"/>
                    <a:pt x="54542" y="48693"/>
                    <a:pt x="53106" y="50126"/>
                  </a:cubicBezTo>
                  <a:cubicBezTo>
                    <a:pt x="51669" y="51558"/>
                    <a:pt x="51669" y="51558"/>
                    <a:pt x="51669" y="54424"/>
                  </a:cubicBezTo>
                  <a:cubicBezTo>
                    <a:pt x="51669" y="55856"/>
                    <a:pt x="51669" y="57289"/>
                    <a:pt x="53106" y="58722"/>
                  </a:cubicBezTo>
                  <a:cubicBezTo>
                    <a:pt x="54542" y="61588"/>
                    <a:pt x="57416" y="61588"/>
                    <a:pt x="60290" y="63020"/>
                  </a:cubicBezTo>
                  <a:cubicBezTo>
                    <a:pt x="61727" y="63020"/>
                    <a:pt x="64600" y="61588"/>
                    <a:pt x="67474" y="60155"/>
                  </a:cubicBezTo>
                  <a:lnTo>
                    <a:pt x="71785" y="55856"/>
                  </a:lnTo>
                  <a:cubicBezTo>
                    <a:pt x="70348" y="55856"/>
                    <a:pt x="68911" y="54424"/>
                    <a:pt x="67474" y="54424"/>
                  </a:cubicBezTo>
                  <a:cubicBezTo>
                    <a:pt x="66037" y="52991"/>
                    <a:pt x="64600" y="51558"/>
                    <a:pt x="63163" y="51558"/>
                  </a:cubicBezTo>
                  <a:cubicBezTo>
                    <a:pt x="60290" y="50126"/>
                    <a:pt x="58853" y="48693"/>
                    <a:pt x="57416" y="48693"/>
                  </a:cubicBezTo>
                  <a:close/>
                  <a:moveTo>
                    <a:pt x="212421" y="34378"/>
                  </a:moveTo>
                  <a:lnTo>
                    <a:pt x="203823" y="45838"/>
                  </a:lnTo>
                  <a:lnTo>
                    <a:pt x="213855" y="54432"/>
                  </a:lnTo>
                  <a:cubicBezTo>
                    <a:pt x="216721" y="57297"/>
                    <a:pt x="218154" y="58729"/>
                    <a:pt x="221020" y="58729"/>
                  </a:cubicBezTo>
                  <a:cubicBezTo>
                    <a:pt x="222453" y="58729"/>
                    <a:pt x="223886" y="58729"/>
                    <a:pt x="226753" y="55864"/>
                  </a:cubicBezTo>
                  <a:cubicBezTo>
                    <a:pt x="228186" y="54432"/>
                    <a:pt x="228186" y="53000"/>
                    <a:pt x="228186" y="50135"/>
                  </a:cubicBezTo>
                  <a:cubicBezTo>
                    <a:pt x="226753" y="48702"/>
                    <a:pt x="225320" y="47270"/>
                    <a:pt x="223886" y="44405"/>
                  </a:cubicBezTo>
                  <a:close/>
                  <a:moveTo>
                    <a:pt x="511087" y="34255"/>
                  </a:moveTo>
                  <a:cubicBezTo>
                    <a:pt x="515395" y="34255"/>
                    <a:pt x="521138" y="34255"/>
                    <a:pt x="525446" y="35692"/>
                  </a:cubicBezTo>
                  <a:cubicBezTo>
                    <a:pt x="529753" y="37129"/>
                    <a:pt x="534061" y="38566"/>
                    <a:pt x="536933" y="41439"/>
                  </a:cubicBezTo>
                  <a:cubicBezTo>
                    <a:pt x="541240" y="44313"/>
                    <a:pt x="544112" y="47187"/>
                    <a:pt x="545548" y="51497"/>
                  </a:cubicBezTo>
                  <a:cubicBezTo>
                    <a:pt x="548419" y="55808"/>
                    <a:pt x="549855" y="60118"/>
                    <a:pt x="549855" y="65866"/>
                  </a:cubicBezTo>
                  <a:lnTo>
                    <a:pt x="522574" y="65866"/>
                  </a:lnTo>
                  <a:cubicBezTo>
                    <a:pt x="521138" y="61555"/>
                    <a:pt x="521138" y="60118"/>
                    <a:pt x="518267" y="58682"/>
                  </a:cubicBezTo>
                  <a:cubicBezTo>
                    <a:pt x="516831" y="55808"/>
                    <a:pt x="513959" y="55808"/>
                    <a:pt x="511087" y="55808"/>
                  </a:cubicBezTo>
                  <a:cubicBezTo>
                    <a:pt x="508216" y="55808"/>
                    <a:pt x="506780" y="55808"/>
                    <a:pt x="503908" y="57245"/>
                  </a:cubicBezTo>
                  <a:cubicBezTo>
                    <a:pt x="502472" y="58682"/>
                    <a:pt x="501037" y="60118"/>
                    <a:pt x="501037" y="61555"/>
                  </a:cubicBezTo>
                  <a:cubicBezTo>
                    <a:pt x="499601" y="62992"/>
                    <a:pt x="499601" y="65866"/>
                    <a:pt x="498165" y="67303"/>
                  </a:cubicBezTo>
                  <a:cubicBezTo>
                    <a:pt x="498165" y="70176"/>
                    <a:pt x="498165" y="73050"/>
                    <a:pt x="498165" y="74487"/>
                  </a:cubicBezTo>
                  <a:cubicBezTo>
                    <a:pt x="498165" y="77361"/>
                    <a:pt x="498165" y="78798"/>
                    <a:pt x="498165" y="81671"/>
                  </a:cubicBezTo>
                  <a:cubicBezTo>
                    <a:pt x="499601" y="84545"/>
                    <a:pt x="499601" y="85982"/>
                    <a:pt x="501037" y="87419"/>
                  </a:cubicBezTo>
                  <a:cubicBezTo>
                    <a:pt x="501037" y="88856"/>
                    <a:pt x="502472" y="90292"/>
                    <a:pt x="503908" y="91729"/>
                  </a:cubicBezTo>
                  <a:cubicBezTo>
                    <a:pt x="506780" y="93166"/>
                    <a:pt x="508216" y="93166"/>
                    <a:pt x="511087" y="93166"/>
                  </a:cubicBezTo>
                  <a:cubicBezTo>
                    <a:pt x="513959" y="93166"/>
                    <a:pt x="516831" y="93166"/>
                    <a:pt x="519702" y="90292"/>
                  </a:cubicBezTo>
                  <a:cubicBezTo>
                    <a:pt x="521138" y="87419"/>
                    <a:pt x="522574" y="85982"/>
                    <a:pt x="522574" y="83108"/>
                  </a:cubicBezTo>
                  <a:lnTo>
                    <a:pt x="551291" y="83108"/>
                  </a:lnTo>
                  <a:cubicBezTo>
                    <a:pt x="549855" y="87419"/>
                    <a:pt x="548419" y="91729"/>
                    <a:pt x="545548" y="96040"/>
                  </a:cubicBezTo>
                  <a:cubicBezTo>
                    <a:pt x="544112" y="100350"/>
                    <a:pt x="541240" y="103224"/>
                    <a:pt x="536933" y="106098"/>
                  </a:cubicBezTo>
                  <a:cubicBezTo>
                    <a:pt x="534061" y="108972"/>
                    <a:pt x="529753" y="111845"/>
                    <a:pt x="525446" y="113282"/>
                  </a:cubicBezTo>
                  <a:cubicBezTo>
                    <a:pt x="521138" y="114719"/>
                    <a:pt x="515395" y="114719"/>
                    <a:pt x="511087" y="114719"/>
                  </a:cubicBezTo>
                  <a:cubicBezTo>
                    <a:pt x="505344" y="114719"/>
                    <a:pt x="499601" y="114719"/>
                    <a:pt x="493857" y="111845"/>
                  </a:cubicBezTo>
                  <a:cubicBezTo>
                    <a:pt x="489550" y="110408"/>
                    <a:pt x="485242" y="107535"/>
                    <a:pt x="480935" y="104661"/>
                  </a:cubicBezTo>
                  <a:cubicBezTo>
                    <a:pt x="478063" y="100350"/>
                    <a:pt x="473756" y="96040"/>
                    <a:pt x="472320" y="91729"/>
                  </a:cubicBezTo>
                  <a:cubicBezTo>
                    <a:pt x="469448" y="85982"/>
                    <a:pt x="469448" y="80234"/>
                    <a:pt x="469448" y="74487"/>
                  </a:cubicBezTo>
                  <a:cubicBezTo>
                    <a:pt x="469448" y="68740"/>
                    <a:pt x="469448" y="62992"/>
                    <a:pt x="472320" y="58682"/>
                  </a:cubicBezTo>
                  <a:cubicBezTo>
                    <a:pt x="473756" y="52934"/>
                    <a:pt x="478063" y="48624"/>
                    <a:pt x="480935" y="45750"/>
                  </a:cubicBezTo>
                  <a:cubicBezTo>
                    <a:pt x="485242" y="41439"/>
                    <a:pt x="489550" y="38566"/>
                    <a:pt x="493857" y="37129"/>
                  </a:cubicBezTo>
                  <a:cubicBezTo>
                    <a:pt x="499601" y="35692"/>
                    <a:pt x="505344" y="34255"/>
                    <a:pt x="511087" y="34255"/>
                  </a:cubicBezTo>
                  <a:close/>
                  <a:moveTo>
                    <a:pt x="417704" y="17158"/>
                  </a:moveTo>
                  <a:cubicBezTo>
                    <a:pt x="416271" y="17158"/>
                    <a:pt x="414839" y="18588"/>
                    <a:pt x="413406" y="18588"/>
                  </a:cubicBezTo>
                  <a:cubicBezTo>
                    <a:pt x="413406" y="20018"/>
                    <a:pt x="411974" y="20018"/>
                    <a:pt x="411974" y="21447"/>
                  </a:cubicBezTo>
                  <a:cubicBezTo>
                    <a:pt x="410542" y="22877"/>
                    <a:pt x="410542" y="24307"/>
                    <a:pt x="410542" y="25737"/>
                  </a:cubicBezTo>
                  <a:cubicBezTo>
                    <a:pt x="410542" y="27167"/>
                    <a:pt x="411974" y="28597"/>
                    <a:pt x="411974" y="28597"/>
                  </a:cubicBezTo>
                  <a:cubicBezTo>
                    <a:pt x="413406" y="30026"/>
                    <a:pt x="413406" y="31456"/>
                    <a:pt x="414839" y="31456"/>
                  </a:cubicBezTo>
                  <a:cubicBezTo>
                    <a:pt x="416271" y="32886"/>
                    <a:pt x="417704" y="32886"/>
                    <a:pt x="419136" y="34316"/>
                  </a:cubicBezTo>
                  <a:cubicBezTo>
                    <a:pt x="420569" y="34316"/>
                    <a:pt x="422001" y="34316"/>
                    <a:pt x="422001" y="35746"/>
                  </a:cubicBezTo>
                  <a:cubicBezTo>
                    <a:pt x="423433" y="35746"/>
                    <a:pt x="424866" y="35746"/>
                    <a:pt x="426298" y="35746"/>
                  </a:cubicBezTo>
                  <a:cubicBezTo>
                    <a:pt x="427731" y="35746"/>
                    <a:pt x="429163" y="35746"/>
                    <a:pt x="430596" y="34316"/>
                  </a:cubicBezTo>
                  <a:cubicBezTo>
                    <a:pt x="430596" y="34316"/>
                    <a:pt x="432028" y="32886"/>
                    <a:pt x="432028" y="31456"/>
                  </a:cubicBezTo>
                  <a:cubicBezTo>
                    <a:pt x="433460" y="30026"/>
                    <a:pt x="433460" y="28597"/>
                    <a:pt x="433460" y="27167"/>
                  </a:cubicBezTo>
                  <a:cubicBezTo>
                    <a:pt x="433460" y="25737"/>
                    <a:pt x="432028" y="25737"/>
                    <a:pt x="432028" y="24307"/>
                  </a:cubicBezTo>
                  <a:cubicBezTo>
                    <a:pt x="430596" y="22877"/>
                    <a:pt x="430596" y="22877"/>
                    <a:pt x="429163" y="21447"/>
                  </a:cubicBezTo>
                  <a:cubicBezTo>
                    <a:pt x="427731" y="20018"/>
                    <a:pt x="426298" y="20018"/>
                    <a:pt x="424866" y="20018"/>
                  </a:cubicBezTo>
                  <a:cubicBezTo>
                    <a:pt x="423433" y="18588"/>
                    <a:pt x="423433" y="18588"/>
                    <a:pt x="422001" y="18588"/>
                  </a:cubicBezTo>
                  <a:cubicBezTo>
                    <a:pt x="420569" y="17158"/>
                    <a:pt x="419136" y="17158"/>
                    <a:pt x="417704" y="17158"/>
                  </a:cubicBezTo>
                  <a:close/>
                  <a:moveTo>
                    <a:pt x="66037" y="12874"/>
                  </a:moveTo>
                  <a:cubicBezTo>
                    <a:pt x="70348" y="12874"/>
                    <a:pt x="73221" y="12874"/>
                    <a:pt x="76095" y="14307"/>
                  </a:cubicBezTo>
                  <a:cubicBezTo>
                    <a:pt x="78969" y="15740"/>
                    <a:pt x="81842" y="17172"/>
                    <a:pt x="84716" y="20038"/>
                  </a:cubicBezTo>
                  <a:cubicBezTo>
                    <a:pt x="87590" y="22903"/>
                    <a:pt x="90464" y="25769"/>
                    <a:pt x="93337" y="27202"/>
                  </a:cubicBezTo>
                  <a:cubicBezTo>
                    <a:pt x="97648" y="32932"/>
                    <a:pt x="100521" y="37231"/>
                    <a:pt x="101958" y="41529"/>
                  </a:cubicBezTo>
                  <a:cubicBezTo>
                    <a:pt x="103395" y="45827"/>
                    <a:pt x="104832" y="48693"/>
                    <a:pt x="104832" y="51558"/>
                  </a:cubicBezTo>
                  <a:cubicBezTo>
                    <a:pt x="103395" y="54424"/>
                    <a:pt x="101958" y="57289"/>
                    <a:pt x="100521" y="58722"/>
                  </a:cubicBezTo>
                  <a:cubicBezTo>
                    <a:pt x="99085" y="61588"/>
                    <a:pt x="96211" y="63020"/>
                    <a:pt x="94774" y="64453"/>
                  </a:cubicBezTo>
                  <a:lnTo>
                    <a:pt x="76095" y="81646"/>
                  </a:lnTo>
                  <a:cubicBezTo>
                    <a:pt x="74658" y="83079"/>
                    <a:pt x="73221" y="84512"/>
                    <a:pt x="70348" y="87377"/>
                  </a:cubicBezTo>
                  <a:cubicBezTo>
                    <a:pt x="68911" y="88810"/>
                    <a:pt x="68911" y="90242"/>
                    <a:pt x="67474" y="93108"/>
                  </a:cubicBezTo>
                  <a:lnTo>
                    <a:pt x="51669" y="75915"/>
                  </a:lnTo>
                  <a:cubicBezTo>
                    <a:pt x="51669" y="74482"/>
                    <a:pt x="53106" y="74482"/>
                    <a:pt x="53106" y="73050"/>
                  </a:cubicBezTo>
                  <a:cubicBezTo>
                    <a:pt x="54542" y="71617"/>
                    <a:pt x="54542" y="71617"/>
                    <a:pt x="55979" y="71617"/>
                  </a:cubicBezTo>
                  <a:lnTo>
                    <a:pt x="55979" y="70184"/>
                  </a:lnTo>
                  <a:cubicBezTo>
                    <a:pt x="51669" y="70184"/>
                    <a:pt x="48795" y="70184"/>
                    <a:pt x="44484" y="68751"/>
                  </a:cubicBezTo>
                  <a:cubicBezTo>
                    <a:pt x="41611" y="65886"/>
                    <a:pt x="38737" y="64453"/>
                    <a:pt x="37300" y="61588"/>
                  </a:cubicBezTo>
                  <a:cubicBezTo>
                    <a:pt x="34427" y="58722"/>
                    <a:pt x="32990" y="57289"/>
                    <a:pt x="31553" y="54424"/>
                  </a:cubicBezTo>
                  <a:cubicBezTo>
                    <a:pt x="30116" y="51558"/>
                    <a:pt x="30116" y="50126"/>
                    <a:pt x="30116" y="47260"/>
                  </a:cubicBezTo>
                  <a:cubicBezTo>
                    <a:pt x="30116" y="44394"/>
                    <a:pt x="30116" y="41529"/>
                    <a:pt x="31553" y="40096"/>
                  </a:cubicBezTo>
                  <a:cubicBezTo>
                    <a:pt x="31553" y="37231"/>
                    <a:pt x="34427" y="35798"/>
                    <a:pt x="35863" y="32932"/>
                  </a:cubicBezTo>
                  <a:cubicBezTo>
                    <a:pt x="38737" y="31500"/>
                    <a:pt x="40174" y="30067"/>
                    <a:pt x="43048" y="28634"/>
                  </a:cubicBezTo>
                  <a:cubicBezTo>
                    <a:pt x="45921" y="28634"/>
                    <a:pt x="47358" y="28634"/>
                    <a:pt x="50232" y="28634"/>
                  </a:cubicBezTo>
                  <a:cubicBezTo>
                    <a:pt x="53106" y="28634"/>
                    <a:pt x="54542" y="30067"/>
                    <a:pt x="57416" y="31500"/>
                  </a:cubicBezTo>
                  <a:cubicBezTo>
                    <a:pt x="58853" y="32932"/>
                    <a:pt x="61727" y="34365"/>
                    <a:pt x="63163" y="35798"/>
                  </a:cubicBezTo>
                  <a:cubicBezTo>
                    <a:pt x="66037" y="37231"/>
                    <a:pt x="67474" y="38664"/>
                    <a:pt x="68911" y="40096"/>
                  </a:cubicBezTo>
                  <a:cubicBezTo>
                    <a:pt x="71785" y="41529"/>
                    <a:pt x="73221" y="42962"/>
                    <a:pt x="74658" y="44394"/>
                  </a:cubicBezTo>
                  <a:cubicBezTo>
                    <a:pt x="76095" y="45827"/>
                    <a:pt x="77532" y="45827"/>
                    <a:pt x="78969" y="47260"/>
                  </a:cubicBezTo>
                  <a:cubicBezTo>
                    <a:pt x="80406" y="47260"/>
                    <a:pt x="81842" y="47260"/>
                    <a:pt x="83279" y="45827"/>
                  </a:cubicBezTo>
                  <a:cubicBezTo>
                    <a:pt x="84716" y="44394"/>
                    <a:pt x="84716" y="42962"/>
                    <a:pt x="84716" y="41529"/>
                  </a:cubicBezTo>
                  <a:cubicBezTo>
                    <a:pt x="83279" y="38664"/>
                    <a:pt x="83279" y="37231"/>
                    <a:pt x="81842" y="35798"/>
                  </a:cubicBezTo>
                  <a:cubicBezTo>
                    <a:pt x="80406" y="34365"/>
                    <a:pt x="78969" y="34365"/>
                    <a:pt x="78969" y="32932"/>
                  </a:cubicBezTo>
                  <a:cubicBezTo>
                    <a:pt x="77532" y="32932"/>
                    <a:pt x="76095" y="32932"/>
                    <a:pt x="76095" y="32932"/>
                  </a:cubicBezTo>
                  <a:cubicBezTo>
                    <a:pt x="74658" y="32932"/>
                    <a:pt x="73221" y="32932"/>
                    <a:pt x="73221" y="32932"/>
                  </a:cubicBezTo>
                  <a:cubicBezTo>
                    <a:pt x="71785" y="32932"/>
                    <a:pt x="71785" y="32932"/>
                    <a:pt x="71785" y="34365"/>
                  </a:cubicBezTo>
                  <a:lnTo>
                    <a:pt x="57416" y="18605"/>
                  </a:lnTo>
                  <a:cubicBezTo>
                    <a:pt x="60290" y="15740"/>
                    <a:pt x="63163" y="14307"/>
                    <a:pt x="66037" y="12874"/>
                  </a:cubicBezTo>
                  <a:close/>
                  <a:moveTo>
                    <a:pt x="416271" y="0"/>
                  </a:moveTo>
                  <a:cubicBezTo>
                    <a:pt x="419136" y="0"/>
                    <a:pt x="422001" y="0"/>
                    <a:pt x="424866" y="0"/>
                  </a:cubicBezTo>
                  <a:cubicBezTo>
                    <a:pt x="427731" y="1430"/>
                    <a:pt x="430596" y="1430"/>
                    <a:pt x="432028" y="2860"/>
                  </a:cubicBezTo>
                  <a:cubicBezTo>
                    <a:pt x="434893" y="4289"/>
                    <a:pt x="437758" y="5719"/>
                    <a:pt x="440622" y="7149"/>
                  </a:cubicBezTo>
                  <a:cubicBezTo>
                    <a:pt x="442055" y="10009"/>
                    <a:pt x="444920" y="11439"/>
                    <a:pt x="446352" y="14298"/>
                  </a:cubicBezTo>
                  <a:cubicBezTo>
                    <a:pt x="447785" y="17158"/>
                    <a:pt x="447785" y="20018"/>
                    <a:pt x="449217" y="22877"/>
                  </a:cubicBezTo>
                  <a:cubicBezTo>
                    <a:pt x="449217" y="25737"/>
                    <a:pt x="447785" y="28597"/>
                    <a:pt x="446352" y="31456"/>
                  </a:cubicBezTo>
                  <a:cubicBezTo>
                    <a:pt x="446352" y="32886"/>
                    <a:pt x="444920" y="34316"/>
                    <a:pt x="444920" y="35746"/>
                  </a:cubicBezTo>
                  <a:cubicBezTo>
                    <a:pt x="443487" y="37176"/>
                    <a:pt x="442055" y="38605"/>
                    <a:pt x="440622" y="38605"/>
                  </a:cubicBezTo>
                  <a:cubicBezTo>
                    <a:pt x="440622" y="40035"/>
                    <a:pt x="439190" y="40035"/>
                    <a:pt x="437758" y="40035"/>
                  </a:cubicBezTo>
                  <a:cubicBezTo>
                    <a:pt x="437758" y="41465"/>
                    <a:pt x="436325" y="41465"/>
                    <a:pt x="434893" y="41465"/>
                  </a:cubicBezTo>
                  <a:lnTo>
                    <a:pt x="440622" y="42895"/>
                  </a:lnTo>
                  <a:lnTo>
                    <a:pt x="433460" y="58623"/>
                  </a:lnTo>
                  <a:lnTo>
                    <a:pt x="374731" y="32886"/>
                  </a:lnTo>
                  <a:lnTo>
                    <a:pt x="381893" y="15728"/>
                  </a:lnTo>
                  <a:lnTo>
                    <a:pt x="401947" y="25737"/>
                  </a:lnTo>
                  <a:cubicBezTo>
                    <a:pt x="400515" y="22877"/>
                    <a:pt x="400515" y="21447"/>
                    <a:pt x="400515" y="18588"/>
                  </a:cubicBezTo>
                  <a:cubicBezTo>
                    <a:pt x="400515" y="15728"/>
                    <a:pt x="400515" y="14298"/>
                    <a:pt x="401947" y="11439"/>
                  </a:cubicBezTo>
                  <a:cubicBezTo>
                    <a:pt x="403379" y="7149"/>
                    <a:pt x="406244" y="4289"/>
                    <a:pt x="407677" y="2860"/>
                  </a:cubicBezTo>
                  <a:cubicBezTo>
                    <a:pt x="410542" y="1430"/>
                    <a:pt x="413406" y="0"/>
                    <a:pt x="416271" y="0"/>
                  </a:cubicBezTo>
                  <a:close/>
                  <a:moveTo>
                    <a:pt x="206689" y="0"/>
                  </a:moveTo>
                  <a:lnTo>
                    <a:pt x="243950" y="34378"/>
                  </a:lnTo>
                  <a:cubicBezTo>
                    <a:pt x="248249" y="37243"/>
                    <a:pt x="251116" y="41540"/>
                    <a:pt x="252549" y="44405"/>
                  </a:cubicBezTo>
                  <a:cubicBezTo>
                    <a:pt x="253982" y="48702"/>
                    <a:pt x="255415" y="51567"/>
                    <a:pt x="255415" y="55864"/>
                  </a:cubicBezTo>
                  <a:cubicBezTo>
                    <a:pt x="255415" y="58729"/>
                    <a:pt x="255415" y="61594"/>
                    <a:pt x="253982" y="63027"/>
                  </a:cubicBezTo>
                  <a:cubicBezTo>
                    <a:pt x="252549" y="65891"/>
                    <a:pt x="251116" y="68756"/>
                    <a:pt x="249683" y="70189"/>
                  </a:cubicBezTo>
                  <a:cubicBezTo>
                    <a:pt x="246816" y="73054"/>
                    <a:pt x="242517" y="75918"/>
                    <a:pt x="239651" y="75918"/>
                  </a:cubicBezTo>
                  <a:cubicBezTo>
                    <a:pt x="236784" y="75918"/>
                    <a:pt x="232485" y="75918"/>
                    <a:pt x="229619" y="75918"/>
                  </a:cubicBezTo>
                  <a:cubicBezTo>
                    <a:pt x="229619" y="77351"/>
                    <a:pt x="231052" y="78783"/>
                    <a:pt x="231052" y="81648"/>
                  </a:cubicBezTo>
                  <a:cubicBezTo>
                    <a:pt x="232485" y="83081"/>
                    <a:pt x="232485" y="85945"/>
                    <a:pt x="232485" y="88810"/>
                  </a:cubicBezTo>
                  <a:cubicBezTo>
                    <a:pt x="232485" y="90243"/>
                    <a:pt x="231052" y="93108"/>
                    <a:pt x="231052" y="95972"/>
                  </a:cubicBezTo>
                  <a:cubicBezTo>
                    <a:pt x="229619" y="97405"/>
                    <a:pt x="228186" y="100270"/>
                    <a:pt x="225320" y="103134"/>
                  </a:cubicBezTo>
                  <a:cubicBezTo>
                    <a:pt x="222453" y="105999"/>
                    <a:pt x="219587" y="108864"/>
                    <a:pt x="215288" y="110297"/>
                  </a:cubicBezTo>
                  <a:cubicBezTo>
                    <a:pt x="212421" y="111729"/>
                    <a:pt x="208122" y="111729"/>
                    <a:pt x="205256" y="111729"/>
                  </a:cubicBezTo>
                  <a:cubicBezTo>
                    <a:pt x="200957" y="111729"/>
                    <a:pt x="196657" y="110297"/>
                    <a:pt x="193791" y="108864"/>
                  </a:cubicBezTo>
                  <a:cubicBezTo>
                    <a:pt x="189492" y="107432"/>
                    <a:pt x="186625" y="104567"/>
                    <a:pt x="183759" y="101702"/>
                  </a:cubicBezTo>
                  <a:lnTo>
                    <a:pt x="145065" y="6732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</p:sp>
        <p:grpSp>
          <p:nvGrpSpPr>
            <p:cNvPr id="20" name="组合 19"/>
            <p:cNvGrpSpPr/>
            <p:nvPr/>
          </p:nvGrpSpPr>
          <p:grpSpPr>
            <a:xfrm>
              <a:off x="5655" y="11762"/>
              <a:ext cx="11764" cy="7271"/>
              <a:chOff x="5655" y="11762"/>
              <a:chExt cx="11764" cy="7271"/>
            </a:xfrm>
          </p:grpSpPr>
          <p:sp>
            <p:nvSpPr>
              <p:cNvPr id="16" name="iconfont-11699-7199371"/>
              <p:cNvSpPr>
                <a:spLocks noChangeAspect="1"/>
              </p:cNvSpPr>
              <p:nvPr/>
            </p:nvSpPr>
            <p:spPr bwMode="auto">
              <a:xfrm>
                <a:off x="6491" y="12049"/>
                <a:ext cx="1353" cy="1337"/>
              </a:xfrm>
              <a:custGeom>
                <a:avLst/>
                <a:gdLst>
                  <a:gd name="T0" fmla="*/ 11165 w 12915"/>
                  <a:gd name="T1" fmla="*/ 2492 h 12750"/>
                  <a:gd name="T2" fmla="*/ 11655 w 12915"/>
                  <a:gd name="T3" fmla="*/ 2010 h 12750"/>
                  <a:gd name="T4" fmla="*/ 11657 w 12915"/>
                  <a:gd name="T5" fmla="*/ 1406 h 12750"/>
                  <a:gd name="T6" fmla="*/ 11053 w 12915"/>
                  <a:gd name="T7" fmla="*/ 1404 h 12750"/>
                  <a:gd name="T8" fmla="*/ 10559 w 12915"/>
                  <a:gd name="T9" fmla="*/ 1890 h 12750"/>
                  <a:gd name="T10" fmla="*/ 4394 w 12915"/>
                  <a:gd name="T11" fmla="*/ 815 h 12750"/>
                  <a:gd name="T12" fmla="*/ 578 w 12915"/>
                  <a:gd name="T13" fmla="*/ 5775 h 12750"/>
                  <a:gd name="T14" fmla="*/ 21 w 12915"/>
                  <a:gd name="T15" fmla="*/ 6767 h 12750"/>
                  <a:gd name="T16" fmla="*/ 677 w 12915"/>
                  <a:gd name="T17" fmla="*/ 7698 h 12750"/>
                  <a:gd name="T18" fmla="*/ 3953 w 12915"/>
                  <a:gd name="T19" fmla="*/ 11925 h 12750"/>
                  <a:gd name="T20" fmla="*/ 9302 w 12915"/>
                  <a:gd name="T21" fmla="*/ 11908 h 12750"/>
                  <a:gd name="T22" fmla="*/ 12550 w 12915"/>
                  <a:gd name="T23" fmla="*/ 7658 h 12750"/>
                  <a:gd name="T24" fmla="*/ 11165 w 12915"/>
                  <a:gd name="T25" fmla="*/ 2492 h 12750"/>
                  <a:gd name="T26" fmla="*/ 10199 w 12915"/>
                  <a:gd name="T27" fmla="*/ 10066 h 12750"/>
                  <a:gd name="T28" fmla="*/ 5181 w 12915"/>
                  <a:gd name="T29" fmla="*/ 11361 h 12750"/>
                  <a:gd name="T30" fmla="*/ 1626 w 12915"/>
                  <a:gd name="T31" fmla="*/ 7588 h 12750"/>
                  <a:gd name="T32" fmla="*/ 1789 w 12915"/>
                  <a:gd name="T33" fmla="*/ 7460 h 12750"/>
                  <a:gd name="T34" fmla="*/ 1789 w 12915"/>
                  <a:gd name="T35" fmla="*/ 5975 h 12750"/>
                  <a:gd name="T36" fmla="*/ 1538 w 12915"/>
                  <a:gd name="T37" fmla="*/ 5788 h 12750"/>
                  <a:gd name="T38" fmla="*/ 4751 w 12915"/>
                  <a:gd name="T39" fmla="*/ 1695 h 12750"/>
                  <a:gd name="T40" fmla="*/ 9882 w 12915"/>
                  <a:gd name="T41" fmla="*/ 2567 h 12750"/>
                  <a:gd name="T42" fmla="*/ 8722 w 12915"/>
                  <a:gd name="T43" fmla="*/ 3735 h 12750"/>
                  <a:gd name="T44" fmla="*/ 5411 w 12915"/>
                  <a:gd name="T45" fmla="*/ 3183 h 12750"/>
                  <a:gd name="T46" fmla="*/ 3185 w 12915"/>
                  <a:gd name="T47" fmla="*/ 5696 h 12750"/>
                  <a:gd name="T48" fmla="*/ 4131 w 12915"/>
                  <a:gd name="T49" fmla="*/ 8916 h 12750"/>
                  <a:gd name="T50" fmla="*/ 7362 w 12915"/>
                  <a:gd name="T51" fmla="*/ 9826 h 12750"/>
                  <a:gd name="T52" fmla="*/ 8601 w 12915"/>
                  <a:gd name="T53" fmla="*/ 9966 h 12750"/>
                  <a:gd name="T54" fmla="*/ 9106 w 12915"/>
                  <a:gd name="T55" fmla="*/ 8826 h 12750"/>
                  <a:gd name="T56" fmla="*/ 9319 w 12915"/>
                  <a:gd name="T57" fmla="*/ 4338 h 12750"/>
                  <a:gd name="T58" fmla="*/ 10487 w 12915"/>
                  <a:gd name="T59" fmla="*/ 3167 h 12750"/>
                  <a:gd name="T60" fmla="*/ 11690 w 12915"/>
                  <a:gd name="T61" fmla="*/ 6673 h 12750"/>
                  <a:gd name="T62" fmla="*/ 10199 w 12915"/>
                  <a:gd name="T63" fmla="*/ 10066 h 12750"/>
                  <a:gd name="T64" fmla="*/ 8495 w 12915"/>
                  <a:gd name="T65" fmla="*/ 8087 h 12750"/>
                  <a:gd name="T66" fmla="*/ 7330 w 12915"/>
                  <a:gd name="T67" fmla="*/ 8306 h 12750"/>
                  <a:gd name="T68" fmla="*/ 7034 w 12915"/>
                  <a:gd name="T69" fmla="*/ 8922 h 12750"/>
                  <a:gd name="T70" fmla="*/ 4786 w 12915"/>
                  <a:gd name="T71" fmla="*/ 8191 h 12750"/>
                  <a:gd name="T72" fmla="*/ 4148 w 12915"/>
                  <a:gd name="T73" fmla="*/ 5915 h 12750"/>
                  <a:gd name="T74" fmla="*/ 5688 w 12915"/>
                  <a:gd name="T75" fmla="*/ 4122 h 12750"/>
                  <a:gd name="T76" fmla="*/ 8034 w 12915"/>
                  <a:gd name="T77" fmla="*/ 4410 h 12750"/>
                  <a:gd name="T78" fmla="*/ 6898 w 12915"/>
                  <a:gd name="T79" fmla="*/ 5548 h 12750"/>
                  <a:gd name="T80" fmla="*/ 5866 w 12915"/>
                  <a:gd name="T81" fmla="*/ 5828 h 12750"/>
                  <a:gd name="T82" fmla="*/ 5729 w 12915"/>
                  <a:gd name="T83" fmla="*/ 6888 h 12750"/>
                  <a:gd name="T84" fmla="*/ 6656 w 12915"/>
                  <a:gd name="T85" fmla="*/ 7421 h 12750"/>
                  <a:gd name="T86" fmla="*/ 7503 w 12915"/>
                  <a:gd name="T87" fmla="*/ 6770 h 12750"/>
                  <a:gd name="T88" fmla="*/ 7503 w 12915"/>
                  <a:gd name="T89" fmla="*/ 6154 h 12750"/>
                  <a:gd name="T90" fmla="*/ 8639 w 12915"/>
                  <a:gd name="T91" fmla="*/ 5015 h 12750"/>
                  <a:gd name="T92" fmla="*/ 8495 w 12915"/>
                  <a:gd name="T93" fmla="*/ 8087 h 12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915" h="12750">
                    <a:moveTo>
                      <a:pt x="11165" y="2492"/>
                    </a:moveTo>
                    <a:lnTo>
                      <a:pt x="11655" y="2010"/>
                    </a:lnTo>
                    <a:cubicBezTo>
                      <a:pt x="11822" y="1843"/>
                      <a:pt x="11823" y="1573"/>
                      <a:pt x="11657" y="1406"/>
                    </a:cubicBezTo>
                    <a:cubicBezTo>
                      <a:pt x="11490" y="1239"/>
                      <a:pt x="11220" y="1238"/>
                      <a:pt x="11053" y="1404"/>
                    </a:cubicBezTo>
                    <a:lnTo>
                      <a:pt x="10559" y="1890"/>
                    </a:lnTo>
                    <a:cubicBezTo>
                      <a:pt x="8864" y="413"/>
                      <a:pt x="6489" y="0"/>
                      <a:pt x="4394" y="815"/>
                    </a:cubicBezTo>
                    <a:cubicBezTo>
                      <a:pt x="2299" y="1631"/>
                      <a:pt x="829" y="3541"/>
                      <a:pt x="578" y="5775"/>
                    </a:cubicBezTo>
                    <a:cubicBezTo>
                      <a:pt x="217" y="5971"/>
                      <a:pt x="0" y="6357"/>
                      <a:pt x="21" y="6767"/>
                    </a:cubicBezTo>
                    <a:cubicBezTo>
                      <a:pt x="42" y="7178"/>
                      <a:pt x="297" y="7540"/>
                      <a:pt x="677" y="7698"/>
                    </a:cubicBezTo>
                    <a:cubicBezTo>
                      <a:pt x="1054" y="9539"/>
                      <a:pt x="2264" y="11101"/>
                      <a:pt x="3953" y="11925"/>
                    </a:cubicBezTo>
                    <a:cubicBezTo>
                      <a:pt x="5642" y="12750"/>
                      <a:pt x="7618" y="12743"/>
                      <a:pt x="9302" y="11908"/>
                    </a:cubicBezTo>
                    <a:cubicBezTo>
                      <a:pt x="10986" y="11072"/>
                      <a:pt x="12186" y="9502"/>
                      <a:pt x="12550" y="7658"/>
                    </a:cubicBezTo>
                    <a:cubicBezTo>
                      <a:pt x="12915" y="5815"/>
                      <a:pt x="12403" y="3906"/>
                      <a:pt x="11165" y="2492"/>
                    </a:cubicBezTo>
                    <a:close/>
                    <a:moveTo>
                      <a:pt x="10199" y="10066"/>
                    </a:moveTo>
                    <a:cubicBezTo>
                      <a:pt x="8888" y="11380"/>
                      <a:pt x="6964" y="11876"/>
                      <a:pt x="5181" y="11361"/>
                    </a:cubicBezTo>
                    <a:cubicBezTo>
                      <a:pt x="3397" y="10845"/>
                      <a:pt x="2035" y="9400"/>
                      <a:pt x="1626" y="7588"/>
                    </a:cubicBezTo>
                    <a:cubicBezTo>
                      <a:pt x="1685" y="7552"/>
                      <a:pt x="1739" y="7509"/>
                      <a:pt x="1789" y="7460"/>
                    </a:cubicBezTo>
                    <a:cubicBezTo>
                      <a:pt x="2199" y="7050"/>
                      <a:pt x="2199" y="6385"/>
                      <a:pt x="1789" y="5975"/>
                    </a:cubicBezTo>
                    <a:cubicBezTo>
                      <a:pt x="1715" y="5900"/>
                      <a:pt x="1631" y="5837"/>
                      <a:pt x="1538" y="5788"/>
                    </a:cubicBezTo>
                    <a:cubicBezTo>
                      <a:pt x="1777" y="3938"/>
                      <a:pt x="3011" y="2367"/>
                      <a:pt x="4751" y="1695"/>
                    </a:cubicBezTo>
                    <a:cubicBezTo>
                      <a:pt x="6492" y="1023"/>
                      <a:pt x="8461" y="1357"/>
                      <a:pt x="9882" y="2567"/>
                    </a:cubicBezTo>
                    <a:lnTo>
                      <a:pt x="8722" y="3735"/>
                    </a:lnTo>
                    <a:cubicBezTo>
                      <a:pt x="7787" y="2993"/>
                      <a:pt x="6536" y="2785"/>
                      <a:pt x="5411" y="3183"/>
                    </a:cubicBezTo>
                    <a:cubicBezTo>
                      <a:pt x="4286" y="3582"/>
                      <a:pt x="3445" y="4531"/>
                      <a:pt x="3185" y="5696"/>
                    </a:cubicBezTo>
                    <a:cubicBezTo>
                      <a:pt x="2924" y="6861"/>
                      <a:pt x="3282" y="8077"/>
                      <a:pt x="4131" y="8916"/>
                    </a:cubicBezTo>
                    <a:cubicBezTo>
                      <a:pt x="4979" y="9756"/>
                      <a:pt x="6200" y="10099"/>
                      <a:pt x="7362" y="9826"/>
                    </a:cubicBezTo>
                    <a:cubicBezTo>
                      <a:pt x="7700" y="10138"/>
                      <a:pt x="8202" y="10195"/>
                      <a:pt x="8601" y="9966"/>
                    </a:cubicBezTo>
                    <a:cubicBezTo>
                      <a:pt x="9001" y="9737"/>
                      <a:pt x="9205" y="9275"/>
                      <a:pt x="9106" y="8826"/>
                    </a:cubicBezTo>
                    <a:cubicBezTo>
                      <a:pt x="10276" y="7588"/>
                      <a:pt x="10366" y="5681"/>
                      <a:pt x="9319" y="4338"/>
                    </a:cubicBezTo>
                    <a:lnTo>
                      <a:pt x="10487" y="3167"/>
                    </a:lnTo>
                    <a:cubicBezTo>
                      <a:pt x="11314" y="4143"/>
                      <a:pt x="11743" y="5395"/>
                      <a:pt x="11690" y="6673"/>
                    </a:cubicBezTo>
                    <a:cubicBezTo>
                      <a:pt x="11636" y="7951"/>
                      <a:pt x="11104" y="9162"/>
                      <a:pt x="10199" y="10066"/>
                    </a:cubicBezTo>
                    <a:close/>
                    <a:moveTo>
                      <a:pt x="8495" y="8087"/>
                    </a:moveTo>
                    <a:cubicBezTo>
                      <a:pt x="8098" y="7917"/>
                      <a:pt x="7638" y="8004"/>
                      <a:pt x="7330" y="8306"/>
                    </a:cubicBezTo>
                    <a:cubicBezTo>
                      <a:pt x="7165" y="8472"/>
                      <a:pt x="7060" y="8689"/>
                      <a:pt x="7034" y="8922"/>
                    </a:cubicBezTo>
                    <a:cubicBezTo>
                      <a:pt x="6210" y="9069"/>
                      <a:pt x="5366" y="8795"/>
                      <a:pt x="4786" y="8191"/>
                    </a:cubicBezTo>
                    <a:cubicBezTo>
                      <a:pt x="4206" y="7587"/>
                      <a:pt x="3966" y="6733"/>
                      <a:pt x="4148" y="5915"/>
                    </a:cubicBezTo>
                    <a:cubicBezTo>
                      <a:pt x="4329" y="5097"/>
                      <a:pt x="4907" y="4425"/>
                      <a:pt x="5688" y="4122"/>
                    </a:cubicBezTo>
                    <a:cubicBezTo>
                      <a:pt x="6469" y="3819"/>
                      <a:pt x="7349" y="3927"/>
                      <a:pt x="8034" y="4410"/>
                    </a:cubicBezTo>
                    <a:lnTo>
                      <a:pt x="6898" y="5548"/>
                    </a:lnTo>
                    <a:cubicBezTo>
                      <a:pt x="6529" y="5424"/>
                      <a:pt x="6122" y="5535"/>
                      <a:pt x="5866" y="5828"/>
                    </a:cubicBezTo>
                    <a:cubicBezTo>
                      <a:pt x="5610" y="6121"/>
                      <a:pt x="5556" y="6540"/>
                      <a:pt x="5729" y="6888"/>
                    </a:cubicBezTo>
                    <a:cubicBezTo>
                      <a:pt x="5902" y="7237"/>
                      <a:pt x="6268" y="7447"/>
                      <a:pt x="6656" y="7421"/>
                    </a:cubicBezTo>
                    <a:cubicBezTo>
                      <a:pt x="7044" y="7395"/>
                      <a:pt x="7379" y="7138"/>
                      <a:pt x="7503" y="6770"/>
                    </a:cubicBezTo>
                    <a:cubicBezTo>
                      <a:pt x="7570" y="6570"/>
                      <a:pt x="7570" y="6354"/>
                      <a:pt x="7503" y="6154"/>
                    </a:cubicBezTo>
                    <a:lnTo>
                      <a:pt x="8639" y="5015"/>
                    </a:lnTo>
                    <a:cubicBezTo>
                      <a:pt x="9300" y="5951"/>
                      <a:pt x="9241" y="7217"/>
                      <a:pt x="8495" y="8087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</p:sp>
          <p:sp>
            <p:nvSpPr>
              <p:cNvPr id="17" name="圆角矩形 16"/>
              <p:cNvSpPr/>
              <p:nvPr/>
            </p:nvSpPr>
            <p:spPr>
              <a:xfrm>
                <a:off x="5655" y="11762"/>
                <a:ext cx="11764" cy="7271"/>
              </a:xfrm>
              <a:prstGeom prst="roundRect">
                <a:avLst/>
              </a:prstGeom>
              <a:noFill/>
              <a:ln w="22225">
                <a:solidFill>
                  <a:schemeClr val="bg1">
                    <a:lumMod val="75000"/>
                  </a:schemeClr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6477" y="14017"/>
                <a:ext cx="9898" cy="15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indent="0">
                  <a:buFont typeface="Arial" panose="020B0604020202020204" pitchFamily="34" charset="0"/>
                  <a:buNone/>
                </a:pPr>
                <a:r>
                  <a:rPr lang="zh-CN" sz="2800">
                    <a:latin typeface="宋体" panose="02010600030101010101" pitchFamily="2" charset="-122"/>
                    <a:ea typeface="宋体" panose="02010600030101010101" pitchFamily="2" charset="-122"/>
                    <a:sym typeface="+mn-ea"/>
                  </a:rPr>
                  <a:t>教育机构，以及学习相关资源、器材等供应商的精准营销解决方案。</a:t>
                </a:r>
                <a:endParaRPr lang="zh-CN" altLang="en-US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endParaRP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7916" y="12273"/>
                <a:ext cx="8117" cy="11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indent="0">
                  <a:buFont typeface="Arial" panose="020B0604020202020204" pitchFamily="34" charset="0"/>
                  <a:buNone/>
                </a:pPr>
                <a:r>
                  <a:rPr lang="zh-CN" sz="4000">
                    <a:latin typeface="宋体" panose="02010600030101010101" pitchFamily="2" charset="-122"/>
                    <a:ea typeface="宋体" panose="02010600030101010101" pitchFamily="2" charset="-122"/>
                    <a:sym typeface="+mn-ea"/>
                  </a:rPr>
                  <a:t>精准营销解决方案</a:t>
                </a:r>
                <a:endParaRPr lang="zh-CN" altLang="en-US" sz="40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endParaRPr>
              </a:p>
            </p:txBody>
          </p:sp>
        </p:grpSp>
        <p:sp>
          <p:nvSpPr>
            <p:cNvPr id="23" name="圆角矩形 22"/>
            <p:cNvSpPr/>
            <p:nvPr/>
          </p:nvSpPr>
          <p:spPr>
            <a:xfrm>
              <a:off x="18037" y="11762"/>
              <a:ext cx="11764" cy="7271"/>
            </a:xfrm>
            <a:prstGeom prst="roundRect">
              <a:avLst/>
            </a:prstGeom>
            <a:noFill/>
            <a:ln w="22225">
              <a:solidFill>
                <a:schemeClr val="bg1">
                  <a:lumMod val="75000"/>
                </a:schemeClr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18859" y="14017"/>
              <a:ext cx="9898" cy="3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通过区域性学分银行中学习者的学习需求、学习者层次结构（年龄、分布、社会角色等因素）等维度建立分析模型，为教学管理部门</a:t>
              </a:r>
              <a:r>
                <a:rPr lang="zh-CN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调控</a:t>
              </a:r>
              <a:r>
                <a:rPr lang="zh-CN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各类教育资源，提供辅助决策类型</a:t>
              </a:r>
              <a:r>
                <a:rPr lang="zh-CN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的应用体系</a:t>
              </a:r>
              <a:r>
                <a:rPr lang="zh-CN" sz="28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。</a:t>
              </a:r>
              <a:endParaRPr lang="zh-CN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20442" y="12273"/>
              <a:ext cx="6081" cy="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40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教育资源调控</a:t>
              </a:r>
              <a:endParaRPr 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30279" y="14380"/>
              <a:ext cx="6081" cy="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en-US" altLang="zh-CN" sz="4000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……</a:t>
              </a:r>
              <a:endPara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ḷ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$ḷíḑ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42" y="59392"/>
          <a:ext cx="3142" cy="31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íSľíďê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142" y="59392"/>
                        <a:ext cx="3142" cy="31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lïḋê" hidden="1"/>
          <p:cNvSpPr/>
          <p:nvPr>
            <p:custDataLst>
              <p:tags r:id="rId4"/>
            </p:custDataLst>
          </p:nvPr>
        </p:nvSpPr>
        <p:spPr>
          <a:xfrm>
            <a:off x="0" y="56250"/>
            <a:ext cx="314063" cy="314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75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362" y="3133510"/>
            <a:ext cx="4434528" cy="1176299"/>
          </a:xfrm>
          <a:prstGeom prst="rect">
            <a:avLst/>
          </a:prstGeom>
        </p:spPr>
      </p:pic>
      <p:sp>
        <p:nvSpPr>
          <p:cNvPr id="11" name="平行四边形 10"/>
          <p:cNvSpPr/>
          <p:nvPr/>
        </p:nvSpPr>
        <p:spPr>
          <a:xfrm>
            <a:off x="-4806950" y="2424430"/>
            <a:ext cx="16150590" cy="8763635"/>
          </a:xfrm>
          <a:prstGeom prst="parallelogram">
            <a:avLst>
              <a:gd name="adj" fmla="val 30813"/>
            </a:avLst>
          </a:prstGeom>
          <a:blipFill rotWithShape="1"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平行四边形 17"/>
          <p:cNvSpPr/>
          <p:nvPr/>
        </p:nvSpPr>
        <p:spPr>
          <a:xfrm>
            <a:off x="5187315" y="4628515"/>
            <a:ext cx="20456525" cy="5135245"/>
          </a:xfrm>
          <a:prstGeom prst="parallelogram">
            <a:avLst>
              <a:gd name="adj" fmla="val 30813"/>
            </a:avLst>
          </a:prstGeom>
          <a:solidFill>
            <a:srgbClr val="0069B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平行四边形 18"/>
          <p:cNvSpPr/>
          <p:nvPr/>
        </p:nvSpPr>
        <p:spPr>
          <a:xfrm>
            <a:off x="9079865" y="4628515"/>
            <a:ext cx="16619855" cy="513524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3"/>
              </a:solidFill>
            </a:endParaRPr>
          </a:p>
        </p:txBody>
      </p:sp>
      <p:sp>
        <p:nvSpPr>
          <p:cNvPr id="20" name="íṩļiḍê"/>
          <p:cNvSpPr/>
          <p:nvPr/>
        </p:nvSpPr>
        <p:spPr>
          <a:xfrm>
            <a:off x="11279261" y="5706110"/>
            <a:ext cx="8277100" cy="1630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zh-CN" altLang="en-US" sz="10000" b="1" dirty="0">
                <a:solidFill>
                  <a:schemeClr val="bg1"/>
                </a:solidFill>
                <a:latin typeface="+mj-ea"/>
              </a:rPr>
              <a:t>感谢观看！</a:t>
            </a:r>
            <a:endParaRPr lang="en-US" altLang="zh-CN" sz="10000" b="1" dirty="0">
              <a:solidFill>
                <a:schemeClr val="bg1"/>
              </a:solidFill>
              <a:latin typeface="+mj-ea"/>
            </a:endParaRPr>
          </a:p>
        </p:txBody>
      </p:sp>
      <p:sp>
        <p:nvSpPr>
          <p:cNvPr id="21" name="íṩļiḍê"/>
          <p:cNvSpPr/>
          <p:nvPr/>
        </p:nvSpPr>
        <p:spPr>
          <a:xfrm>
            <a:off x="11279261" y="7709535"/>
            <a:ext cx="1293876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0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THANK YOU FOR  </a:t>
            </a:r>
            <a:r>
              <a:rPr lang="en-US" altLang="zh-CN" sz="50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LISTENNING</a:t>
            </a:r>
            <a:r>
              <a:rPr lang="en-US" altLang="zh-CN" sz="40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.</a:t>
            </a:r>
            <a:endParaRPr lang="zh-CN" sz="400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íṩļiḍê"/>
          <p:cNvSpPr/>
          <p:nvPr/>
        </p:nvSpPr>
        <p:spPr>
          <a:xfrm>
            <a:off x="2215515" y="11777980"/>
            <a:ext cx="20054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zh-CN" sz="2000" cap="all" dirty="0">
                <a:solidFill>
                  <a:schemeClr val="bg1">
                    <a:lumMod val="50000"/>
                  </a:schemeClr>
                </a:solidFill>
                <a:uFillTx/>
                <a:latin typeface="+mj-ea"/>
              </a:rPr>
              <a:t>Sichuan Education Wisdom brain construction pla</a:t>
            </a:r>
            <a:r>
              <a:rPr lang="en-US" altLang="zh-CN" sz="2000" cap="all" dirty="0">
                <a:solidFill>
                  <a:schemeClr val="bg1">
                    <a:lumMod val="50000"/>
                  </a:schemeClr>
                </a:solidFill>
                <a:uFillTx/>
                <a:latin typeface="+mj-ea"/>
              </a:rPr>
              <a:t>n</a:t>
            </a:r>
            <a:endParaRPr lang="en-US" altLang="zh-CN" sz="2000" cap="all" dirty="0">
              <a:solidFill>
                <a:schemeClr val="bg1">
                  <a:lumMod val="50000"/>
                </a:schemeClr>
              </a:solidFill>
              <a:uFillTx/>
              <a:latin typeface="+mj-ea"/>
            </a:endParaRPr>
          </a:p>
        </p:txBody>
      </p:sp>
      <p:sp>
        <p:nvSpPr>
          <p:cNvPr id="23" name="平行四边形 22"/>
          <p:cNvSpPr/>
          <p:nvPr/>
        </p:nvSpPr>
        <p:spPr>
          <a:xfrm>
            <a:off x="18079720" y="1177798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平行四边形 23"/>
          <p:cNvSpPr/>
          <p:nvPr/>
        </p:nvSpPr>
        <p:spPr>
          <a:xfrm>
            <a:off x="16850360" y="-494665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平行四边形 24"/>
          <p:cNvSpPr/>
          <p:nvPr/>
        </p:nvSpPr>
        <p:spPr>
          <a:xfrm>
            <a:off x="15883890" y="10602595"/>
            <a:ext cx="2195830" cy="1480820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3482340" y="673100"/>
            <a:ext cx="1417955" cy="96964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11390408" y="9876695"/>
            <a:ext cx="6706349" cy="1062450"/>
          </a:xfrm>
          <a:prstGeom prst="rect">
            <a:avLst/>
          </a:prstGeom>
          <a:noFill/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0"/>
              </a:spcAft>
            </a:pP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陈黎</a:t>
            </a: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    </a:t>
            </a:r>
            <a:r>
              <a:rPr lang="en-US" altLang="zh-CN" sz="2500" spc="200" dirty="0">
                <a:solidFill>
                  <a:srgbClr val="2B3342"/>
                </a:solidFill>
                <a:latin typeface="+mj-ea"/>
                <a:ea typeface="+mj-ea"/>
              </a:rPr>
              <a:t>2020.07.25</a:t>
            </a:r>
            <a:r>
              <a:rPr lang="zh-CN" altLang="en-US" sz="2500" spc="200" dirty="0">
                <a:solidFill>
                  <a:srgbClr val="2B3342"/>
                </a:solidFill>
                <a:latin typeface="+mj-ea"/>
                <a:ea typeface="+mj-ea"/>
              </a:rPr>
              <a:t>   </a:t>
            </a:r>
            <a:endParaRPr lang="en-US" altLang="zh-CN" sz="2500" spc="200" dirty="0">
              <a:solidFill>
                <a:srgbClr val="2B3342"/>
              </a:solidFill>
              <a:latin typeface="+mj-ea"/>
              <a:ea typeface="+mj-ea"/>
            </a:endParaRPr>
          </a:p>
        </p:txBody>
      </p:sp>
    </p:spTree>
    <p:custDataLst>
      <p:tags r:id="rId7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引言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2371090" y="3064510"/>
            <a:ext cx="18229580" cy="2330450"/>
            <a:chOff x="3734" y="4286"/>
            <a:chExt cx="28708" cy="3670"/>
          </a:xfrm>
        </p:grpSpPr>
        <p:sp>
          <p:nvSpPr>
            <p:cNvPr id="12" name="question-mark-in-a-shield_17200"/>
            <p:cNvSpPr>
              <a:spLocks noChangeAspect="1"/>
            </p:cNvSpPr>
            <p:nvPr/>
          </p:nvSpPr>
          <p:spPr bwMode="auto">
            <a:xfrm>
              <a:off x="4365" y="4977"/>
              <a:ext cx="2015" cy="2181"/>
            </a:xfrm>
            <a:custGeom>
              <a:avLst/>
              <a:gdLst>
                <a:gd name="T0" fmla="*/ 4309 w 4331"/>
                <a:gd name="T1" fmla="*/ 1136 h 4696"/>
                <a:gd name="T2" fmla="*/ 4215 w 4331"/>
                <a:gd name="T3" fmla="*/ 1082 h 4696"/>
                <a:gd name="T4" fmla="*/ 3241 w 4331"/>
                <a:gd name="T5" fmla="*/ 561 h 4696"/>
                <a:gd name="T6" fmla="*/ 2155 w 4331"/>
                <a:gd name="T7" fmla="*/ 0 h 4696"/>
                <a:gd name="T8" fmla="*/ 953 w 4331"/>
                <a:gd name="T9" fmla="*/ 613 h 4696"/>
                <a:gd name="T10" fmla="*/ 95 w 4331"/>
                <a:gd name="T11" fmla="*/ 1082 h 4696"/>
                <a:gd name="T12" fmla="*/ 15 w 4331"/>
                <a:gd name="T13" fmla="*/ 1130 h 4696"/>
                <a:gd name="T14" fmla="*/ 0 w 4331"/>
                <a:gd name="T15" fmla="*/ 1207 h 4696"/>
                <a:gd name="T16" fmla="*/ 2155 w 4331"/>
                <a:gd name="T17" fmla="*/ 4696 h 4696"/>
                <a:gd name="T18" fmla="*/ 4331 w 4331"/>
                <a:gd name="T19" fmla="*/ 1236 h 4696"/>
                <a:gd name="T20" fmla="*/ 4309 w 4331"/>
                <a:gd name="T21" fmla="*/ 1136 h 4696"/>
                <a:gd name="T22" fmla="*/ 2128 w 4331"/>
                <a:gd name="T23" fmla="*/ 3663 h 4696"/>
                <a:gd name="T24" fmla="*/ 1837 w 4331"/>
                <a:gd name="T25" fmla="*/ 3363 h 4696"/>
                <a:gd name="T26" fmla="*/ 2131 w 4331"/>
                <a:gd name="T27" fmla="*/ 3060 h 4696"/>
                <a:gd name="T28" fmla="*/ 2422 w 4331"/>
                <a:gd name="T29" fmla="*/ 3363 h 4696"/>
                <a:gd name="T30" fmla="*/ 2128 w 4331"/>
                <a:gd name="T31" fmla="*/ 3663 h 4696"/>
                <a:gd name="T32" fmla="*/ 2509 w 4331"/>
                <a:gd name="T33" fmla="*/ 2238 h 4696"/>
                <a:gd name="T34" fmla="*/ 2360 w 4331"/>
                <a:gd name="T35" fmla="*/ 2609 h 4696"/>
                <a:gd name="T36" fmla="*/ 2364 w 4331"/>
                <a:gd name="T37" fmla="*/ 2691 h 4696"/>
                <a:gd name="T38" fmla="*/ 2333 w 4331"/>
                <a:gd name="T39" fmla="*/ 2772 h 4696"/>
                <a:gd name="T40" fmla="*/ 2253 w 4331"/>
                <a:gd name="T41" fmla="*/ 2806 h 4696"/>
                <a:gd name="T42" fmla="*/ 2015 w 4331"/>
                <a:gd name="T43" fmla="*/ 2806 h 4696"/>
                <a:gd name="T44" fmla="*/ 1904 w 4331"/>
                <a:gd name="T45" fmla="*/ 2703 h 4696"/>
                <a:gd name="T46" fmla="*/ 1898 w 4331"/>
                <a:gd name="T47" fmla="*/ 2624 h 4696"/>
                <a:gd name="T48" fmla="*/ 2113 w 4331"/>
                <a:gd name="T49" fmla="*/ 2016 h 4696"/>
                <a:gd name="T50" fmla="*/ 2301 w 4331"/>
                <a:gd name="T51" fmla="*/ 1669 h 4696"/>
                <a:gd name="T52" fmla="*/ 2120 w 4331"/>
                <a:gd name="T53" fmla="*/ 1518 h 4696"/>
                <a:gd name="T54" fmla="*/ 1881 w 4331"/>
                <a:gd name="T55" fmla="*/ 1590 h 4696"/>
                <a:gd name="T56" fmla="*/ 1782 w 4331"/>
                <a:gd name="T57" fmla="*/ 1608 h 4696"/>
                <a:gd name="T58" fmla="*/ 1710 w 4331"/>
                <a:gd name="T59" fmla="*/ 1541 h 4696"/>
                <a:gd name="T60" fmla="*/ 1637 w 4331"/>
                <a:gd name="T61" fmla="*/ 1349 h 4696"/>
                <a:gd name="T62" fmla="*/ 1675 w 4331"/>
                <a:gd name="T63" fmla="*/ 1220 h 4696"/>
                <a:gd name="T64" fmla="*/ 2177 w 4331"/>
                <a:gd name="T65" fmla="*/ 1076 h 4696"/>
                <a:gd name="T66" fmla="*/ 2797 w 4331"/>
                <a:gd name="T67" fmla="*/ 1636 h 4696"/>
                <a:gd name="T68" fmla="*/ 2509 w 4331"/>
                <a:gd name="T69" fmla="*/ 2238 h 4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31" h="4696">
                  <a:moveTo>
                    <a:pt x="4309" y="1136"/>
                  </a:moveTo>
                  <a:cubicBezTo>
                    <a:pt x="4289" y="1101"/>
                    <a:pt x="4256" y="1082"/>
                    <a:pt x="4215" y="1082"/>
                  </a:cubicBezTo>
                  <a:cubicBezTo>
                    <a:pt x="4039" y="1082"/>
                    <a:pt x="3634" y="817"/>
                    <a:pt x="3241" y="561"/>
                  </a:cubicBezTo>
                  <a:cubicBezTo>
                    <a:pt x="2799" y="273"/>
                    <a:pt x="2382" y="0"/>
                    <a:pt x="2155" y="0"/>
                  </a:cubicBezTo>
                  <a:cubicBezTo>
                    <a:pt x="1916" y="0"/>
                    <a:pt x="1427" y="311"/>
                    <a:pt x="953" y="613"/>
                  </a:cubicBezTo>
                  <a:cubicBezTo>
                    <a:pt x="592" y="843"/>
                    <a:pt x="217" y="1082"/>
                    <a:pt x="95" y="1082"/>
                  </a:cubicBezTo>
                  <a:cubicBezTo>
                    <a:pt x="60" y="1082"/>
                    <a:pt x="32" y="1099"/>
                    <a:pt x="15" y="1130"/>
                  </a:cubicBezTo>
                  <a:cubicBezTo>
                    <a:pt x="5" y="1150"/>
                    <a:pt x="0" y="1175"/>
                    <a:pt x="0" y="1207"/>
                  </a:cubicBezTo>
                  <a:cubicBezTo>
                    <a:pt x="0" y="1660"/>
                    <a:pt x="1432" y="4696"/>
                    <a:pt x="2155" y="4696"/>
                  </a:cubicBezTo>
                  <a:cubicBezTo>
                    <a:pt x="2838" y="4696"/>
                    <a:pt x="4331" y="1791"/>
                    <a:pt x="4331" y="1236"/>
                  </a:cubicBezTo>
                  <a:cubicBezTo>
                    <a:pt x="4331" y="1194"/>
                    <a:pt x="4324" y="1161"/>
                    <a:pt x="4309" y="1136"/>
                  </a:cubicBezTo>
                  <a:close/>
                  <a:moveTo>
                    <a:pt x="2128" y="3663"/>
                  </a:moveTo>
                  <a:cubicBezTo>
                    <a:pt x="1962" y="3663"/>
                    <a:pt x="1837" y="3534"/>
                    <a:pt x="1837" y="3363"/>
                  </a:cubicBezTo>
                  <a:cubicBezTo>
                    <a:pt x="1837" y="3187"/>
                    <a:pt x="1961" y="3060"/>
                    <a:pt x="2131" y="3060"/>
                  </a:cubicBezTo>
                  <a:cubicBezTo>
                    <a:pt x="2300" y="3060"/>
                    <a:pt x="2422" y="3187"/>
                    <a:pt x="2422" y="3363"/>
                  </a:cubicBezTo>
                  <a:cubicBezTo>
                    <a:pt x="2422" y="3536"/>
                    <a:pt x="2298" y="3663"/>
                    <a:pt x="2128" y="3663"/>
                  </a:cubicBezTo>
                  <a:close/>
                  <a:moveTo>
                    <a:pt x="2509" y="2238"/>
                  </a:moveTo>
                  <a:cubicBezTo>
                    <a:pt x="2396" y="2372"/>
                    <a:pt x="2353" y="2479"/>
                    <a:pt x="2360" y="2609"/>
                  </a:cubicBezTo>
                  <a:lnTo>
                    <a:pt x="2364" y="2691"/>
                  </a:lnTo>
                  <a:cubicBezTo>
                    <a:pt x="2365" y="2721"/>
                    <a:pt x="2354" y="2750"/>
                    <a:pt x="2333" y="2772"/>
                  </a:cubicBezTo>
                  <a:cubicBezTo>
                    <a:pt x="2312" y="2793"/>
                    <a:pt x="2283" y="2806"/>
                    <a:pt x="2253" y="2806"/>
                  </a:cubicBezTo>
                  <a:lnTo>
                    <a:pt x="2015" y="2806"/>
                  </a:lnTo>
                  <a:cubicBezTo>
                    <a:pt x="1958" y="2806"/>
                    <a:pt x="1909" y="2761"/>
                    <a:pt x="1904" y="2703"/>
                  </a:cubicBezTo>
                  <a:lnTo>
                    <a:pt x="1898" y="2624"/>
                  </a:lnTo>
                  <a:cubicBezTo>
                    <a:pt x="1876" y="2422"/>
                    <a:pt x="1950" y="2212"/>
                    <a:pt x="2113" y="2016"/>
                  </a:cubicBezTo>
                  <a:cubicBezTo>
                    <a:pt x="2232" y="1877"/>
                    <a:pt x="2301" y="1775"/>
                    <a:pt x="2301" y="1669"/>
                  </a:cubicBezTo>
                  <a:cubicBezTo>
                    <a:pt x="2301" y="1568"/>
                    <a:pt x="2243" y="1520"/>
                    <a:pt x="2120" y="1518"/>
                  </a:cubicBezTo>
                  <a:cubicBezTo>
                    <a:pt x="2034" y="1518"/>
                    <a:pt x="1937" y="1547"/>
                    <a:pt x="1881" y="1590"/>
                  </a:cubicBezTo>
                  <a:cubicBezTo>
                    <a:pt x="1854" y="1610"/>
                    <a:pt x="1815" y="1618"/>
                    <a:pt x="1782" y="1608"/>
                  </a:cubicBezTo>
                  <a:cubicBezTo>
                    <a:pt x="1750" y="1599"/>
                    <a:pt x="1723" y="1573"/>
                    <a:pt x="1710" y="1541"/>
                  </a:cubicBezTo>
                  <a:lnTo>
                    <a:pt x="1637" y="1349"/>
                  </a:lnTo>
                  <a:cubicBezTo>
                    <a:pt x="1619" y="1302"/>
                    <a:pt x="1635" y="1249"/>
                    <a:pt x="1675" y="1220"/>
                  </a:cubicBezTo>
                  <a:cubicBezTo>
                    <a:pt x="1795" y="1133"/>
                    <a:pt x="1992" y="1076"/>
                    <a:pt x="2177" y="1076"/>
                  </a:cubicBezTo>
                  <a:cubicBezTo>
                    <a:pt x="2605" y="1076"/>
                    <a:pt x="2797" y="1357"/>
                    <a:pt x="2797" y="1636"/>
                  </a:cubicBezTo>
                  <a:cubicBezTo>
                    <a:pt x="2797" y="1876"/>
                    <a:pt x="2672" y="2044"/>
                    <a:pt x="2509" y="2238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</p:sp>
        <p:sp>
          <p:nvSpPr>
            <p:cNvPr id="13" name="文本框 12"/>
            <p:cNvSpPr txBox="1"/>
            <p:nvPr/>
          </p:nvSpPr>
          <p:spPr>
            <a:xfrm>
              <a:off x="7306" y="4687"/>
              <a:ext cx="24080" cy="2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square" rtlCol="0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3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学习者如何在间断性、零碎性的学习中把学习成果进行有效的积累，并使其具备公信力、领域专业性？</a:t>
              </a:r>
              <a:r>
                <a:rPr lang="zh-CN" sz="3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并且如何把积累的学习成果转化为学习者所需的证书、学历？</a:t>
              </a:r>
              <a:endParaRPr lang="zh-CN" sz="3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3734" y="4286"/>
              <a:ext cx="28708" cy="3671"/>
            </a:xfrm>
            <a:prstGeom prst="roundRect">
              <a:avLst/>
            </a:prstGeom>
            <a:noFill/>
            <a:ln w="22225">
              <a:solidFill>
                <a:srgbClr val="FFC000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2371090" y="6924040"/>
            <a:ext cx="18229580" cy="2330450"/>
            <a:chOff x="3734" y="10364"/>
            <a:chExt cx="28708" cy="3670"/>
          </a:xfrm>
        </p:grpSpPr>
        <p:sp>
          <p:nvSpPr>
            <p:cNvPr id="18" name="question-mark-in-a-shield_17200"/>
            <p:cNvSpPr>
              <a:spLocks noChangeAspect="1"/>
            </p:cNvSpPr>
            <p:nvPr/>
          </p:nvSpPr>
          <p:spPr bwMode="auto">
            <a:xfrm>
              <a:off x="4365" y="11109"/>
              <a:ext cx="2015" cy="2181"/>
            </a:xfrm>
            <a:custGeom>
              <a:avLst/>
              <a:gdLst>
                <a:gd name="T0" fmla="*/ 4309 w 4331"/>
                <a:gd name="T1" fmla="*/ 1136 h 4696"/>
                <a:gd name="T2" fmla="*/ 4215 w 4331"/>
                <a:gd name="T3" fmla="*/ 1082 h 4696"/>
                <a:gd name="T4" fmla="*/ 3241 w 4331"/>
                <a:gd name="T5" fmla="*/ 561 h 4696"/>
                <a:gd name="T6" fmla="*/ 2155 w 4331"/>
                <a:gd name="T7" fmla="*/ 0 h 4696"/>
                <a:gd name="T8" fmla="*/ 953 w 4331"/>
                <a:gd name="T9" fmla="*/ 613 h 4696"/>
                <a:gd name="T10" fmla="*/ 95 w 4331"/>
                <a:gd name="T11" fmla="*/ 1082 h 4696"/>
                <a:gd name="T12" fmla="*/ 15 w 4331"/>
                <a:gd name="T13" fmla="*/ 1130 h 4696"/>
                <a:gd name="T14" fmla="*/ 0 w 4331"/>
                <a:gd name="T15" fmla="*/ 1207 h 4696"/>
                <a:gd name="T16" fmla="*/ 2155 w 4331"/>
                <a:gd name="T17" fmla="*/ 4696 h 4696"/>
                <a:gd name="T18" fmla="*/ 4331 w 4331"/>
                <a:gd name="T19" fmla="*/ 1236 h 4696"/>
                <a:gd name="T20" fmla="*/ 4309 w 4331"/>
                <a:gd name="T21" fmla="*/ 1136 h 4696"/>
                <a:gd name="T22" fmla="*/ 2128 w 4331"/>
                <a:gd name="T23" fmla="*/ 3663 h 4696"/>
                <a:gd name="T24" fmla="*/ 1837 w 4331"/>
                <a:gd name="T25" fmla="*/ 3363 h 4696"/>
                <a:gd name="T26" fmla="*/ 2131 w 4331"/>
                <a:gd name="T27" fmla="*/ 3060 h 4696"/>
                <a:gd name="T28" fmla="*/ 2422 w 4331"/>
                <a:gd name="T29" fmla="*/ 3363 h 4696"/>
                <a:gd name="T30" fmla="*/ 2128 w 4331"/>
                <a:gd name="T31" fmla="*/ 3663 h 4696"/>
                <a:gd name="T32" fmla="*/ 2509 w 4331"/>
                <a:gd name="T33" fmla="*/ 2238 h 4696"/>
                <a:gd name="T34" fmla="*/ 2360 w 4331"/>
                <a:gd name="T35" fmla="*/ 2609 h 4696"/>
                <a:gd name="T36" fmla="*/ 2364 w 4331"/>
                <a:gd name="T37" fmla="*/ 2691 h 4696"/>
                <a:gd name="T38" fmla="*/ 2333 w 4331"/>
                <a:gd name="T39" fmla="*/ 2772 h 4696"/>
                <a:gd name="T40" fmla="*/ 2253 w 4331"/>
                <a:gd name="T41" fmla="*/ 2806 h 4696"/>
                <a:gd name="T42" fmla="*/ 2015 w 4331"/>
                <a:gd name="T43" fmla="*/ 2806 h 4696"/>
                <a:gd name="T44" fmla="*/ 1904 w 4331"/>
                <a:gd name="T45" fmla="*/ 2703 h 4696"/>
                <a:gd name="T46" fmla="*/ 1898 w 4331"/>
                <a:gd name="T47" fmla="*/ 2624 h 4696"/>
                <a:gd name="T48" fmla="*/ 2113 w 4331"/>
                <a:gd name="T49" fmla="*/ 2016 h 4696"/>
                <a:gd name="T50" fmla="*/ 2301 w 4331"/>
                <a:gd name="T51" fmla="*/ 1669 h 4696"/>
                <a:gd name="T52" fmla="*/ 2120 w 4331"/>
                <a:gd name="T53" fmla="*/ 1518 h 4696"/>
                <a:gd name="T54" fmla="*/ 1881 w 4331"/>
                <a:gd name="T55" fmla="*/ 1590 h 4696"/>
                <a:gd name="T56" fmla="*/ 1782 w 4331"/>
                <a:gd name="T57" fmla="*/ 1608 h 4696"/>
                <a:gd name="T58" fmla="*/ 1710 w 4331"/>
                <a:gd name="T59" fmla="*/ 1541 h 4696"/>
                <a:gd name="T60" fmla="*/ 1637 w 4331"/>
                <a:gd name="T61" fmla="*/ 1349 h 4696"/>
                <a:gd name="T62" fmla="*/ 1675 w 4331"/>
                <a:gd name="T63" fmla="*/ 1220 h 4696"/>
                <a:gd name="T64" fmla="*/ 2177 w 4331"/>
                <a:gd name="T65" fmla="*/ 1076 h 4696"/>
                <a:gd name="T66" fmla="*/ 2797 w 4331"/>
                <a:gd name="T67" fmla="*/ 1636 h 4696"/>
                <a:gd name="T68" fmla="*/ 2509 w 4331"/>
                <a:gd name="T69" fmla="*/ 2238 h 4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31" h="4696">
                  <a:moveTo>
                    <a:pt x="4309" y="1136"/>
                  </a:moveTo>
                  <a:cubicBezTo>
                    <a:pt x="4289" y="1101"/>
                    <a:pt x="4256" y="1082"/>
                    <a:pt x="4215" y="1082"/>
                  </a:cubicBezTo>
                  <a:cubicBezTo>
                    <a:pt x="4039" y="1082"/>
                    <a:pt x="3634" y="817"/>
                    <a:pt x="3241" y="561"/>
                  </a:cubicBezTo>
                  <a:cubicBezTo>
                    <a:pt x="2799" y="273"/>
                    <a:pt x="2382" y="0"/>
                    <a:pt x="2155" y="0"/>
                  </a:cubicBezTo>
                  <a:cubicBezTo>
                    <a:pt x="1916" y="0"/>
                    <a:pt x="1427" y="311"/>
                    <a:pt x="953" y="613"/>
                  </a:cubicBezTo>
                  <a:cubicBezTo>
                    <a:pt x="592" y="843"/>
                    <a:pt x="217" y="1082"/>
                    <a:pt x="95" y="1082"/>
                  </a:cubicBezTo>
                  <a:cubicBezTo>
                    <a:pt x="60" y="1082"/>
                    <a:pt x="32" y="1099"/>
                    <a:pt x="15" y="1130"/>
                  </a:cubicBezTo>
                  <a:cubicBezTo>
                    <a:pt x="5" y="1150"/>
                    <a:pt x="0" y="1175"/>
                    <a:pt x="0" y="1207"/>
                  </a:cubicBezTo>
                  <a:cubicBezTo>
                    <a:pt x="0" y="1660"/>
                    <a:pt x="1432" y="4696"/>
                    <a:pt x="2155" y="4696"/>
                  </a:cubicBezTo>
                  <a:cubicBezTo>
                    <a:pt x="2838" y="4696"/>
                    <a:pt x="4331" y="1791"/>
                    <a:pt x="4331" y="1236"/>
                  </a:cubicBezTo>
                  <a:cubicBezTo>
                    <a:pt x="4331" y="1194"/>
                    <a:pt x="4324" y="1161"/>
                    <a:pt x="4309" y="1136"/>
                  </a:cubicBezTo>
                  <a:close/>
                  <a:moveTo>
                    <a:pt x="2128" y="3663"/>
                  </a:moveTo>
                  <a:cubicBezTo>
                    <a:pt x="1962" y="3663"/>
                    <a:pt x="1837" y="3534"/>
                    <a:pt x="1837" y="3363"/>
                  </a:cubicBezTo>
                  <a:cubicBezTo>
                    <a:pt x="1837" y="3187"/>
                    <a:pt x="1961" y="3060"/>
                    <a:pt x="2131" y="3060"/>
                  </a:cubicBezTo>
                  <a:cubicBezTo>
                    <a:pt x="2300" y="3060"/>
                    <a:pt x="2422" y="3187"/>
                    <a:pt x="2422" y="3363"/>
                  </a:cubicBezTo>
                  <a:cubicBezTo>
                    <a:pt x="2422" y="3536"/>
                    <a:pt x="2298" y="3663"/>
                    <a:pt x="2128" y="3663"/>
                  </a:cubicBezTo>
                  <a:close/>
                  <a:moveTo>
                    <a:pt x="2509" y="2238"/>
                  </a:moveTo>
                  <a:cubicBezTo>
                    <a:pt x="2396" y="2372"/>
                    <a:pt x="2353" y="2479"/>
                    <a:pt x="2360" y="2609"/>
                  </a:cubicBezTo>
                  <a:lnTo>
                    <a:pt x="2364" y="2691"/>
                  </a:lnTo>
                  <a:cubicBezTo>
                    <a:pt x="2365" y="2721"/>
                    <a:pt x="2354" y="2750"/>
                    <a:pt x="2333" y="2772"/>
                  </a:cubicBezTo>
                  <a:cubicBezTo>
                    <a:pt x="2312" y="2793"/>
                    <a:pt x="2283" y="2806"/>
                    <a:pt x="2253" y="2806"/>
                  </a:cubicBezTo>
                  <a:lnTo>
                    <a:pt x="2015" y="2806"/>
                  </a:lnTo>
                  <a:cubicBezTo>
                    <a:pt x="1958" y="2806"/>
                    <a:pt x="1909" y="2761"/>
                    <a:pt x="1904" y="2703"/>
                  </a:cubicBezTo>
                  <a:lnTo>
                    <a:pt x="1898" y="2624"/>
                  </a:lnTo>
                  <a:cubicBezTo>
                    <a:pt x="1876" y="2422"/>
                    <a:pt x="1950" y="2212"/>
                    <a:pt x="2113" y="2016"/>
                  </a:cubicBezTo>
                  <a:cubicBezTo>
                    <a:pt x="2232" y="1877"/>
                    <a:pt x="2301" y="1775"/>
                    <a:pt x="2301" y="1669"/>
                  </a:cubicBezTo>
                  <a:cubicBezTo>
                    <a:pt x="2301" y="1568"/>
                    <a:pt x="2243" y="1520"/>
                    <a:pt x="2120" y="1518"/>
                  </a:cubicBezTo>
                  <a:cubicBezTo>
                    <a:pt x="2034" y="1518"/>
                    <a:pt x="1937" y="1547"/>
                    <a:pt x="1881" y="1590"/>
                  </a:cubicBezTo>
                  <a:cubicBezTo>
                    <a:pt x="1854" y="1610"/>
                    <a:pt x="1815" y="1618"/>
                    <a:pt x="1782" y="1608"/>
                  </a:cubicBezTo>
                  <a:cubicBezTo>
                    <a:pt x="1750" y="1599"/>
                    <a:pt x="1723" y="1573"/>
                    <a:pt x="1710" y="1541"/>
                  </a:cubicBezTo>
                  <a:lnTo>
                    <a:pt x="1637" y="1349"/>
                  </a:lnTo>
                  <a:cubicBezTo>
                    <a:pt x="1619" y="1302"/>
                    <a:pt x="1635" y="1249"/>
                    <a:pt x="1675" y="1220"/>
                  </a:cubicBezTo>
                  <a:cubicBezTo>
                    <a:pt x="1795" y="1133"/>
                    <a:pt x="1992" y="1076"/>
                    <a:pt x="2177" y="1076"/>
                  </a:cubicBezTo>
                  <a:cubicBezTo>
                    <a:pt x="2605" y="1076"/>
                    <a:pt x="2797" y="1357"/>
                    <a:pt x="2797" y="1636"/>
                  </a:cubicBezTo>
                  <a:cubicBezTo>
                    <a:pt x="2797" y="1876"/>
                    <a:pt x="2672" y="2044"/>
                    <a:pt x="2509" y="2238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</p:sp>
        <p:sp>
          <p:nvSpPr>
            <p:cNvPr id="19" name="文本框 18"/>
            <p:cNvSpPr txBox="1"/>
            <p:nvPr/>
          </p:nvSpPr>
          <p:spPr>
            <a:xfrm>
              <a:off x="7306" y="10819"/>
              <a:ext cx="24080" cy="2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square" rtlCol="0">
              <a:spAutoFit/>
            </a:bodyPr>
            <a:p>
              <a:pPr indent="0">
                <a:buFont typeface="Arial" panose="020B0604020202020204" pitchFamily="34" charset="0"/>
                <a:buNone/>
              </a:pPr>
              <a:r>
                <a:rPr lang="zh-CN" sz="3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针对学习优等生、后进生是否存在一种灵活的学习方式，在不同的家庭背景、经济背景等因素下，学习者不再被学习的时间、地点限制，均可获得平等的学习机会？</a:t>
              </a:r>
              <a:endParaRPr lang="zh-CN" sz="3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23" name="圆角矩形 22"/>
            <p:cNvSpPr/>
            <p:nvPr/>
          </p:nvSpPr>
          <p:spPr>
            <a:xfrm>
              <a:off x="3734" y="10364"/>
              <a:ext cx="28708" cy="3671"/>
            </a:xfrm>
            <a:prstGeom prst="roundRect">
              <a:avLst/>
            </a:prstGeom>
            <a:noFill/>
            <a:ln w="22225">
              <a:solidFill>
                <a:srgbClr val="FFC000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基本概念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3550920" y="2620010"/>
            <a:ext cx="15290800" cy="74777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571500" indent="-571500">
              <a:buFont typeface="Arial" panose="020B0604020202020204" pitchFamily="34" charset="0"/>
              <a:buChar char="•"/>
            </a:pPr>
            <a:endParaRPr lang="en-US" altLang="zh-CN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“学分银行”是建立在终身教育、终身学习的理念之上的，它为我国构建终身教育体系和教育立交桥提供了</a:t>
            </a:r>
            <a:r>
              <a:rPr lang="en-US" altLang="zh-CN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制度保证</a:t>
            </a: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和</a:t>
            </a:r>
            <a:r>
              <a:rPr lang="en-US" altLang="zh-CN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技术支持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。</a:t>
            </a: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endParaRPr lang="en-US" altLang="zh-CN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“学分银行”（school credit bank）是一种借鉴银行的功能特点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使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学习者</a:t>
            </a: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能够自由选择学习内容、学习时间、学习地点的一种</a:t>
            </a:r>
            <a:r>
              <a:rPr lang="en-US" altLang="zh-CN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管理模式</a:t>
            </a: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。</a:t>
            </a:r>
            <a:endParaRPr lang="en-US" altLang="zh-CN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它用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学分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代替了货币，通过学分的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储存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、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转换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和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兑换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过程，让学习者在学习生涯中的任何形式、任何种类的学习成果均可获得具有公信力的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认证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、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转换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。</a:t>
            </a: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endParaRPr lang="zh-CN" altLang="en-US" sz="400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1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753"/>
            <a:ext cx="10042525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政策背景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政策背景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44595" y="1053465"/>
            <a:ext cx="15001709" cy="1181880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平行四边形 9"/>
          <p:cNvSpPr/>
          <p:nvPr/>
        </p:nvSpPr>
        <p:spPr>
          <a:xfrm>
            <a:off x="7791450" y="11271646"/>
            <a:ext cx="3301293" cy="2407842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1437866" y="2830195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589752" y="405130"/>
            <a:ext cx="3596640" cy="2425065"/>
          </a:xfrm>
          <a:prstGeom prst="parallelogram">
            <a:avLst>
              <a:gd name="adj" fmla="val 30813"/>
            </a:avLst>
          </a:prstGeom>
          <a:solidFill>
            <a:srgbClr val="0069B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 txBox="1"/>
          <p:nvPr>
            <p:custDataLst>
              <p:tags r:id="rId1"/>
            </p:custDataLst>
          </p:nvPr>
        </p:nvSpPr>
        <p:spPr>
          <a:xfrm>
            <a:off x="4892675" y="4967604"/>
            <a:ext cx="2414587" cy="2038985"/>
          </a:xfrm>
          <a:prstGeom prst="rect">
            <a:avLst/>
          </a:prstGeom>
        </p:spPr>
        <p:txBody>
          <a:bodyPr lIns="90000" tIns="46800" rIns="90000" bIns="46800" anchor="b" anchorCtr="0">
            <a:noAutofit/>
          </a:bodyPr>
          <a:lstStyle>
            <a:lvl1pPr algn="l" defTabSz="1809115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13000" b="1" i="0" u="none" strike="noStrike" kern="1200" cap="none" spc="300" normalizeH="0" baseline="0"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/>
              <a:t>02</a:t>
            </a:r>
            <a:endParaRPr lang="zh-CN" altLang="en-US" dirty="0"/>
          </a:p>
        </p:txBody>
      </p:sp>
      <p:sp>
        <p:nvSpPr>
          <p:cNvPr id="14" name="文本占位符 8"/>
          <p:cNvSpPr txBox="1"/>
          <p:nvPr/>
        </p:nvSpPr>
        <p:spPr>
          <a:xfrm>
            <a:off x="10645775" y="4962525"/>
            <a:ext cx="11640820" cy="2038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None/>
              <a:defRPr sz="12000" b="1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建设</a:t>
            </a:r>
            <a:r>
              <a:rPr lang="zh-CN" altLang="en-US" dirty="0"/>
              <a:t>现状</a:t>
            </a:r>
            <a:endParaRPr lang="zh-CN" altLang="en-US" dirty="0"/>
          </a:p>
        </p:txBody>
      </p:sp>
      <p:sp>
        <p:nvSpPr>
          <p:cNvPr id="15" name="文本占位符 11"/>
          <p:cNvSpPr txBox="1"/>
          <p:nvPr/>
        </p:nvSpPr>
        <p:spPr>
          <a:xfrm>
            <a:off x="10646568" y="759352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16" name="文本占位符 11"/>
          <p:cNvSpPr txBox="1"/>
          <p:nvPr/>
        </p:nvSpPr>
        <p:spPr>
          <a:xfrm>
            <a:off x="10646568" y="861007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0" name="平行四边形 19"/>
          <p:cNvSpPr/>
          <p:nvPr/>
        </p:nvSpPr>
        <p:spPr>
          <a:xfrm>
            <a:off x="7791450" y="12419153"/>
            <a:ext cx="16594931" cy="54119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1" name="文本占位符 11"/>
          <p:cNvSpPr txBox="1"/>
          <p:nvPr/>
        </p:nvSpPr>
        <p:spPr>
          <a:xfrm>
            <a:off x="16494918" y="7612578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2" name="文本占位符 11"/>
          <p:cNvSpPr txBox="1"/>
          <p:nvPr/>
        </p:nvSpPr>
        <p:spPr>
          <a:xfrm>
            <a:off x="16494918" y="8629124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4" name="文本占位符 11"/>
          <p:cNvSpPr txBox="1"/>
          <p:nvPr/>
        </p:nvSpPr>
        <p:spPr>
          <a:xfrm>
            <a:off x="16494125" y="9645671"/>
            <a:ext cx="6786563" cy="677862"/>
          </a:xfrm>
          <a:prstGeom prst="rect">
            <a:avLst/>
          </a:prstGeom>
        </p:spPr>
        <p:txBody>
          <a:bodyPr>
            <a:normAutofit/>
          </a:bodyPr>
          <a:lstStyle>
            <a:lvl1pPr marL="452120" indent="-452120" algn="l" defTabSz="1809115" rtl="0" eaLnBrk="1" fontAlgn="auto" latinLnBrk="0" hangingPunct="1">
              <a:lnSpc>
                <a:spcPct val="130000"/>
              </a:lnSpc>
              <a:spcBef>
                <a:spcPct val="1000"/>
              </a:spcBef>
              <a:spcAft>
                <a:spcPts val="1000"/>
              </a:spcAft>
              <a:buFont typeface="Wingdings" panose="05000000000000000000" charset="0"/>
              <a:buChar char="u"/>
              <a:defRPr sz="3000" u="none" strike="noStrike" kern="1200" cap="none" spc="150" normalizeH="0" baseline="0">
                <a:solidFill>
                  <a:schemeClr val="tx2">
                    <a:alpha val="70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135699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tabLst>
                <a:tab pos="3184525" algn="l"/>
                <a:tab pos="3184525" algn="l"/>
                <a:tab pos="3184525" algn="l"/>
                <a:tab pos="3184525" algn="l"/>
              </a:tabLst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226123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600"/>
              </a:spcAft>
              <a:buFont typeface="Wingdings" panose="05000000000000000000" charset="0"/>
              <a:buChar char="u"/>
              <a:defRPr sz="3165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3165475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4070350" indent="-452120" algn="l" defTabSz="1809115" rtl="0" eaLnBrk="1" fontAlgn="auto" latinLnBrk="0" hangingPunct="1">
              <a:lnSpc>
                <a:spcPct val="120000"/>
              </a:lnSpc>
              <a:spcBef>
                <a:spcPct val="1000"/>
              </a:spcBef>
              <a:spcAft>
                <a:spcPts val="300"/>
              </a:spcAft>
              <a:buFont typeface="Wingdings" panose="05000000000000000000" charset="0"/>
              <a:buChar char="u"/>
              <a:defRPr sz="2770" u="none" strike="noStrike" kern="1200" cap="none" spc="15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4974590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7946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8370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687945" indent="-452120" algn="l" defTabSz="1809115" rtl="0" eaLnBrk="1" latinLnBrk="0" hangingPunct="1">
              <a:lnSpc>
                <a:spcPct val="90000"/>
              </a:lnSpc>
              <a:spcBef>
                <a:spcPts val="990"/>
              </a:spcBef>
              <a:buFont typeface="Arial" panose="020B0604020202020204" pitchFamily="34" charset="0"/>
              <a:buChar char="•"/>
              <a:defRPr sz="3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5" name="平行四边形 24"/>
          <p:cNvSpPr/>
          <p:nvPr/>
        </p:nvSpPr>
        <p:spPr>
          <a:xfrm>
            <a:off x="20688300" y="1531931"/>
            <a:ext cx="1598562" cy="1016547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14505202" y="646942"/>
            <a:ext cx="10398442" cy="47712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7" name="平行四边形 26"/>
          <p:cNvSpPr/>
          <p:nvPr/>
        </p:nvSpPr>
        <p:spPr>
          <a:xfrm>
            <a:off x="7726102" y="9564337"/>
            <a:ext cx="1715994" cy="1204671"/>
          </a:xfrm>
          <a:prstGeom prst="parallelogram">
            <a:avLst>
              <a:gd name="adj" fmla="val 30813"/>
            </a:avLst>
          </a:prstGeom>
          <a:solidFill>
            <a:srgbClr val="00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28" name="平行四边形 27"/>
          <p:cNvSpPr/>
          <p:nvPr/>
        </p:nvSpPr>
        <p:spPr>
          <a:xfrm>
            <a:off x="8167279" y="-2366408"/>
            <a:ext cx="9265059" cy="6504305"/>
          </a:xfrm>
          <a:prstGeom prst="parallelogram">
            <a:avLst>
              <a:gd name="adj" fmla="val 30813"/>
            </a:avLst>
          </a:prstGeom>
          <a:solidFill>
            <a:srgbClr val="0069BF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811905" y="4431030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</a:rPr>
              <a:t>建设现状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6848475" y="2107565"/>
            <a:ext cx="9371330" cy="126428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国家学习成果认证中心（总部）</a:t>
            </a:r>
            <a:endParaRPr lang="zh-CN" altLang="en-US" sz="3600"/>
          </a:p>
        </p:txBody>
      </p:sp>
      <p:sp>
        <p:nvSpPr>
          <p:cNvPr id="3" name="圆角矩形 2"/>
          <p:cNvSpPr/>
          <p:nvPr/>
        </p:nvSpPr>
        <p:spPr>
          <a:xfrm>
            <a:off x="2896235" y="5139690"/>
            <a:ext cx="6461760" cy="126428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各省市分行（分中心</a:t>
            </a:r>
            <a:r>
              <a:rPr lang="zh-CN" altLang="en-US" sz="3600"/>
              <a:t>）</a:t>
            </a:r>
            <a:endParaRPr lang="zh-CN" altLang="en-US" sz="3600"/>
          </a:p>
        </p:txBody>
      </p:sp>
      <p:sp>
        <p:nvSpPr>
          <p:cNvPr id="7" name="圆角矩形 6"/>
          <p:cNvSpPr/>
          <p:nvPr/>
        </p:nvSpPr>
        <p:spPr>
          <a:xfrm>
            <a:off x="13818235" y="5139690"/>
            <a:ext cx="6461760" cy="126428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各行业分行（分中心</a:t>
            </a:r>
            <a:r>
              <a:rPr lang="zh-CN" altLang="en-US" sz="3600"/>
              <a:t>）</a:t>
            </a:r>
            <a:endParaRPr lang="zh-CN" altLang="en-US" sz="3600"/>
          </a:p>
        </p:txBody>
      </p:sp>
      <p:sp>
        <p:nvSpPr>
          <p:cNvPr id="8" name="圆角矩形 7"/>
          <p:cNvSpPr/>
          <p:nvPr/>
        </p:nvSpPr>
        <p:spPr>
          <a:xfrm>
            <a:off x="2501900" y="8357235"/>
            <a:ext cx="3212465" cy="228727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高校分支机构（认证点</a:t>
            </a:r>
            <a:r>
              <a:rPr lang="zh-CN" altLang="en-US" sz="3600"/>
              <a:t>）</a:t>
            </a:r>
            <a:endParaRPr lang="zh-CN" altLang="en-US" sz="3600"/>
          </a:p>
        </p:txBody>
      </p:sp>
      <p:sp>
        <p:nvSpPr>
          <p:cNvPr id="10" name="圆角矩形 9"/>
          <p:cNvSpPr/>
          <p:nvPr/>
        </p:nvSpPr>
        <p:spPr>
          <a:xfrm>
            <a:off x="6645275" y="8357235"/>
            <a:ext cx="3171190" cy="228727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区域分支机构（认证点</a:t>
            </a:r>
            <a:r>
              <a:rPr lang="zh-CN" altLang="en-US" sz="3600"/>
              <a:t>）</a:t>
            </a:r>
            <a:endParaRPr lang="zh-CN" altLang="en-US" sz="3600"/>
          </a:p>
        </p:txBody>
      </p:sp>
      <p:sp>
        <p:nvSpPr>
          <p:cNvPr id="11" name="圆角矩形 10"/>
          <p:cNvSpPr/>
          <p:nvPr/>
        </p:nvSpPr>
        <p:spPr>
          <a:xfrm>
            <a:off x="15463520" y="8357235"/>
            <a:ext cx="3171190" cy="228727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3600"/>
              <a:t>企业</a:t>
            </a:r>
            <a:r>
              <a:rPr lang="zh-CN" altLang="en-US" sz="3600"/>
              <a:t>分支机构（认证点</a:t>
            </a:r>
            <a:r>
              <a:rPr lang="zh-CN" altLang="en-US" sz="3600"/>
              <a:t>）</a:t>
            </a:r>
            <a:endParaRPr lang="zh-CN" altLang="en-US" sz="3600"/>
          </a:p>
        </p:txBody>
      </p:sp>
      <p:cxnSp>
        <p:nvCxnSpPr>
          <p:cNvPr id="14" name="肘形连接符 13"/>
          <p:cNvCxnSpPr>
            <a:stCxn id="2" idx="2"/>
            <a:endCxn id="3" idx="0"/>
          </p:cNvCxnSpPr>
          <p:nvPr/>
        </p:nvCxnSpPr>
        <p:spPr>
          <a:xfrm rot="5400000">
            <a:off x="7946390" y="1551940"/>
            <a:ext cx="1767840" cy="5407025"/>
          </a:xfrm>
          <a:prstGeom prst="bentConnector3">
            <a:avLst>
              <a:gd name="adj1" fmla="val 4998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肘形连接符 14"/>
          <p:cNvCxnSpPr>
            <a:stCxn id="2" idx="2"/>
            <a:endCxn id="7" idx="0"/>
          </p:cNvCxnSpPr>
          <p:nvPr/>
        </p:nvCxnSpPr>
        <p:spPr>
          <a:xfrm rot="5400000" flipV="1">
            <a:off x="13407708" y="1498283"/>
            <a:ext cx="1767840" cy="5514975"/>
          </a:xfrm>
          <a:prstGeom prst="bentConnector3">
            <a:avLst>
              <a:gd name="adj1" fmla="val 4998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/>
          <p:cNvCxnSpPr>
            <a:stCxn id="3" idx="2"/>
            <a:endCxn id="8" idx="0"/>
          </p:cNvCxnSpPr>
          <p:nvPr/>
        </p:nvCxnSpPr>
        <p:spPr>
          <a:xfrm rot="5400000">
            <a:off x="4140835" y="6370955"/>
            <a:ext cx="1953260" cy="2018665"/>
          </a:xfrm>
          <a:prstGeom prst="bentConnector3">
            <a:avLst>
              <a:gd name="adj1" fmla="val 49984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肘形连接符 17"/>
          <p:cNvCxnSpPr>
            <a:stCxn id="3" idx="2"/>
            <a:endCxn id="10" idx="0"/>
          </p:cNvCxnSpPr>
          <p:nvPr/>
        </p:nvCxnSpPr>
        <p:spPr>
          <a:xfrm rot="5400000" flipV="1">
            <a:off x="6202045" y="6328410"/>
            <a:ext cx="1953260" cy="2103755"/>
          </a:xfrm>
          <a:prstGeom prst="bentConnector3">
            <a:avLst>
              <a:gd name="adj1" fmla="val 49984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7" idx="2"/>
            <a:endCxn id="11" idx="0"/>
          </p:cNvCxnSpPr>
          <p:nvPr/>
        </p:nvCxnSpPr>
        <p:spPr>
          <a:xfrm>
            <a:off x="17049115" y="6403975"/>
            <a:ext cx="0" cy="19532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 flipH="1">
            <a:off x="481330" y="509905"/>
            <a:ext cx="20320" cy="1324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661035" y="788035"/>
            <a:ext cx="264223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400">
                <a:latin typeface="仿宋" panose="02010609060101010101" charset="-122"/>
                <a:ea typeface="仿宋" panose="02010609060101010101" charset="-122"/>
                <a:sym typeface="+mn-ea"/>
              </a:rPr>
              <a:t>建设现状</a:t>
            </a:r>
            <a:endParaRPr lang="zh-CN" altLang="en-US" sz="440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3710305" y="2707640"/>
            <a:ext cx="15290800" cy="62471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buFont typeface="Arial" panose="020B0604020202020204" pitchFamily="34" charset="0"/>
              <a:buNone/>
            </a:pPr>
            <a:r>
              <a:rPr lang="en-US" altLang="zh-CN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    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近两年，各地学分银行相继成立，据不完全统计，河南、浙江、安徽、湖南、四川、河北、甘肃、福建等省以及青岛、深圳等市也成立了省或市一级的学分银行，基本都是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省（市）教育厅领导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、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地方电大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承建这种模式。新成立的学分银行都立足于电大自己的资源开展探索，并开始建设自己的信息管理平台。</a:t>
            </a: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   目前学习成果互认联盟已有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30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家机构加入，共带入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250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个学习成果，开发认证单元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1，000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余个，形成转换规则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30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多条，建立遍布全国的认证服务体系，以及省（市）、行业的认证分中心（认证点）共</a:t>
            </a:r>
            <a:r>
              <a:rPr lang="zh-CN" altLang="en-US" sz="40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70</a:t>
            </a:r>
            <a:r>
              <a:rPr lang="zh-CN" altLang="en-US" sz="40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个。</a:t>
            </a:r>
            <a:endParaRPr lang="zh-CN" altLang="en-US" sz="400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0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101.xml><?xml version="1.0" encoding="utf-8"?>
<p:tagLst xmlns:p="http://schemas.openxmlformats.org/presentationml/2006/main">
  <p:tag name="KSO_WM_TEMPLATE_THUMBS_INDEX" val="1、4、7、12、13、14、15、16、17、18、20、24、25、28、33、36、40、43、44"/>
  <p:tag name="KSO_WM_TEMPLATE_SUBCATEGORY" val="19"/>
  <p:tag name="KSO_WM_TAG_VERSION" val="1.0"/>
  <p:tag name="KSO_WM_BEAUTIFY_FLAG" val="#wm#"/>
  <p:tag name="KSO_WM_TEMPLATE_CATEGORY" val="custom"/>
  <p:tag name="KSO_WM_TEMPLATE_INDEX" val="20205081"/>
  <p:tag name="KSO_WM_TEMPLATE_MASTER_TYPE" val="0"/>
  <p:tag name="KSO_WM_TEMPLATE_COLOR_TYPE" val="1"/>
  <p:tag name="KSO_WM_UNIT_SHOW_EDIT_AREA_INDICATION" val="1"/>
</p:tagLst>
</file>

<file path=ppt/tags/tag102.xml><?xml version="1.0" encoding="utf-8"?>
<p:tagLst xmlns:p="http://schemas.openxmlformats.org/presentationml/2006/main">
  <p:tag name="THINKCELLSHAPEDONOTDELETE" val="thinkcellActiveDocDoNotDelete"/>
</p:tagLst>
</file>

<file path=ppt/tags/tag103.xml><?xml version="1.0" encoding="utf-8"?>
<p:tagLst xmlns:p="http://schemas.openxmlformats.org/presentationml/2006/main">
  <p:tag name="THINKCELLSHAPEDONOTDELETE" val="tA6S0wzOvQ8a50SA42PUNRg"/>
</p:tagLst>
</file>

<file path=ppt/tags/tag104.xml><?xml version="1.0" encoding="utf-8"?>
<p:tagLst xmlns:p="http://schemas.openxmlformats.org/presentationml/2006/main">
  <p:tag name="ISLIDE.THEME" val="https://www.islide.cc;"/>
  <p:tag name="ISLIDE.ICON" val="#57906;#57906;"/>
</p:tagLst>
</file>

<file path=ppt/tags/tag105.xml><?xml version="1.0" encoding="utf-8"?>
<p:tagLst xmlns:p="http://schemas.openxmlformats.org/presentationml/2006/main">
  <p:tag name="THINKCELLSHAPEDONOTDELETE" val="thinkcellActiveDocDoNotDelete"/>
</p:tagLst>
</file>

<file path=ppt/tags/tag106.xml><?xml version="1.0" encoding="utf-8"?>
<p:tagLst xmlns:p="http://schemas.openxmlformats.org/presentationml/2006/main">
  <p:tag name="THINKCELLSHAPEDONOTDELETE" val="tA6S0wzOvQ8a50SA42PUNRg"/>
</p:tagLst>
</file>

<file path=ppt/tags/tag107.xml><?xml version="1.0" encoding="utf-8"?>
<p:tagLst xmlns:p="http://schemas.openxmlformats.org/presentationml/2006/main">
  <p:tag name="ISLIDE.THEME" val="https://www.islide.cc;"/>
</p:tagLst>
</file>

<file path=ppt/tags/tag108.xml><?xml version="1.0" encoding="utf-8"?>
<p:tagLst xmlns:p="http://schemas.openxmlformats.org/presentationml/2006/main">
  <p:tag name="ISLIDE.DIAGRAM" val="#3394;"/>
</p:tagLst>
</file>

<file path=ppt/tags/tag109.xml><?xml version="1.0" encoding="utf-8"?>
<p:tagLst xmlns:p="http://schemas.openxmlformats.org/presentationml/2006/main">
  <p:tag name="ISLIDE.DIAGRAM" val="#3394;"/>
  <p:tag name="ISLIDE.ICON" val="#57906;#109576;#109576;#109576;#109576;#109576;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11.xml><?xml version="1.0" encoding="utf-8"?>
<p:tagLst xmlns:p="http://schemas.openxmlformats.org/presentationml/2006/main">
  <p:tag name="ISLIDE.DIAGRAM" val="#3394;"/>
</p:tagLst>
</file>

<file path=ppt/tags/tag112.xml><?xml version="1.0" encoding="utf-8"?>
<p:tagLst xmlns:p="http://schemas.openxmlformats.org/presentationml/2006/main">
  <p:tag name="ISLIDE.DIAGRAM" val="#3394;"/>
</p:tagLst>
</file>

<file path=ppt/tags/tag1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14.xml><?xml version="1.0" encoding="utf-8"?>
<p:tagLst xmlns:p="http://schemas.openxmlformats.org/presentationml/2006/main">
  <p:tag name="ISLIDE.DIAGRAM" val="#3394;"/>
</p:tagLst>
</file>

<file path=ppt/tags/tag115.xml><?xml version="1.0" encoding="utf-8"?>
<p:tagLst xmlns:p="http://schemas.openxmlformats.org/presentationml/2006/main">
  <p:tag name="ISLIDE.DIAGRAM" val="#3394;"/>
</p:tagLst>
</file>

<file path=ppt/tags/tag116.xml><?xml version="1.0" encoding="utf-8"?>
<p:tagLst xmlns:p="http://schemas.openxmlformats.org/presentationml/2006/main">
  <p:tag name="ISLIDE.DIAGRAM" val="#3394;"/>
</p:tagLst>
</file>

<file path=ppt/tags/tag117.xml><?xml version="1.0" encoding="utf-8"?>
<p:tagLst xmlns:p="http://schemas.openxmlformats.org/presentationml/2006/main">
  <p:tag name="ISLIDE.DIAGRAM" val="#3394;"/>
</p:tagLst>
</file>

<file path=ppt/tags/tag1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19.xml><?xml version="1.0" encoding="utf-8"?>
<p:tagLst xmlns:p="http://schemas.openxmlformats.org/presentationml/2006/main">
  <p:tag name="ISLIDE.DIAGRAM" val="#3394;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20.xml><?xml version="1.0" encoding="utf-8"?>
<p:tagLst xmlns:p="http://schemas.openxmlformats.org/presentationml/2006/main">
  <p:tag name="ISLIDE.DIAGRAM" val="#3394;"/>
  <p:tag name="ISLIDE.ICON" val="#57906;#109576;#109576;#109576;#109576;#109576;#134971;#134971;#166286;#35821;#134971;#134971;#398642;#67326;#402784;#79379;"/>
</p:tagLst>
</file>

<file path=ppt/tags/tag121.xml><?xml version="1.0" encoding="utf-8"?>
<p:tagLst xmlns:p="http://schemas.openxmlformats.org/presentationml/2006/main">
  <p:tag name="ISLIDE.DIAGRAM" val="#3394;"/>
</p:tagLst>
</file>

<file path=ppt/tags/tag122.xml><?xml version="1.0" encoding="utf-8"?>
<p:tagLst xmlns:p="http://schemas.openxmlformats.org/presentationml/2006/main">
  <p:tag name="ISLIDE.DIAGRAM" val="#3394;"/>
  <p:tag name="ISLIDE.ICON" val="#57906;#109576;#109576;#109576;#109576;#109576;#134971;#134971;#166286;#35821;#134971;#134971;#398642;#67326;#149031;#166862;#166862;#148224;#55954;#179489;#371240;#78344;"/>
</p:tagLst>
</file>

<file path=ppt/tags/tag1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24.xml><?xml version="1.0" encoding="utf-8"?>
<p:tagLst xmlns:p="http://schemas.openxmlformats.org/presentationml/2006/main">
  <p:tag name="ISLIDE.DIAGRAM" val="#3394;"/>
</p:tagLst>
</file>

<file path=ppt/tags/tag125.xml><?xml version="1.0" encoding="utf-8"?>
<p:tagLst xmlns:p="http://schemas.openxmlformats.org/presentationml/2006/main">
  <p:tag name="ISLIDE.DIAGRAM" val="#3394;"/>
</p:tagLst>
</file>

<file path=ppt/tags/tag126.xml><?xml version="1.0" encoding="utf-8"?>
<p:tagLst xmlns:p="http://schemas.openxmlformats.org/presentationml/2006/main">
  <p:tag name="ISLIDE.DIAGRAM" val="#3394;"/>
  <p:tag name="ISLIDE.ICON" val="#407148;"/>
</p:tagLst>
</file>

<file path=ppt/tags/tag127.xml><?xml version="1.0" encoding="utf-8"?>
<p:tagLst xmlns:p="http://schemas.openxmlformats.org/presentationml/2006/main">
  <p:tag name="ISLIDE.DIAGRAM" val="#3394;"/>
</p:tagLst>
</file>

<file path=ppt/tags/tag1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29.xml><?xml version="1.0" encoding="utf-8"?>
<p:tagLst xmlns:p="http://schemas.openxmlformats.org/presentationml/2006/main">
  <p:tag name="ISLIDE.DIAGRAM" val="#3394;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30.xml><?xml version="1.0" encoding="utf-8"?>
<p:tagLst xmlns:p="http://schemas.openxmlformats.org/presentationml/2006/main">
  <p:tag name="ISLIDE.DIAGRAM" val="#3394;"/>
  <p:tag name="ISLIDE.ICON" val="#181336;"/>
</p:tagLst>
</file>

<file path=ppt/tags/tag1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32.xml><?xml version="1.0" encoding="utf-8"?>
<p:tagLst xmlns:p="http://schemas.openxmlformats.org/presentationml/2006/main">
  <p:tag name="ISLIDE.DIAGRAM" val="#3394;"/>
</p:tagLst>
</file>

<file path=ppt/tags/tag133.xml><?xml version="1.0" encoding="utf-8"?>
<p:tagLst xmlns:p="http://schemas.openxmlformats.org/presentationml/2006/main">
  <p:tag name="ISLIDE.DIAGRAM" val="#3394;"/>
  <p:tag name="ISLIDE.ICON" val="#400605;"/>
</p:tagLst>
</file>

<file path=ppt/tags/tag1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35.xml><?xml version="1.0" encoding="utf-8"?>
<p:tagLst xmlns:p="http://schemas.openxmlformats.org/presentationml/2006/main">
  <p:tag name="ISLIDE.DIAGRAM" val="#3394;"/>
</p:tagLst>
</file>

<file path=ppt/tags/tag136.xml><?xml version="1.0" encoding="utf-8"?>
<p:tagLst xmlns:p="http://schemas.openxmlformats.org/presentationml/2006/main">
  <p:tag name="ISLIDE.DIAGRAM" val="#3394;"/>
  <p:tag name="ISLIDE.ICON" val="#379649;"/>
</p:tagLst>
</file>

<file path=ppt/tags/tag137.xml><?xml version="1.0" encoding="utf-8"?>
<p:tagLst xmlns:p="http://schemas.openxmlformats.org/presentationml/2006/main">
  <p:tag name="ISLIDE.DIAGRAM" val="#3394;"/>
  <p:tag name="ISLIDE.ICON" val="#393726;"/>
</p:tagLst>
</file>

<file path=ppt/tags/tag1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39.xml><?xml version="1.0" encoding="utf-8"?>
<p:tagLst xmlns:p="http://schemas.openxmlformats.org/presentationml/2006/main">
  <p:tag name="ISLIDE.DIAGRAM" val="#3394;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40.xml><?xml version="1.0" encoding="utf-8"?>
<p:tagLst xmlns:p="http://schemas.openxmlformats.org/presentationml/2006/main">
  <p:tag name="ISLIDE.DIAGRAM" val="#3394;"/>
  <p:tag name="ISLIDE.ICON" val="#41317;#67956;#401266;#401266;#401266;"/>
</p:tagLst>
</file>

<file path=ppt/tags/tag141.xml><?xml version="1.0" encoding="utf-8"?>
<p:tagLst xmlns:p="http://schemas.openxmlformats.org/presentationml/2006/main">
  <p:tag name="THINKCELLSHAPEDONOTDELETE" val="thinkcellActiveDocDoNotDelete"/>
</p:tagLst>
</file>

<file path=ppt/tags/tag142.xml><?xml version="1.0" encoding="utf-8"?>
<p:tagLst xmlns:p="http://schemas.openxmlformats.org/presentationml/2006/main">
  <p:tag name="THINKCELLSHAPEDONOTDELETE" val="t1Smkff3fSzGMOuItfjj3Fw"/>
</p:tagLst>
</file>

<file path=ppt/tags/tag143.xml><?xml version="1.0" encoding="utf-8"?>
<p:tagLst xmlns:p="http://schemas.openxmlformats.org/presentationml/2006/main">
  <p:tag name="ISLIDE.THEME" val="https://www.islide.cc;"/>
  <p:tag name="ISLIDE.PICTURE" val="#231679;"/>
</p:tagLst>
</file>

<file path=ppt/tags/tag145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361780"/>
</p:tagLst>
</file>

<file path=ppt/tags/tag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ags/tag9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heme/theme1.xml><?xml version="1.0" encoding="utf-8"?>
<a:theme xmlns:a="http://schemas.openxmlformats.org/drawingml/2006/main" name="母版1">
  <a:themeElements>
    <a:clrScheme name="自定义 3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3378"/>
      </a:accent1>
      <a:accent2>
        <a:srgbClr val="01518A"/>
      </a:accent2>
      <a:accent3>
        <a:srgbClr val="0069BF"/>
      </a:accent3>
      <a:accent4>
        <a:srgbClr val="00BAFB"/>
      </a:accent4>
      <a:accent5>
        <a:srgbClr val="015CB3"/>
      </a:accent5>
      <a:accent6>
        <a:srgbClr val="01386A"/>
      </a:accent6>
      <a:hlink>
        <a:srgbClr val="0563C1"/>
      </a:hlink>
      <a:folHlink>
        <a:srgbClr val="E65C5F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母版2">
  <a:themeElements>
    <a:clrScheme name="自定义 3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3378"/>
      </a:accent1>
      <a:accent2>
        <a:srgbClr val="01518A"/>
      </a:accent2>
      <a:accent3>
        <a:srgbClr val="0069BF"/>
      </a:accent3>
      <a:accent4>
        <a:srgbClr val="00BAFB"/>
      </a:accent4>
      <a:accent5>
        <a:srgbClr val="015CB3"/>
      </a:accent5>
      <a:accent6>
        <a:srgbClr val="01386A"/>
      </a:accent6>
      <a:hlink>
        <a:srgbClr val="0563C1"/>
      </a:hlink>
      <a:folHlink>
        <a:srgbClr val="E65C5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item1.xml><?xml version="1.0" encoding="utf-8"?>
<s:customData xmlns="http://www.wps.cn/officeDocument/2013/wpsCustomData" xmlns:s="http://www.wps.cn/officeDocument/2013/wpsCustomData">
  <extobjs>
    <extobj name="EACA8FF8-CB1F-462C-AC97-823CB0AD394B-1">
      <extobjdata type="EACA8FF8-CB1F-462C-AC97-823CB0AD394B" data="ewogICAiTGF0IiA6ICIzNy41NTAzMzkiLAogICAiTG5nIiA6ICIxMDQuMTE0MTI5IiwKICAgIlJvdXRlVHlwZSIgOiAiLTEiLAogICAiVGV4dDEiIDogIiIsCiAgICJUZXh0MiIgOiAiIiwKICAgIlpvb20iIDogIjUiCn0K"/>
    </extobj>
  </extobjs>
</s:customData>
</file>

<file path=customXml/itemProps144.xml><?xml version="1.0" encoding="utf-8"?>
<ds:datastoreItem xmlns:ds="http://schemas.openxmlformats.org/officeDocument/2006/customXml" ds:itemID="s:customData">
  <ds:schemaRefs>
    <ds:schemaRef ds:uri="http://www.wps.cn/officeDocument/2013/wpsCustomDat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87</Words>
  <Application>WPS 演示</Application>
  <PresentationFormat>自定义</PresentationFormat>
  <Paragraphs>378</Paragraphs>
  <Slides>28</Slides>
  <Notes>11</Notes>
  <HiddenSlides>1</HiddenSlides>
  <MMClips>0</MMClips>
  <ScaleCrop>false</ScaleCrop>
  <HeadingPairs>
    <vt:vector size="8" baseType="variant">
      <vt:variant>
        <vt:lpstr>已用的字体</vt:lpstr>
      </vt:variant>
      <vt:variant>
        <vt:i4>3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8</vt:i4>
      </vt:variant>
    </vt:vector>
  </HeadingPairs>
  <TitlesOfParts>
    <vt:vector size="69" baseType="lpstr">
      <vt:lpstr>Arial</vt:lpstr>
      <vt:lpstr>宋体</vt:lpstr>
      <vt:lpstr>Wingdings</vt:lpstr>
      <vt:lpstr>微软雅黑</vt:lpstr>
      <vt:lpstr>Wingdings</vt:lpstr>
      <vt:lpstr>印品黑体</vt:lpstr>
      <vt:lpstr>黑体</vt:lpstr>
      <vt:lpstr>Open Sans</vt:lpstr>
      <vt:lpstr>Open Sans Light</vt:lpstr>
      <vt:lpstr>Source Sans Pro Regular</vt:lpstr>
      <vt:lpstr>Arial</vt:lpstr>
      <vt:lpstr>Source Sans Pro</vt:lpstr>
      <vt:lpstr>Roboto Bold</vt:lpstr>
      <vt:lpstr>aril</vt:lpstr>
      <vt:lpstr>Segoe Print</vt:lpstr>
      <vt:lpstr>Futura LT Condensed</vt:lpstr>
      <vt:lpstr>仿宋</vt:lpstr>
      <vt:lpstr>Arial Unicode MS</vt:lpstr>
      <vt:lpstr>Calibri</vt:lpstr>
      <vt:lpstr>微软雅黑 Light</vt:lpstr>
      <vt:lpstr>Gill Sans</vt:lpstr>
      <vt:lpstr>Montserrat Light</vt:lpstr>
      <vt:lpstr>Lato</vt:lpstr>
      <vt:lpstr>Lato Black</vt:lpstr>
      <vt:lpstr>Lato Black</vt:lpstr>
      <vt:lpstr>Lato Regular</vt:lpstr>
      <vt:lpstr>Lato Light</vt:lpstr>
      <vt:lpstr>Times New Roman</vt:lpstr>
      <vt:lpstr>Roboto</vt:lpstr>
      <vt:lpstr>Wide Latin</vt:lpstr>
      <vt:lpstr>Roboto Light</vt:lpstr>
      <vt:lpstr>Bebas Neue</vt:lpstr>
      <vt:lpstr>Gill Sans MT</vt:lpstr>
      <vt:lpstr>Arial Black</vt:lpstr>
      <vt:lpstr>等线</vt:lpstr>
      <vt:lpstr>华光中圆_CNKI</vt:lpstr>
      <vt:lpstr>母版1</vt:lpstr>
      <vt:lpstr>母版2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大大</cp:lastModifiedBy>
  <cp:revision>756</cp:revision>
  <cp:lastPrinted>2020-02-09T16:00:00Z</cp:lastPrinted>
  <dcterms:created xsi:type="dcterms:W3CDTF">2020-02-09T16:00:00Z</dcterms:created>
  <dcterms:modified xsi:type="dcterms:W3CDTF">2020-07-28T05:5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828</vt:lpwstr>
  </property>
</Properties>
</file>